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120"/>
  </p:notesMasterIdLst>
  <p:sldIdLst>
    <p:sldId id="2491" r:id="rId5"/>
    <p:sldId id="719" r:id="rId6"/>
    <p:sldId id="447" r:id="rId7"/>
    <p:sldId id="2430" r:id="rId8"/>
    <p:sldId id="2483" r:id="rId9"/>
    <p:sldId id="2457" r:id="rId10"/>
    <p:sldId id="2484" r:id="rId11"/>
    <p:sldId id="2672" r:id="rId12"/>
    <p:sldId id="2673" r:id="rId13"/>
    <p:sldId id="2444" r:id="rId14"/>
    <p:sldId id="2433" r:id="rId15"/>
    <p:sldId id="2655" r:id="rId16"/>
    <p:sldId id="2447" r:id="rId17"/>
    <p:sldId id="1038" r:id="rId18"/>
    <p:sldId id="2669" r:id="rId19"/>
    <p:sldId id="2663" r:id="rId20"/>
    <p:sldId id="2667" r:id="rId21"/>
    <p:sldId id="832" r:id="rId22"/>
    <p:sldId id="2436" r:id="rId23"/>
    <p:sldId id="1001" r:id="rId24"/>
    <p:sldId id="864" r:id="rId25"/>
    <p:sldId id="865" r:id="rId26"/>
    <p:sldId id="2481" r:id="rId27"/>
    <p:sldId id="2668" r:id="rId28"/>
    <p:sldId id="2476" r:id="rId29"/>
    <p:sldId id="2477" r:id="rId30"/>
    <p:sldId id="2478" r:id="rId31"/>
    <p:sldId id="2479" r:id="rId32"/>
    <p:sldId id="1008" r:id="rId33"/>
    <p:sldId id="2492" r:id="rId34"/>
    <p:sldId id="2493" r:id="rId35"/>
    <p:sldId id="2670" r:id="rId36"/>
    <p:sldId id="2671" r:id="rId37"/>
    <p:sldId id="799" r:id="rId38"/>
    <p:sldId id="2450" r:id="rId39"/>
    <p:sldId id="2674" r:id="rId40"/>
    <p:sldId id="2487" r:id="rId41"/>
    <p:sldId id="2453" r:id="rId42"/>
    <p:sldId id="2631" r:id="rId43"/>
    <p:sldId id="2445" r:id="rId44"/>
    <p:sldId id="2658" r:id="rId45"/>
    <p:sldId id="2679" r:id="rId46"/>
    <p:sldId id="2680" r:id="rId47"/>
    <p:sldId id="801" r:id="rId48"/>
    <p:sldId id="876" r:id="rId49"/>
    <p:sldId id="2330" r:id="rId50"/>
    <p:sldId id="2334" r:id="rId51"/>
    <p:sldId id="2617" r:id="rId52"/>
    <p:sldId id="2622" r:id="rId53"/>
    <p:sldId id="2623" r:id="rId54"/>
    <p:sldId id="2678" r:id="rId55"/>
    <p:sldId id="2677" r:id="rId56"/>
    <p:sldId id="2675" r:id="rId57"/>
    <p:sldId id="2621" r:id="rId58"/>
    <p:sldId id="2676" r:id="rId59"/>
    <p:sldId id="2620" r:id="rId60"/>
    <p:sldId id="2462" r:id="rId61"/>
    <p:sldId id="2618" r:id="rId62"/>
    <p:sldId id="2661" r:id="rId63"/>
    <p:sldId id="804" r:id="rId64"/>
    <p:sldId id="748" r:id="rId65"/>
    <p:sldId id="841" r:id="rId66"/>
    <p:sldId id="2639" r:id="rId67"/>
    <p:sldId id="2640" r:id="rId68"/>
    <p:sldId id="2641" r:id="rId69"/>
    <p:sldId id="2642" r:id="rId70"/>
    <p:sldId id="2643" r:id="rId71"/>
    <p:sldId id="2644" r:id="rId72"/>
    <p:sldId id="2645" r:id="rId73"/>
    <p:sldId id="2646" r:id="rId74"/>
    <p:sldId id="2647" r:id="rId75"/>
    <p:sldId id="2648" r:id="rId76"/>
    <p:sldId id="2649" r:id="rId77"/>
    <p:sldId id="2650" r:id="rId78"/>
    <p:sldId id="820" r:id="rId79"/>
    <p:sldId id="2632" r:id="rId80"/>
    <p:sldId id="1015" r:id="rId81"/>
    <p:sldId id="2664" r:id="rId82"/>
    <p:sldId id="1016" r:id="rId83"/>
    <p:sldId id="1018" r:id="rId84"/>
    <p:sldId id="1019" r:id="rId85"/>
    <p:sldId id="1017" r:id="rId86"/>
    <p:sldId id="2459" r:id="rId87"/>
    <p:sldId id="2634" r:id="rId88"/>
    <p:sldId id="2635" r:id="rId89"/>
    <p:sldId id="2636" r:id="rId90"/>
    <p:sldId id="2637" r:id="rId91"/>
    <p:sldId id="2638" r:id="rId92"/>
    <p:sldId id="2452" r:id="rId93"/>
    <p:sldId id="2633" r:id="rId94"/>
    <p:sldId id="2456" r:id="rId95"/>
    <p:sldId id="2455" r:id="rId96"/>
    <p:sldId id="2619" r:id="rId97"/>
    <p:sldId id="2652" r:id="rId98"/>
    <p:sldId id="2612" r:id="rId99"/>
    <p:sldId id="2627" r:id="rId100"/>
    <p:sldId id="2501" r:id="rId101"/>
    <p:sldId id="2502" r:id="rId102"/>
    <p:sldId id="2503" r:id="rId103"/>
    <p:sldId id="2504" r:id="rId104"/>
    <p:sldId id="2505" r:id="rId105"/>
    <p:sldId id="2506" r:id="rId106"/>
    <p:sldId id="2507" r:id="rId107"/>
    <p:sldId id="2508" r:id="rId108"/>
    <p:sldId id="2509" r:id="rId109"/>
    <p:sldId id="2510" r:id="rId110"/>
    <p:sldId id="2511" r:id="rId111"/>
    <p:sldId id="2512" r:id="rId112"/>
    <p:sldId id="2513" r:id="rId113"/>
    <p:sldId id="2514" r:id="rId114"/>
    <p:sldId id="2516" r:id="rId115"/>
    <p:sldId id="2517" r:id="rId116"/>
    <p:sldId id="2518" r:id="rId117"/>
    <p:sldId id="2519" r:id="rId118"/>
    <p:sldId id="997" r:id="rId1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E1E0B5-1BDE-015D-A216-D56F0D0BD05F}" name="Shana'a, Esam" initials="SE" userId="S::eshanaa@deloitte.com::312c9470-b3d3-4b85-a934-850e353cf90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ashawri, Mariyah" initials="BM" lastIdx="10" clrIdx="0">
    <p:extLst>
      <p:ext uri="{19B8F6BF-5375-455C-9EA6-DF929625EA0E}">
        <p15:presenceInfo xmlns:p15="http://schemas.microsoft.com/office/powerpoint/2012/main" userId="S::mbashawri@deloitte.com::be9f0bdf-80e9-4f62-8408-fee0a071767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2F87"/>
    <a:srgbClr val="00A6C4"/>
    <a:srgbClr val="0076A8"/>
    <a:srgbClr val="00ABAB"/>
    <a:srgbClr val="1675A9"/>
    <a:srgbClr val="CC9F52"/>
    <a:srgbClr val="7F7F7F"/>
    <a:srgbClr val="343434"/>
    <a:srgbClr val="3C4F77"/>
    <a:srgbClr val="293E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A2B7D3-BB6C-422F-AF31-7DBA0CB14166}" v="241" dt="2023-12-30T15:44:36.6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3" autoAdjust="0"/>
    <p:restoredTop sz="94349" autoAdjust="0"/>
  </p:normalViewPr>
  <p:slideViewPr>
    <p:cSldViewPr snapToGrid="0">
      <p:cViewPr varScale="1">
        <p:scale>
          <a:sx n="70" d="100"/>
          <a:sy n="70" d="100"/>
        </p:scale>
        <p:origin x="276" y="60"/>
      </p:cViewPr>
      <p:guideLst/>
    </p:cSldViewPr>
  </p:slideViewPr>
  <p:notesTextViewPr>
    <p:cViewPr>
      <p:scale>
        <a:sx n="1" d="1"/>
        <a:sy n="1" d="1"/>
      </p:scale>
      <p:origin x="0" y="0"/>
    </p:cViewPr>
  </p:notesTextViewPr>
  <p:notesViewPr>
    <p:cSldViewPr snapToGrid="0">
      <p:cViewPr varScale="1">
        <p:scale>
          <a:sx n="51" d="100"/>
          <a:sy n="51" d="100"/>
        </p:scale>
        <p:origin x="2692" y="2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viewProps" Target="viewProps.xml"/><Relationship Id="rId128" Type="http://schemas.microsoft.com/office/2018/10/relationships/authors" Targe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theme" Target="theme/theme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notesMaster" Target="notesMasters/notesMaster1.xml"/><Relationship Id="rId125"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ousuf, Arsalan" userId="1f742cd1-60f2-4cc5-8102-e09412e517e3" providerId="ADAL" clId="{35A2B7D3-BB6C-422F-AF31-7DBA0CB14166}"/>
    <pc:docChg chg="undo redo custSel addSld delSld modSld sldOrd">
      <pc:chgData name="Yousuf, Arsalan" userId="1f742cd1-60f2-4cc5-8102-e09412e517e3" providerId="ADAL" clId="{35A2B7D3-BB6C-422F-AF31-7DBA0CB14166}" dt="2023-12-30T18:05:07.544" v="13259" actId="20577"/>
      <pc:docMkLst>
        <pc:docMk/>
      </pc:docMkLst>
      <pc:sldChg chg="modSp mod">
        <pc:chgData name="Yousuf, Arsalan" userId="1f742cd1-60f2-4cc5-8102-e09412e517e3" providerId="ADAL" clId="{35A2B7D3-BB6C-422F-AF31-7DBA0CB14166}" dt="2023-12-30T18:05:07.544" v="13259" actId="20577"/>
        <pc:sldMkLst>
          <pc:docMk/>
          <pc:sldMk cId="2762939732" sldId="719"/>
        </pc:sldMkLst>
        <pc:spChg chg="mod">
          <ac:chgData name="Yousuf, Arsalan" userId="1f742cd1-60f2-4cc5-8102-e09412e517e3" providerId="ADAL" clId="{35A2B7D3-BB6C-422F-AF31-7DBA0CB14166}" dt="2023-12-25T21:33:49.757" v="479"/>
          <ac:spMkLst>
            <pc:docMk/>
            <pc:sldMk cId="2762939732" sldId="719"/>
            <ac:spMk id="35" creationId="{987C66D7-8A39-4A09-A6AC-B57FC3228010}"/>
          </ac:spMkLst>
        </pc:spChg>
        <pc:spChg chg="mod">
          <ac:chgData name="Yousuf, Arsalan" userId="1f742cd1-60f2-4cc5-8102-e09412e517e3" providerId="ADAL" clId="{35A2B7D3-BB6C-422F-AF31-7DBA0CB14166}" dt="2023-12-30T18:05:07.544" v="13259" actId="20577"/>
          <ac:spMkLst>
            <pc:docMk/>
            <pc:sldMk cId="2762939732" sldId="719"/>
            <ac:spMk id="37" creationId="{FDBC7785-3152-4EEF-B887-F33EB9EFC9D5}"/>
          </ac:spMkLst>
        </pc:spChg>
        <pc:spChg chg="mod">
          <ac:chgData name="Yousuf, Arsalan" userId="1f742cd1-60f2-4cc5-8102-e09412e517e3" providerId="ADAL" clId="{35A2B7D3-BB6C-422F-AF31-7DBA0CB14166}" dt="2023-12-25T21:41:35.766" v="826" actId="14100"/>
          <ac:spMkLst>
            <pc:docMk/>
            <pc:sldMk cId="2762939732" sldId="719"/>
            <ac:spMk id="39" creationId="{3F49442B-9017-429D-B2A5-4812A7C15642}"/>
          </ac:spMkLst>
        </pc:spChg>
        <pc:graphicFrameChg chg="mod modGraphic">
          <ac:chgData name="Yousuf, Arsalan" userId="1f742cd1-60f2-4cc5-8102-e09412e517e3" providerId="ADAL" clId="{35A2B7D3-BB6C-422F-AF31-7DBA0CB14166}" dt="2023-12-28T07:35:28.272" v="10982" actId="20577"/>
          <ac:graphicFrameMkLst>
            <pc:docMk/>
            <pc:sldMk cId="2762939732" sldId="719"/>
            <ac:graphicFrameMk id="18" creationId="{18BC657A-AA5C-489B-9F64-EA78C65BF02E}"/>
          </ac:graphicFrameMkLst>
        </pc:graphicFrameChg>
      </pc:sldChg>
      <pc:sldChg chg="modSp mod">
        <pc:chgData name="Yousuf, Arsalan" userId="1f742cd1-60f2-4cc5-8102-e09412e517e3" providerId="ADAL" clId="{35A2B7D3-BB6C-422F-AF31-7DBA0CB14166}" dt="2023-12-28T07:39:14.722" v="11197" actId="20577"/>
        <pc:sldMkLst>
          <pc:docMk/>
          <pc:sldMk cId="3956000695" sldId="799"/>
        </pc:sldMkLst>
        <pc:spChg chg="mod">
          <ac:chgData name="Yousuf, Arsalan" userId="1f742cd1-60f2-4cc5-8102-e09412e517e3" providerId="ADAL" clId="{35A2B7D3-BB6C-422F-AF31-7DBA0CB14166}" dt="2023-12-28T07:39:14.722" v="11197" actId="20577"/>
          <ac:spMkLst>
            <pc:docMk/>
            <pc:sldMk cId="3956000695" sldId="799"/>
            <ac:spMk id="18" creationId="{6DD4D66A-D889-4ED3-9DF1-AF716327167B}"/>
          </ac:spMkLst>
        </pc:spChg>
      </pc:sldChg>
      <pc:sldChg chg="modSp mod">
        <pc:chgData name="Yousuf, Arsalan" userId="1f742cd1-60f2-4cc5-8102-e09412e517e3" providerId="ADAL" clId="{35A2B7D3-BB6C-422F-AF31-7DBA0CB14166}" dt="2023-12-27T03:49:31.798" v="3623" actId="20577"/>
        <pc:sldMkLst>
          <pc:docMk/>
          <pc:sldMk cId="2332247531" sldId="865"/>
        </pc:sldMkLst>
        <pc:spChg chg="mod">
          <ac:chgData name="Yousuf, Arsalan" userId="1f742cd1-60f2-4cc5-8102-e09412e517e3" providerId="ADAL" clId="{35A2B7D3-BB6C-422F-AF31-7DBA0CB14166}" dt="2023-12-27T03:49:31.798" v="3623" actId="20577"/>
          <ac:spMkLst>
            <pc:docMk/>
            <pc:sldMk cId="2332247531" sldId="865"/>
            <ac:spMk id="2" creationId="{00000000-0000-0000-0000-000000000000}"/>
          </ac:spMkLst>
        </pc:spChg>
        <pc:spChg chg="mod">
          <ac:chgData name="Yousuf, Arsalan" userId="1f742cd1-60f2-4cc5-8102-e09412e517e3" providerId="ADAL" clId="{35A2B7D3-BB6C-422F-AF31-7DBA0CB14166}" dt="2023-12-27T03:49:24.440" v="3617" actId="20577"/>
          <ac:spMkLst>
            <pc:docMk/>
            <pc:sldMk cId="2332247531" sldId="865"/>
            <ac:spMk id="68" creationId="{00000000-0000-0000-0000-000000000000}"/>
          </ac:spMkLst>
        </pc:spChg>
        <pc:spChg chg="mod">
          <ac:chgData name="Yousuf, Arsalan" userId="1f742cd1-60f2-4cc5-8102-e09412e517e3" providerId="ADAL" clId="{35A2B7D3-BB6C-422F-AF31-7DBA0CB14166}" dt="2023-12-27T03:49:28.546" v="3620" actId="20577"/>
          <ac:spMkLst>
            <pc:docMk/>
            <pc:sldMk cId="2332247531" sldId="865"/>
            <ac:spMk id="70" creationId="{00000000-0000-0000-0000-000000000000}"/>
          </ac:spMkLst>
        </pc:spChg>
      </pc:sldChg>
      <pc:sldChg chg="addSp delSp modSp mod">
        <pc:chgData name="Yousuf, Arsalan" userId="1f742cd1-60f2-4cc5-8102-e09412e517e3" providerId="ADAL" clId="{35A2B7D3-BB6C-422F-AF31-7DBA0CB14166}" dt="2023-12-27T19:37:54.610" v="10668" actId="20577"/>
        <pc:sldMkLst>
          <pc:docMk/>
          <pc:sldMk cId="148524804" sldId="876"/>
        </pc:sldMkLst>
        <pc:spChg chg="add mod">
          <ac:chgData name="Yousuf, Arsalan" userId="1f742cd1-60f2-4cc5-8102-e09412e517e3" providerId="ADAL" clId="{35A2B7D3-BB6C-422F-AF31-7DBA0CB14166}" dt="2023-12-27T16:01:42.662" v="10277" actId="20577"/>
          <ac:spMkLst>
            <pc:docMk/>
            <pc:sldMk cId="148524804" sldId="876"/>
            <ac:spMk id="3" creationId="{2B9A47BA-EC6C-0EC5-ED70-53892FD305FE}"/>
          </ac:spMkLst>
        </pc:spChg>
        <pc:spChg chg="add mod">
          <ac:chgData name="Yousuf, Arsalan" userId="1f742cd1-60f2-4cc5-8102-e09412e517e3" providerId="ADAL" clId="{35A2B7D3-BB6C-422F-AF31-7DBA0CB14166}" dt="2023-12-27T16:01:49.400" v="10299" actId="6549"/>
          <ac:spMkLst>
            <pc:docMk/>
            <pc:sldMk cId="148524804" sldId="876"/>
            <ac:spMk id="4" creationId="{4DB89301-1D88-E74A-9091-C345FCFACFA9}"/>
          </ac:spMkLst>
        </pc:spChg>
        <pc:spChg chg="mod">
          <ac:chgData name="Yousuf, Arsalan" userId="1f742cd1-60f2-4cc5-8102-e09412e517e3" providerId="ADAL" clId="{35A2B7D3-BB6C-422F-AF31-7DBA0CB14166}" dt="2023-12-27T16:02:00.366" v="10324"/>
          <ac:spMkLst>
            <pc:docMk/>
            <pc:sldMk cId="148524804" sldId="876"/>
            <ac:spMk id="34" creationId="{1D6A7262-3EAA-4096-8A72-A81A28A75944}"/>
          </ac:spMkLst>
        </pc:spChg>
        <pc:spChg chg="mod">
          <ac:chgData name="Yousuf, Arsalan" userId="1f742cd1-60f2-4cc5-8102-e09412e517e3" providerId="ADAL" clId="{35A2B7D3-BB6C-422F-AF31-7DBA0CB14166}" dt="2023-12-27T19:33:03.815" v="10625" actId="20577"/>
          <ac:spMkLst>
            <pc:docMk/>
            <pc:sldMk cId="148524804" sldId="876"/>
            <ac:spMk id="60" creationId="{90839D22-D3C4-4111-A83D-C742C5C808C2}"/>
          </ac:spMkLst>
        </pc:spChg>
        <pc:graphicFrameChg chg="mod modGraphic">
          <ac:chgData name="Yousuf, Arsalan" userId="1f742cd1-60f2-4cc5-8102-e09412e517e3" providerId="ADAL" clId="{35A2B7D3-BB6C-422F-AF31-7DBA0CB14166}" dt="2023-12-27T19:37:54.610" v="10668" actId="20577"/>
          <ac:graphicFrameMkLst>
            <pc:docMk/>
            <pc:sldMk cId="148524804" sldId="876"/>
            <ac:graphicFrameMk id="2" creationId="{49A8A68B-64DD-830A-E941-6EB3B885E13C}"/>
          </ac:graphicFrameMkLst>
        </pc:graphicFrameChg>
        <pc:graphicFrameChg chg="add mod modGraphic">
          <ac:chgData name="Yousuf, Arsalan" userId="1f742cd1-60f2-4cc5-8102-e09412e517e3" providerId="ADAL" clId="{35A2B7D3-BB6C-422F-AF31-7DBA0CB14166}" dt="2023-12-27T16:03:27.999" v="10391" actId="1038"/>
          <ac:graphicFrameMkLst>
            <pc:docMk/>
            <pc:sldMk cId="148524804" sldId="876"/>
            <ac:graphicFrameMk id="5" creationId="{B27F6E6B-0A7A-0B72-E661-95E9A95A89D1}"/>
          </ac:graphicFrameMkLst>
        </pc:graphicFrameChg>
        <pc:graphicFrameChg chg="add mod modGraphic">
          <ac:chgData name="Yousuf, Arsalan" userId="1f742cd1-60f2-4cc5-8102-e09412e517e3" providerId="ADAL" clId="{35A2B7D3-BB6C-422F-AF31-7DBA0CB14166}" dt="2023-12-27T19:28:03.222" v="10588" actId="20577"/>
          <ac:graphicFrameMkLst>
            <pc:docMk/>
            <pc:sldMk cId="148524804" sldId="876"/>
            <ac:graphicFrameMk id="7" creationId="{984FCB45-F16F-EE53-6FB4-6C3233318116}"/>
          </ac:graphicFrameMkLst>
        </pc:graphicFrameChg>
        <pc:graphicFrameChg chg="add del mod">
          <ac:chgData name="Yousuf, Arsalan" userId="1f742cd1-60f2-4cc5-8102-e09412e517e3" providerId="ADAL" clId="{35A2B7D3-BB6C-422F-AF31-7DBA0CB14166}" dt="2023-12-27T16:02:57.084" v="10382" actId="478"/>
          <ac:graphicFrameMkLst>
            <pc:docMk/>
            <pc:sldMk cId="148524804" sldId="876"/>
            <ac:graphicFrameMk id="9" creationId="{310B7CB5-1B20-3B5A-E156-82D5C233ABDD}"/>
          </ac:graphicFrameMkLst>
        </pc:graphicFrameChg>
        <pc:graphicFrameChg chg="add del mod">
          <ac:chgData name="Yousuf, Arsalan" userId="1f742cd1-60f2-4cc5-8102-e09412e517e3" providerId="ADAL" clId="{35A2B7D3-BB6C-422F-AF31-7DBA0CB14166}" dt="2023-12-27T16:02:57.084" v="10382" actId="478"/>
          <ac:graphicFrameMkLst>
            <pc:docMk/>
            <pc:sldMk cId="148524804" sldId="876"/>
            <ac:graphicFrameMk id="10" creationId="{C06B31EF-F31A-A035-92AE-0F0B2FF9DF26}"/>
          </ac:graphicFrameMkLst>
        </pc:graphicFrameChg>
        <pc:graphicFrameChg chg="add mod">
          <ac:chgData name="Yousuf, Arsalan" userId="1f742cd1-60f2-4cc5-8102-e09412e517e3" providerId="ADAL" clId="{35A2B7D3-BB6C-422F-AF31-7DBA0CB14166}" dt="2023-12-27T16:03:03.080" v="10384" actId="571"/>
          <ac:graphicFrameMkLst>
            <pc:docMk/>
            <pc:sldMk cId="148524804" sldId="876"/>
            <ac:graphicFrameMk id="11" creationId="{34FD8E96-424C-495E-80F4-F8AC96D06642}"/>
          </ac:graphicFrameMkLst>
        </pc:graphicFrameChg>
        <pc:graphicFrameChg chg="add mod">
          <ac:chgData name="Yousuf, Arsalan" userId="1f742cd1-60f2-4cc5-8102-e09412e517e3" providerId="ADAL" clId="{35A2B7D3-BB6C-422F-AF31-7DBA0CB14166}" dt="2023-12-27T16:03:03.080" v="10384" actId="571"/>
          <ac:graphicFrameMkLst>
            <pc:docMk/>
            <pc:sldMk cId="148524804" sldId="876"/>
            <ac:graphicFrameMk id="12" creationId="{DFA2E0F4-377E-24A7-23A5-8E17B2AA90D2}"/>
          </ac:graphicFrameMkLst>
        </pc:graphicFrameChg>
        <pc:graphicFrameChg chg="add mod modGraphic">
          <ac:chgData name="Yousuf, Arsalan" userId="1f742cd1-60f2-4cc5-8102-e09412e517e3" providerId="ADAL" clId="{35A2B7D3-BB6C-422F-AF31-7DBA0CB14166}" dt="2023-12-27T19:37:30.093" v="10654" actId="20577"/>
          <ac:graphicFrameMkLst>
            <pc:docMk/>
            <pc:sldMk cId="148524804" sldId="876"/>
            <ac:graphicFrameMk id="14" creationId="{F59F681C-D873-3565-C8B7-B32DDDA9D0E0}"/>
          </ac:graphicFrameMkLst>
        </pc:graphicFrameChg>
        <pc:graphicFrameChg chg="add mod modGraphic">
          <ac:chgData name="Yousuf, Arsalan" userId="1f742cd1-60f2-4cc5-8102-e09412e517e3" providerId="ADAL" clId="{35A2B7D3-BB6C-422F-AF31-7DBA0CB14166}" dt="2023-12-27T19:27:02.801" v="10549" actId="20577"/>
          <ac:graphicFrameMkLst>
            <pc:docMk/>
            <pc:sldMk cId="148524804" sldId="876"/>
            <ac:graphicFrameMk id="16" creationId="{CE863CC5-46E6-7694-4274-18243F121F83}"/>
          </ac:graphicFrameMkLst>
        </pc:graphicFrameChg>
        <pc:graphicFrameChg chg="add mod modGraphic">
          <ac:chgData name="Yousuf, Arsalan" userId="1f742cd1-60f2-4cc5-8102-e09412e517e3" providerId="ADAL" clId="{35A2B7D3-BB6C-422F-AF31-7DBA0CB14166}" dt="2023-12-27T19:27:10.525" v="10552"/>
          <ac:graphicFrameMkLst>
            <pc:docMk/>
            <pc:sldMk cId="148524804" sldId="876"/>
            <ac:graphicFrameMk id="18" creationId="{2F2F5E81-D3B8-95A6-F919-B8EBCD38500D}"/>
          </ac:graphicFrameMkLst>
        </pc:graphicFrameChg>
        <pc:graphicFrameChg chg="del">
          <ac:chgData name="Yousuf, Arsalan" userId="1f742cd1-60f2-4cc5-8102-e09412e517e3" providerId="ADAL" clId="{35A2B7D3-BB6C-422F-AF31-7DBA0CB14166}" dt="2023-12-27T16:02:36.700" v="10375" actId="478"/>
          <ac:graphicFrameMkLst>
            <pc:docMk/>
            <pc:sldMk cId="148524804" sldId="876"/>
            <ac:graphicFrameMk id="35" creationId="{260CF3E1-7D76-4253-B9C2-B2E44F6194A9}"/>
          </ac:graphicFrameMkLst>
        </pc:graphicFrameChg>
        <pc:graphicFrameChg chg="modGraphic">
          <ac:chgData name="Yousuf, Arsalan" userId="1f742cd1-60f2-4cc5-8102-e09412e517e3" providerId="ADAL" clId="{35A2B7D3-BB6C-422F-AF31-7DBA0CB14166}" dt="2023-12-27T16:00:29.260" v="10144" actId="20577"/>
          <ac:graphicFrameMkLst>
            <pc:docMk/>
            <pc:sldMk cId="148524804" sldId="876"/>
            <ac:graphicFrameMk id="36" creationId="{4983C64B-700B-4AC3-B1BC-2C64A869C399}"/>
          </ac:graphicFrameMkLst>
        </pc:graphicFrameChg>
        <pc:graphicFrameChg chg="modGraphic">
          <ac:chgData name="Yousuf, Arsalan" userId="1f742cd1-60f2-4cc5-8102-e09412e517e3" providerId="ADAL" clId="{35A2B7D3-BB6C-422F-AF31-7DBA0CB14166}" dt="2023-12-27T16:00:40.069" v="10170" actId="20577"/>
          <ac:graphicFrameMkLst>
            <pc:docMk/>
            <pc:sldMk cId="148524804" sldId="876"/>
            <ac:graphicFrameMk id="37" creationId="{DD817137-5EEB-47CE-8B98-B9298B89B36D}"/>
          </ac:graphicFrameMkLst>
        </pc:graphicFrameChg>
        <pc:graphicFrameChg chg="del">
          <ac:chgData name="Yousuf, Arsalan" userId="1f742cd1-60f2-4cc5-8102-e09412e517e3" providerId="ADAL" clId="{35A2B7D3-BB6C-422F-AF31-7DBA0CB14166}" dt="2023-12-27T16:02:36.700" v="10375" actId="478"/>
          <ac:graphicFrameMkLst>
            <pc:docMk/>
            <pc:sldMk cId="148524804" sldId="876"/>
            <ac:graphicFrameMk id="41" creationId="{F885998F-FC07-4A1D-A168-E06065BC4C84}"/>
          </ac:graphicFrameMkLst>
        </pc:graphicFrameChg>
        <pc:graphicFrameChg chg="modGraphic">
          <ac:chgData name="Yousuf, Arsalan" userId="1f742cd1-60f2-4cc5-8102-e09412e517e3" providerId="ADAL" clId="{35A2B7D3-BB6C-422F-AF31-7DBA0CB14166}" dt="2023-12-27T16:00:55.581" v="10184" actId="14100"/>
          <ac:graphicFrameMkLst>
            <pc:docMk/>
            <pc:sldMk cId="148524804" sldId="876"/>
            <ac:graphicFrameMk id="57" creationId="{BF78A54B-A187-47E0-B2B6-3E7F0F7B9B54}"/>
          </ac:graphicFrameMkLst>
        </pc:graphicFrameChg>
        <pc:graphicFrameChg chg="modGraphic">
          <ac:chgData name="Yousuf, Arsalan" userId="1f742cd1-60f2-4cc5-8102-e09412e517e3" providerId="ADAL" clId="{35A2B7D3-BB6C-422F-AF31-7DBA0CB14166}" dt="2023-12-27T16:00:33.331" v="10155" actId="20577"/>
          <ac:graphicFrameMkLst>
            <pc:docMk/>
            <pc:sldMk cId="148524804" sldId="876"/>
            <ac:graphicFrameMk id="58" creationId="{F2F101A8-1EB8-4A9C-B382-6A890A656C73}"/>
          </ac:graphicFrameMkLst>
        </pc:graphicFrameChg>
      </pc:sldChg>
      <pc:sldChg chg="addSp delSp modSp mod">
        <pc:chgData name="Yousuf, Arsalan" userId="1f742cd1-60f2-4cc5-8102-e09412e517e3" providerId="ADAL" clId="{35A2B7D3-BB6C-422F-AF31-7DBA0CB14166}" dt="2023-12-27T03:55:14.513" v="3853" actId="20577"/>
        <pc:sldMkLst>
          <pc:docMk/>
          <pc:sldMk cId="3008939146" sldId="1001"/>
        </pc:sldMkLst>
        <pc:spChg chg="add mod">
          <ac:chgData name="Yousuf, Arsalan" userId="1f742cd1-60f2-4cc5-8102-e09412e517e3" providerId="ADAL" clId="{35A2B7D3-BB6C-422F-AF31-7DBA0CB14166}" dt="2023-12-27T03:49:06.761" v="3614"/>
          <ac:spMkLst>
            <pc:docMk/>
            <pc:sldMk cId="3008939146" sldId="1001"/>
            <ac:spMk id="2" creationId="{4B4B86DC-733C-2802-3F64-3C30364EC2B8}"/>
          </ac:spMkLst>
        </pc:spChg>
        <pc:spChg chg="mod">
          <ac:chgData name="Yousuf, Arsalan" userId="1f742cd1-60f2-4cc5-8102-e09412e517e3" providerId="ADAL" clId="{35A2B7D3-BB6C-422F-AF31-7DBA0CB14166}" dt="2023-12-27T03:49:06.761" v="3614"/>
          <ac:spMkLst>
            <pc:docMk/>
            <pc:sldMk cId="3008939146" sldId="1001"/>
            <ac:spMk id="4" creationId="{26C91039-4518-8C6D-A5FD-16C1267C5FBF}"/>
          </ac:spMkLst>
        </pc:spChg>
        <pc:spChg chg="mod">
          <ac:chgData name="Yousuf, Arsalan" userId="1f742cd1-60f2-4cc5-8102-e09412e517e3" providerId="ADAL" clId="{35A2B7D3-BB6C-422F-AF31-7DBA0CB14166}" dt="2023-12-27T03:49:06.761" v="3614"/>
          <ac:spMkLst>
            <pc:docMk/>
            <pc:sldMk cId="3008939146" sldId="1001"/>
            <ac:spMk id="5" creationId="{60E3DE34-7CB6-15C5-E38E-8C25C7EA300A}"/>
          </ac:spMkLst>
        </pc:spChg>
        <pc:spChg chg="mod">
          <ac:chgData name="Yousuf, Arsalan" userId="1f742cd1-60f2-4cc5-8102-e09412e517e3" providerId="ADAL" clId="{35A2B7D3-BB6C-422F-AF31-7DBA0CB14166}" dt="2023-12-27T03:49:06.761" v="3614"/>
          <ac:spMkLst>
            <pc:docMk/>
            <pc:sldMk cId="3008939146" sldId="1001"/>
            <ac:spMk id="9" creationId="{2A0FAACE-B04A-BB47-768C-948ACCE2B385}"/>
          </ac:spMkLst>
        </pc:spChg>
        <pc:spChg chg="mod">
          <ac:chgData name="Yousuf, Arsalan" userId="1f742cd1-60f2-4cc5-8102-e09412e517e3" providerId="ADAL" clId="{35A2B7D3-BB6C-422F-AF31-7DBA0CB14166}" dt="2023-12-27T03:49:06.761" v="3614"/>
          <ac:spMkLst>
            <pc:docMk/>
            <pc:sldMk cId="3008939146" sldId="1001"/>
            <ac:spMk id="10" creationId="{D32E3DEA-B5DF-0A00-6465-108336CA4FAB}"/>
          </ac:spMkLst>
        </pc:spChg>
        <pc:spChg chg="mod">
          <ac:chgData name="Yousuf, Arsalan" userId="1f742cd1-60f2-4cc5-8102-e09412e517e3" providerId="ADAL" clId="{35A2B7D3-BB6C-422F-AF31-7DBA0CB14166}" dt="2023-12-27T03:55:14.513" v="3853" actId="20577"/>
          <ac:spMkLst>
            <pc:docMk/>
            <pc:sldMk cId="3008939146" sldId="1001"/>
            <ac:spMk id="11" creationId="{E8012B31-26C4-8071-76AE-0B82DB5D04D4}"/>
          </ac:spMkLst>
        </pc:spChg>
        <pc:spChg chg="mod">
          <ac:chgData name="Yousuf, Arsalan" userId="1f742cd1-60f2-4cc5-8102-e09412e517e3" providerId="ADAL" clId="{35A2B7D3-BB6C-422F-AF31-7DBA0CB14166}" dt="2023-12-27T03:49:06.761" v="3614"/>
          <ac:spMkLst>
            <pc:docMk/>
            <pc:sldMk cId="3008939146" sldId="1001"/>
            <ac:spMk id="12" creationId="{F9A6EC7F-9983-8325-3C67-A26CB1F24728}"/>
          </ac:spMkLst>
        </pc:spChg>
        <pc:spChg chg="mod">
          <ac:chgData name="Yousuf, Arsalan" userId="1f742cd1-60f2-4cc5-8102-e09412e517e3" providerId="ADAL" clId="{35A2B7D3-BB6C-422F-AF31-7DBA0CB14166}" dt="2023-12-27T03:49:06.761" v="3614"/>
          <ac:spMkLst>
            <pc:docMk/>
            <pc:sldMk cId="3008939146" sldId="1001"/>
            <ac:spMk id="15" creationId="{AFAEC834-4EE8-040D-0273-5CCC20FA210C}"/>
          </ac:spMkLst>
        </pc:spChg>
        <pc:spChg chg="mod">
          <ac:chgData name="Yousuf, Arsalan" userId="1f742cd1-60f2-4cc5-8102-e09412e517e3" providerId="ADAL" clId="{35A2B7D3-BB6C-422F-AF31-7DBA0CB14166}" dt="2023-12-27T03:49:06.761" v="3614"/>
          <ac:spMkLst>
            <pc:docMk/>
            <pc:sldMk cId="3008939146" sldId="1001"/>
            <ac:spMk id="17" creationId="{5D63F60F-5FE7-87E6-1F4C-D15565848787}"/>
          </ac:spMkLst>
        </pc:spChg>
        <pc:spChg chg="mod">
          <ac:chgData name="Yousuf, Arsalan" userId="1f742cd1-60f2-4cc5-8102-e09412e517e3" providerId="ADAL" clId="{35A2B7D3-BB6C-422F-AF31-7DBA0CB14166}" dt="2023-12-27T03:49:06.761" v="3614"/>
          <ac:spMkLst>
            <pc:docMk/>
            <pc:sldMk cId="3008939146" sldId="1001"/>
            <ac:spMk id="20" creationId="{BD08CA32-31F9-5C4B-2584-097D10399C4D}"/>
          </ac:spMkLst>
        </pc:spChg>
        <pc:spChg chg="mod">
          <ac:chgData name="Yousuf, Arsalan" userId="1f742cd1-60f2-4cc5-8102-e09412e517e3" providerId="ADAL" clId="{35A2B7D3-BB6C-422F-AF31-7DBA0CB14166}" dt="2023-12-27T03:49:06.761" v="3614"/>
          <ac:spMkLst>
            <pc:docMk/>
            <pc:sldMk cId="3008939146" sldId="1001"/>
            <ac:spMk id="22" creationId="{864B951F-B108-191E-3CE2-9AD3F7FE1FAB}"/>
          </ac:spMkLst>
        </pc:spChg>
        <pc:spChg chg="mod">
          <ac:chgData name="Yousuf, Arsalan" userId="1f742cd1-60f2-4cc5-8102-e09412e517e3" providerId="ADAL" clId="{35A2B7D3-BB6C-422F-AF31-7DBA0CB14166}" dt="2023-12-27T03:49:06.761" v="3614"/>
          <ac:spMkLst>
            <pc:docMk/>
            <pc:sldMk cId="3008939146" sldId="1001"/>
            <ac:spMk id="23" creationId="{B189C9D4-AE92-4047-CBC6-71717FF78932}"/>
          </ac:spMkLst>
        </pc:spChg>
        <pc:spChg chg="mod">
          <ac:chgData name="Yousuf, Arsalan" userId="1f742cd1-60f2-4cc5-8102-e09412e517e3" providerId="ADAL" clId="{35A2B7D3-BB6C-422F-AF31-7DBA0CB14166}" dt="2023-12-27T03:49:06.761" v="3614"/>
          <ac:spMkLst>
            <pc:docMk/>
            <pc:sldMk cId="3008939146" sldId="1001"/>
            <ac:spMk id="24" creationId="{02F9DBDA-FDD2-150F-D1C3-73D272BAB2A7}"/>
          </ac:spMkLst>
        </pc:spChg>
        <pc:spChg chg="mod">
          <ac:chgData name="Yousuf, Arsalan" userId="1f742cd1-60f2-4cc5-8102-e09412e517e3" providerId="ADAL" clId="{35A2B7D3-BB6C-422F-AF31-7DBA0CB14166}" dt="2023-12-27T03:49:06.761" v="3614"/>
          <ac:spMkLst>
            <pc:docMk/>
            <pc:sldMk cId="3008939146" sldId="1001"/>
            <ac:spMk id="25" creationId="{AB647411-D2EA-A12A-72BF-06040A05C33E}"/>
          </ac:spMkLst>
        </pc:spChg>
        <pc:spChg chg="mod">
          <ac:chgData name="Yousuf, Arsalan" userId="1f742cd1-60f2-4cc5-8102-e09412e517e3" providerId="ADAL" clId="{35A2B7D3-BB6C-422F-AF31-7DBA0CB14166}" dt="2023-12-27T03:49:06.761" v="3614"/>
          <ac:spMkLst>
            <pc:docMk/>
            <pc:sldMk cId="3008939146" sldId="1001"/>
            <ac:spMk id="26" creationId="{DEC4AE0F-BC79-5B0A-78B0-E0D71108D418}"/>
          </ac:spMkLst>
        </pc:spChg>
        <pc:spChg chg="mod">
          <ac:chgData name="Yousuf, Arsalan" userId="1f742cd1-60f2-4cc5-8102-e09412e517e3" providerId="ADAL" clId="{35A2B7D3-BB6C-422F-AF31-7DBA0CB14166}" dt="2023-12-27T03:49:06.761" v="3614"/>
          <ac:spMkLst>
            <pc:docMk/>
            <pc:sldMk cId="3008939146" sldId="1001"/>
            <ac:spMk id="27" creationId="{52776A52-B271-D1EB-F720-447FAA094D84}"/>
          </ac:spMkLst>
        </pc:spChg>
        <pc:spChg chg="mod">
          <ac:chgData name="Yousuf, Arsalan" userId="1f742cd1-60f2-4cc5-8102-e09412e517e3" providerId="ADAL" clId="{35A2B7D3-BB6C-422F-AF31-7DBA0CB14166}" dt="2023-12-27T03:49:06.761" v="3614"/>
          <ac:spMkLst>
            <pc:docMk/>
            <pc:sldMk cId="3008939146" sldId="1001"/>
            <ac:spMk id="28" creationId="{76B4003F-A369-1602-8F88-DA08526BA92E}"/>
          </ac:spMkLst>
        </pc:spChg>
        <pc:spChg chg="mod">
          <ac:chgData name="Yousuf, Arsalan" userId="1f742cd1-60f2-4cc5-8102-e09412e517e3" providerId="ADAL" clId="{35A2B7D3-BB6C-422F-AF31-7DBA0CB14166}" dt="2023-12-27T03:49:06.761" v="3614"/>
          <ac:spMkLst>
            <pc:docMk/>
            <pc:sldMk cId="3008939146" sldId="1001"/>
            <ac:spMk id="29" creationId="{24DAD80E-8902-6B54-1B29-F17274D4F615}"/>
          </ac:spMkLst>
        </pc:spChg>
        <pc:spChg chg="mod">
          <ac:chgData name="Yousuf, Arsalan" userId="1f742cd1-60f2-4cc5-8102-e09412e517e3" providerId="ADAL" clId="{35A2B7D3-BB6C-422F-AF31-7DBA0CB14166}" dt="2023-12-27T03:49:06.761" v="3614"/>
          <ac:spMkLst>
            <pc:docMk/>
            <pc:sldMk cId="3008939146" sldId="1001"/>
            <ac:spMk id="30" creationId="{5A082DBA-047B-49A1-9777-8F02BC10313A}"/>
          </ac:spMkLst>
        </pc:spChg>
        <pc:spChg chg="del">
          <ac:chgData name="Yousuf, Arsalan" userId="1f742cd1-60f2-4cc5-8102-e09412e517e3" providerId="ADAL" clId="{35A2B7D3-BB6C-422F-AF31-7DBA0CB14166}" dt="2023-12-27T03:49:06.324" v="3613" actId="478"/>
          <ac:spMkLst>
            <pc:docMk/>
            <pc:sldMk cId="3008939146" sldId="1001"/>
            <ac:spMk id="45" creationId="{6EE9BC65-794D-871C-4DE2-0F8B0DD8F846}"/>
          </ac:spMkLst>
        </pc:spChg>
        <pc:grpChg chg="add mod">
          <ac:chgData name="Yousuf, Arsalan" userId="1f742cd1-60f2-4cc5-8102-e09412e517e3" providerId="ADAL" clId="{35A2B7D3-BB6C-422F-AF31-7DBA0CB14166}" dt="2023-12-27T03:49:06.761" v="3614"/>
          <ac:grpSpMkLst>
            <pc:docMk/>
            <pc:sldMk cId="3008939146" sldId="1001"/>
            <ac:grpSpMk id="3" creationId="{6B4FADC5-1D12-B542-E8D4-469218FE0F58}"/>
          </ac:grpSpMkLst>
        </pc:grpChg>
        <pc:grpChg chg="mod">
          <ac:chgData name="Yousuf, Arsalan" userId="1f742cd1-60f2-4cc5-8102-e09412e517e3" providerId="ADAL" clId="{35A2B7D3-BB6C-422F-AF31-7DBA0CB14166}" dt="2023-12-27T03:49:06.761" v="3614"/>
          <ac:grpSpMkLst>
            <pc:docMk/>
            <pc:sldMk cId="3008939146" sldId="1001"/>
            <ac:grpSpMk id="6" creationId="{8EADBD0E-6B9A-D25E-53F1-4F4CFB00503C}"/>
          </ac:grpSpMkLst>
        </pc:grpChg>
        <pc:grpChg chg="mod">
          <ac:chgData name="Yousuf, Arsalan" userId="1f742cd1-60f2-4cc5-8102-e09412e517e3" providerId="ADAL" clId="{35A2B7D3-BB6C-422F-AF31-7DBA0CB14166}" dt="2023-12-27T03:49:06.761" v="3614"/>
          <ac:grpSpMkLst>
            <pc:docMk/>
            <pc:sldMk cId="3008939146" sldId="1001"/>
            <ac:grpSpMk id="7" creationId="{3FC8E746-9CA4-5315-CF37-F941350EA993}"/>
          </ac:grpSpMkLst>
        </pc:grpChg>
        <pc:grpChg chg="mod">
          <ac:chgData name="Yousuf, Arsalan" userId="1f742cd1-60f2-4cc5-8102-e09412e517e3" providerId="ADAL" clId="{35A2B7D3-BB6C-422F-AF31-7DBA0CB14166}" dt="2023-12-27T03:49:06.761" v="3614"/>
          <ac:grpSpMkLst>
            <pc:docMk/>
            <pc:sldMk cId="3008939146" sldId="1001"/>
            <ac:grpSpMk id="8" creationId="{E557DD81-0678-B070-E49D-DFF7D2DDBA41}"/>
          </ac:grpSpMkLst>
        </pc:grpChg>
        <pc:grpChg chg="del">
          <ac:chgData name="Yousuf, Arsalan" userId="1f742cd1-60f2-4cc5-8102-e09412e517e3" providerId="ADAL" clId="{35A2B7D3-BB6C-422F-AF31-7DBA0CB14166}" dt="2023-12-27T03:49:04.592" v="3612" actId="478"/>
          <ac:grpSpMkLst>
            <pc:docMk/>
            <pc:sldMk cId="3008939146" sldId="1001"/>
            <ac:grpSpMk id="123" creationId="{1AFAC0BB-B0A2-BF3C-A451-67A3C0B203C3}"/>
          </ac:grpSpMkLst>
        </pc:grpChg>
        <pc:cxnChg chg="mod">
          <ac:chgData name="Yousuf, Arsalan" userId="1f742cd1-60f2-4cc5-8102-e09412e517e3" providerId="ADAL" clId="{35A2B7D3-BB6C-422F-AF31-7DBA0CB14166}" dt="2023-12-27T03:49:06.761" v="3614"/>
          <ac:cxnSpMkLst>
            <pc:docMk/>
            <pc:sldMk cId="3008939146" sldId="1001"/>
            <ac:cxnSpMk id="13" creationId="{AEC99FC8-7C6C-E976-CBA9-80FC3BDAA67E}"/>
          </ac:cxnSpMkLst>
        </pc:cxnChg>
        <pc:cxnChg chg="mod">
          <ac:chgData name="Yousuf, Arsalan" userId="1f742cd1-60f2-4cc5-8102-e09412e517e3" providerId="ADAL" clId="{35A2B7D3-BB6C-422F-AF31-7DBA0CB14166}" dt="2023-12-27T03:49:06.761" v="3614"/>
          <ac:cxnSpMkLst>
            <pc:docMk/>
            <pc:sldMk cId="3008939146" sldId="1001"/>
            <ac:cxnSpMk id="14" creationId="{641DB66A-E8C9-29DD-DB72-178F4960AF53}"/>
          </ac:cxnSpMkLst>
        </pc:cxnChg>
        <pc:cxnChg chg="mod">
          <ac:chgData name="Yousuf, Arsalan" userId="1f742cd1-60f2-4cc5-8102-e09412e517e3" providerId="ADAL" clId="{35A2B7D3-BB6C-422F-AF31-7DBA0CB14166}" dt="2023-12-27T03:49:06.761" v="3614"/>
          <ac:cxnSpMkLst>
            <pc:docMk/>
            <pc:sldMk cId="3008939146" sldId="1001"/>
            <ac:cxnSpMk id="16" creationId="{2BAA8DE3-8DB1-2745-82B5-3257A4943056}"/>
          </ac:cxnSpMkLst>
        </pc:cxnChg>
        <pc:cxnChg chg="mod">
          <ac:chgData name="Yousuf, Arsalan" userId="1f742cd1-60f2-4cc5-8102-e09412e517e3" providerId="ADAL" clId="{35A2B7D3-BB6C-422F-AF31-7DBA0CB14166}" dt="2023-12-27T03:49:06.761" v="3614"/>
          <ac:cxnSpMkLst>
            <pc:docMk/>
            <pc:sldMk cId="3008939146" sldId="1001"/>
            <ac:cxnSpMk id="19" creationId="{7050F08B-B700-F2B9-631B-E99EB2759326}"/>
          </ac:cxnSpMkLst>
        </pc:cxnChg>
        <pc:cxnChg chg="mod">
          <ac:chgData name="Yousuf, Arsalan" userId="1f742cd1-60f2-4cc5-8102-e09412e517e3" providerId="ADAL" clId="{35A2B7D3-BB6C-422F-AF31-7DBA0CB14166}" dt="2023-12-27T03:49:04.592" v="3612" actId="478"/>
          <ac:cxnSpMkLst>
            <pc:docMk/>
            <pc:sldMk cId="3008939146" sldId="1001"/>
            <ac:cxnSpMk id="131" creationId="{5E3C8508-6DE7-BBF4-6CF2-B8CA66D8427A}"/>
          </ac:cxnSpMkLst>
        </pc:cxnChg>
        <pc:cxnChg chg="mod">
          <ac:chgData name="Yousuf, Arsalan" userId="1f742cd1-60f2-4cc5-8102-e09412e517e3" providerId="ADAL" clId="{35A2B7D3-BB6C-422F-AF31-7DBA0CB14166}" dt="2023-12-27T03:49:04.592" v="3612" actId="478"/>
          <ac:cxnSpMkLst>
            <pc:docMk/>
            <pc:sldMk cId="3008939146" sldId="1001"/>
            <ac:cxnSpMk id="142" creationId="{35AFE73F-483D-8756-B65C-5F415C7489EA}"/>
          </ac:cxnSpMkLst>
        </pc:cxnChg>
        <pc:cxnChg chg="mod">
          <ac:chgData name="Yousuf, Arsalan" userId="1f742cd1-60f2-4cc5-8102-e09412e517e3" providerId="ADAL" clId="{35A2B7D3-BB6C-422F-AF31-7DBA0CB14166}" dt="2023-12-27T03:49:04.592" v="3612" actId="478"/>
          <ac:cxnSpMkLst>
            <pc:docMk/>
            <pc:sldMk cId="3008939146" sldId="1001"/>
            <ac:cxnSpMk id="143" creationId="{5ADEC1EB-AD7E-204C-CFB9-3F0A08A76F4C}"/>
          </ac:cxnSpMkLst>
        </pc:cxnChg>
        <pc:cxnChg chg="mod">
          <ac:chgData name="Yousuf, Arsalan" userId="1f742cd1-60f2-4cc5-8102-e09412e517e3" providerId="ADAL" clId="{35A2B7D3-BB6C-422F-AF31-7DBA0CB14166}" dt="2023-12-27T03:49:04.592" v="3612" actId="478"/>
          <ac:cxnSpMkLst>
            <pc:docMk/>
            <pc:sldMk cId="3008939146" sldId="1001"/>
            <ac:cxnSpMk id="145" creationId="{640089E8-2715-1916-4297-668109479148}"/>
          </ac:cxnSpMkLst>
        </pc:cxnChg>
        <pc:cxnChg chg="mod">
          <ac:chgData name="Yousuf, Arsalan" userId="1f742cd1-60f2-4cc5-8102-e09412e517e3" providerId="ADAL" clId="{35A2B7D3-BB6C-422F-AF31-7DBA0CB14166}" dt="2023-12-27T03:49:04.592" v="3612" actId="478"/>
          <ac:cxnSpMkLst>
            <pc:docMk/>
            <pc:sldMk cId="3008939146" sldId="1001"/>
            <ac:cxnSpMk id="147" creationId="{1552C94E-9C11-70EB-D522-392309B47428}"/>
          </ac:cxnSpMkLst>
        </pc:cxnChg>
        <pc:cxnChg chg="mod">
          <ac:chgData name="Yousuf, Arsalan" userId="1f742cd1-60f2-4cc5-8102-e09412e517e3" providerId="ADAL" clId="{35A2B7D3-BB6C-422F-AF31-7DBA0CB14166}" dt="2023-12-27T03:49:04.592" v="3612" actId="478"/>
          <ac:cxnSpMkLst>
            <pc:docMk/>
            <pc:sldMk cId="3008939146" sldId="1001"/>
            <ac:cxnSpMk id="158" creationId="{28A7BCAF-C8C2-0E18-9D7A-8AC32C5074AA}"/>
          </ac:cxnSpMkLst>
        </pc:cxnChg>
      </pc:sldChg>
      <pc:sldChg chg="modSp mod">
        <pc:chgData name="Yousuf, Arsalan" userId="1f742cd1-60f2-4cc5-8102-e09412e517e3" providerId="ADAL" clId="{35A2B7D3-BB6C-422F-AF31-7DBA0CB14166}" dt="2023-12-27T04:40:57.065" v="5301" actId="20577"/>
        <pc:sldMkLst>
          <pc:docMk/>
          <pc:sldMk cId="3302964695" sldId="1008"/>
        </pc:sldMkLst>
        <pc:spChg chg="mod">
          <ac:chgData name="Yousuf, Arsalan" userId="1f742cd1-60f2-4cc5-8102-e09412e517e3" providerId="ADAL" clId="{35A2B7D3-BB6C-422F-AF31-7DBA0CB14166}" dt="2023-12-27T04:40:32.474" v="5298" actId="20577"/>
          <ac:spMkLst>
            <pc:docMk/>
            <pc:sldMk cId="3302964695" sldId="1008"/>
            <ac:spMk id="2" creationId="{00000000-0000-0000-0000-000000000000}"/>
          </ac:spMkLst>
        </pc:spChg>
        <pc:spChg chg="mod">
          <ac:chgData name="Yousuf, Arsalan" userId="1f742cd1-60f2-4cc5-8102-e09412e517e3" providerId="ADAL" clId="{35A2B7D3-BB6C-422F-AF31-7DBA0CB14166}" dt="2023-12-27T04:40:57.065" v="5301" actId="20577"/>
          <ac:spMkLst>
            <pc:docMk/>
            <pc:sldMk cId="3302964695" sldId="1008"/>
            <ac:spMk id="56" creationId="{C2BEA3DA-28CA-45CE-84AC-50290D3831B6}"/>
          </ac:spMkLst>
        </pc:spChg>
        <pc:spChg chg="mod">
          <ac:chgData name="Yousuf, Arsalan" userId="1f742cd1-60f2-4cc5-8102-e09412e517e3" providerId="ADAL" clId="{35A2B7D3-BB6C-422F-AF31-7DBA0CB14166}" dt="2023-12-27T04:38:59.434" v="5091" actId="20577"/>
          <ac:spMkLst>
            <pc:docMk/>
            <pc:sldMk cId="3302964695" sldId="1008"/>
            <ac:spMk id="102" creationId="{00000000-0000-0000-0000-000000000000}"/>
          </ac:spMkLst>
        </pc:spChg>
      </pc:sldChg>
      <pc:sldChg chg="del">
        <pc:chgData name="Yousuf, Arsalan" userId="1f742cd1-60f2-4cc5-8102-e09412e517e3" providerId="ADAL" clId="{35A2B7D3-BB6C-422F-AF31-7DBA0CB14166}" dt="2023-12-27T03:50:02.067" v="3625" actId="47"/>
        <pc:sldMkLst>
          <pc:docMk/>
          <pc:sldMk cId="2166325634" sldId="1032"/>
        </pc:sldMkLst>
      </pc:sldChg>
      <pc:sldChg chg="addSp delSp modSp mod">
        <pc:chgData name="Yousuf, Arsalan" userId="1f742cd1-60f2-4cc5-8102-e09412e517e3" providerId="ADAL" clId="{35A2B7D3-BB6C-422F-AF31-7DBA0CB14166}" dt="2023-12-27T03:45:55.954" v="3412" actId="1036"/>
        <pc:sldMkLst>
          <pc:docMk/>
          <pc:sldMk cId="1814877297" sldId="1038"/>
        </pc:sldMkLst>
        <pc:spChg chg="del">
          <ac:chgData name="Yousuf, Arsalan" userId="1f742cd1-60f2-4cc5-8102-e09412e517e3" providerId="ADAL" clId="{35A2B7D3-BB6C-422F-AF31-7DBA0CB14166}" dt="2023-12-27T03:38:37.812" v="2489" actId="478"/>
          <ac:spMkLst>
            <pc:docMk/>
            <pc:sldMk cId="1814877297" sldId="1038"/>
            <ac:spMk id="5" creationId="{CCB68BC3-E7A0-4C53-BA11-96950D91667A}"/>
          </ac:spMkLst>
        </pc:spChg>
        <pc:spChg chg="del">
          <ac:chgData name="Yousuf, Arsalan" userId="1f742cd1-60f2-4cc5-8102-e09412e517e3" providerId="ADAL" clId="{35A2B7D3-BB6C-422F-AF31-7DBA0CB14166}" dt="2023-12-27T03:38:37.812" v="2489" actId="478"/>
          <ac:spMkLst>
            <pc:docMk/>
            <pc:sldMk cId="1814877297" sldId="1038"/>
            <ac:spMk id="6" creationId="{F580AA2B-BA32-464B-85E2-F159D143FBAC}"/>
          </ac:spMkLst>
        </pc:spChg>
        <pc:spChg chg="del">
          <ac:chgData name="Yousuf, Arsalan" userId="1f742cd1-60f2-4cc5-8102-e09412e517e3" providerId="ADAL" clId="{35A2B7D3-BB6C-422F-AF31-7DBA0CB14166}" dt="2023-12-27T03:38:37.812" v="2489" actId="478"/>
          <ac:spMkLst>
            <pc:docMk/>
            <pc:sldMk cId="1814877297" sldId="1038"/>
            <ac:spMk id="7" creationId="{5A818B28-13B9-4E00-A43E-E1DCD08B4DB9}"/>
          </ac:spMkLst>
        </pc:spChg>
        <pc:spChg chg="del">
          <ac:chgData name="Yousuf, Arsalan" userId="1f742cd1-60f2-4cc5-8102-e09412e517e3" providerId="ADAL" clId="{35A2B7D3-BB6C-422F-AF31-7DBA0CB14166}" dt="2023-12-27T03:38:37.812" v="2489" actId="478"/>
          <ac:spMkLst>
            <pc:docMk/>
            <pc:sldMk cId="1814877297" sldId="1038"/>
            <ac:spMk id="8" creationId="{AF495501-C290-40A1-886B-6C62942B60DE}"/>
          </ac:spMkLst>
        </pc:spChg>
        <pc:spChg chg="del">
          <ac:chgData name="Yousuf, Arsalan" userId="1f742cd1-60f2-4cc5-8102-e09412e517e3" providerId="ADAL" clId="{35A2B7D3-BB6C-422F-AF31-7DBA0CB14166}" dt="2023-12-27T03:38:37.812" v="2489" actId="478"/>
          <ac:spMkLst>
            <pc:docMk/>
            <pc:sldMk cId="1814877297" sldId="1038"/>
            <ac:spMk id="9" creationId="{9426F387-92DA-40D0-8666-0E584D5525B5}"/>
          </ac:spMkLst>
        </pc:spChg>
        <pc:spChg chg="del">
          <ac:chgData name="Yousuf, Arsalan" userId="1f742cd1-60f2-4cc5-8102-e09412e517e3" providerId="ADAL" clId="{35A2B7D3-BB6C-422F-AF31-7DBA0CB14166}" dt="2023-12-27T03:38:37.812" v="2489" actId="478"/>
          <ac:spMkLst>
            <pc:docMk/>
            <pc:sldMk cId="1814877297" sldId="1038"/>
            <ac:spMk id="10" creationId="{C39A1125-1F03-465B-9865-DB3B82FFE596}"/>
          </ac:spMkLst>
        </pc:spChg>
        <pc:spChg chg="del">
          <ac:chgData name="Yousuf, Arsalan" userId="1f742cd1-60f2-4cc5-8102-e09412e517e3" providerId="ADAL" clId="{35A2B7D3-BB6C-422F-AF31-7DBA0CB14166}" dt="2023-12-27T03:38:37.812" v="2489" actId="478"/>
          <ac:spMkLst>
            <pc:docMk/>
            <pc:sldMk cId="1814877297" sldId="1038"/>
            <ac:spMk id="11" creationId="{6193227C-282F-4CFC-9BBE-CFB71A6911AF}"/>
          </ac:spMkLst>
        </pc:spChg>
        <pc:spChg chg="del">
          <ac:chgData name="Yousuf, Arsalan" userId="1f742cd1-60f2-4cc5-8102-e09412e517e3" providerId="ADAL" clId="{35A2B7D3-BB6C-422F-AF31-7DBA0CB14166}" dt="2023-12-27T03:38:37.812" v="2489" actId="478"/>
          <ac:spMkLst>
            <pc:docMk/>
            <pc:sldMk cId="1814877297" sldId="1038"/>
            <ac:spMk id="12" creationId="{06542068-5830-404A-B5FB-39499292F8CE}"/>
          </ac:spMkLst>
        </pc:spChg>
        <pc:spChg chg="del">
          <ac:chgData name="Yousuf, Arsalan" userId="1f742cd1-60f2-4cc5-8102-e09412e517e3" providerId="ADAL" clId="{35A2B7D3-BB6C-422F-AF31-7DBA0CB14166}" dt="2023-12-27T03:38:37.812" v="2489" actId="478"/>
          <ac:spMkLst>
            <pc:docMk/>
            <pc:sldMk cId="1814877297" sldId="1038"/>
            <ac:spMk id="13" creationId="{23914EF6-5EDA-43D6-A7B5-41683ADB2BEB}"/>
          </ac:spMkLst>
        </pc:spChg>
        <pc:spChg chg="del">
          <ac:chgData name="Yousuf, Arsalan" userId="1f742cd1-60f2-4cc5-8102-e09412e517e3" providerId="ADAL" clId="{35A2B7D3-BB6C-422F-AF31-7DBA0CB14166}" dt="2023-12-27T03:38:37.812" v="2489" actId="478"/>
          <ac:spMkLst>
            <pc:docMk/>
            <pc:sldMk cId="1814877297" sldId="1038"/>
            <ac:spMk id="14" creationId="{947E2328-ED5B-436F-A242-1B29ABC31356}"/>
          </ac:spMkLst>
        </pc:spChg>
        <pc:spChg chg="del">
          <ac:chgData name="Yousuf, Arsalan" userId="1f742cd1-60f2-4cc5-8102-e09412e517e3" providerId="ADAL" clId="{35A2B7D3-BB6C-422F-AF31-7DBA0CB14166}" dt="2023-12-27T03:38:37.812" v="2489" actId="478"/>
          <ac:spMkLst>
            <pc:docMk/>
            <pc:sldMk cId="1814877297" sldId="1038"/>
            <ac:spMk id="15" creationId="{BCF0F7EE-CE91-41A1-9DB4-6DDCDF095DA8}"/>
          </ac:spMkLst>
        </pc:spChg>
        <pc:spChg chg="del">
          <ac:chgData name="Yousuf, Arsalan" userId="1f742cd1-60f2-4cc5-8102-e09412e517e3" providerId="ADAL" clId="{35A2B7D3-BB6C-422F-AF31-7DBA0CB14166}" dt="2023-12-27T03:38:37.812" v="2489" actId="478"/>
          <ac:spMkLst>
            <pc:docMk/>
            <pc:sldMk cId="1814877297" sldId="1038"/>
            <ac:spMk id="16" creationId="{C6C4505B-AFE8-45BC-B2F0-E104A66769F8}"/>
          </ac:spMkLst>
        </pc:spChg>
        <pc:spChg chg="del">
          <ac:chgData name="Yousuf, Arsalan" userId="1f742cd1-60f2-4cc5-8102-e09412e517e3" providerId="ADAL" clId="{35A2B7D3-BB6C-422F-AF31-7DBA0CB14166}" dt="2023-12-27T03:38:37.812" v="2489" actId="478"/>
          <ac:spMkLst>
            <pc:docMk/>
            <pc:sldMk cId="1814877297" sldId="1038"/>
            <ac:spMk id="18" creationId="{F5E59F12-4251-4D6A-A82A-7D25B6D8F4D7}"/>
          </ac:spMkLst>
        </pc:spChg>
        <pc:spChg chg="del">
          <ac:chgData name="Yousuf, Arsalan" userId="1f742cd1-60f2-4cc5-8102-e09412e517e3" providerId="ADAL" clId="{35A2B7D3-BB6C-422F-AF31-7DBA0CB14166}" dt="2023-12-27T03:38:37.812" v="2489" actId="478"/>
          <ac:spMkLst>
            <pc:docMk/>
            <pc:sldMk cId="1814877297" sldId="1038"/>
            <ac:spMk id="19" creationId="{BF2012A2-78E6-4D8E-B33F-A1FCC871F003}"/>
          </ac:spMkLst>
        </pc:spChg>
        <pc:spChg chg="del">
          <ac:chgData name="Yousuf, Arsalan" userId="1f742cd1-60f2-4cc5-8102-e09412e517e3" providerId="ADAL" clId="{35A2B7D3-BB6C-422F-AF31-7DBA0CB14166}" dt="2023-12-27T03:38:37.812" v="2489" actId="478"/>
          <ac:spMkLst>
            <pc:docMk/>
            <pc:sldMk cId="1814877297" sldId="1038"/>
            <ac:spMk id="20" creationId="{518C893E-1F76-436B-95A6-AC342B817547}"/>
          </ac:spMkLst>
        </pc:spChg>
        <pc:spChg chg="del">
          <ac:chgData name="Yousuf, Arsalan" userId="1f742cd1-60f2-4cc5-8102-e09412e517e3" providerId="ADAL" clId="{35A2B7D3-BB6C-422F-AF31-7DBA0CB14166}" dt="2023-12-27T03:38:37.812" v="2489" actId="478"/>
          <ac:spMkLst>
            <pc:docMk/>
            <pc:sldMk cId="1814877297" sldId="1038"/>
            <ac:spMk id="21" creationId="{B6BF4979-8B4C-43E8-B3AE-CB045BDF237A}"/>
          </ac:spMkLst>
        </pc:spChg>
        <pc:spChg chg="mod">
          <ac:chgData name="Yousuf, Arsalan" userId="1f742cd1-60f2-4cc5-8102-e09412e517e3" providerId="ADAL" clId="{35A2B7D3-BB6C-422F-AF31-7DBA0CB14166}" dt="2023-12-27T03:45:04.003" v="3366" actId="2085"/>
          <ac:spMkLst>
            <pc:docMk/>
            <pc:sldMk cId="1814877297" sldId="1038"/>
            <ac:spMk id="22" creationId="{471743D5-FF36-CD95-461D-5ACA4C6C9A4F}"/>
          </ac:spMkLst>
        </pc:spChg>
        <pc:spChg chg="mod">
          <ac:chgData name="Yousuf, Arsalan" userId="1f742cd1-60f2-4cc5-8102-e09412e517e3" providerId="ADAL" clId="{35A2B7D3-BB6C-422F-AF31-7DBA0CB14166}" dt="2023-12-27T03:45:18.944" v="3367" actId="208"/>
          <ac:spMkLst>
            <pc:docMk/>
            <pc:sldMk cId="1814877297" sldId="1038"/>
            <ac:spMk id="23" creationId="{42C38ABD-9DF1-25BB-FE5C-0D655087618B}"/>
          </ac:spMkLst>
        </pc:spChg>
        <pc:spChg chg="del">
          <ac:chgData name="Yousuf, Arsalan" userId="1f742cd1-60f2-4cc5-8102-e09412e517e3" providerId="ADAL" clId="{35A2B7D3-BB6C-422F-AF31-7DBA0CB14166}" dt="2023-12-27T03:38:37.812" v="2489" actId="478"/>
          <ac:spMkLst>
            <pc:docMk/>
            <pc:sldMk cId="1814877297" sldId="1038"/>
            <ac:spMk id="25" creationId="{B39B2CD6-7CAA-4152-A0B2-4931EDF41DC4}"/>
          </ac:spMkLst>
        </pc:spChg>
        <pc:spChg chg="del">
          <ac:chgData name="Yousuf, Arsalan" userId="1f742cd1-60f2-4cc5-8102-e09412e517e3" providerId="ADAL" clId="{35A2B7D3-BB6C-422F-AF31-7DBA0CB14166}" dt="2023-12-27T03:38:37.812" v="2489" actId="478"/>
          <ac:spMkLst>
            <pc:docMk/>
            <pc:sldMk cId="1814877297" sldId="1038"/>
            <ac:spMk id="26" creationId="{35486FDC-3BC4-4121-B81E-116015A3D9BF}"/>
          </ac:spMkLst>
        </pc:spChg>
        <pc:spChg chg="del">
          <ac:chgData name="Yousuf, Arsalan" userId="1f742cd1-60f2-4cc5-8102-e09412e517e3" providerId="ADAL" clId="{35A2B7D3-BB6C-422F-AF31-7DBA0CB14166}" dt="2023-12-27T03:38:37.812" v="2489" actId="478"/>
          <ac:spMkLst>
            <pc:docMk/>
            <pc:sldMk cId="1814877297" sldId="1038"/>
            <ac:spMk id="27" creationId="{4EF18C66-F89F-48F3-B118-6885B7F66618}"/>
          </ac:spMkLst>
        </pc:spChg>
        <pc:spChg chg="del">
          <ac:chgData name="Yousuf, Arsalan" userId="1f742cd1-60f2-4cc5-8102-e09412e517e3" providerId="ADAL" clId="{35A2B7D3-BB6C-422F-AF31-7DBA0CB14166}" dt="2023-12-27T03:38:37.812" v="2489" actId="478"/>
          <ac:spMkLst>
            <pc:docMk/>
            <pc:sldMk cId="1814877297" sldId="1038"/>
            <ac:spMk id="28" creationId="{9F090627-519D-4CAE-9FA3-AF0FF16FFE92}"/>
          </ac:spMkLst>
        </pc:spChg>
        <pc:spChg chg="del">
          <ac:chgData name="Yousuf, Arsalan" userId="1f742cd1-60f2-4cc5-8102-e09412e517e3" providerId="ADAL" clId="{35A2B7D3-BB6C-422F-AF31-7DBA0CB14166}" dt="2023-12-27T03:38:37.812" v="2489" actId="478"/>
          <ac:spMkLst>
            <pc:docMk/>
            <pc:sldMk cId="1814877297" sldId="1038"/>
            <ac:spMk id="29" creationId="{622CF946-3CE0-4A64-B3C2-2FAC843C8935}"/>
          </ac:spMkLst>
        </pc:spChg>
        <pc:spChg chg="mod">
          <ac:chgData name="Yousuf, Arsalan" userId="1f742cd1-60f2-4cc5-8102-e09412e517e3" providerId="ADAL" clId="{35A2B7D3-BB6C-422F-AF31-7DBA0CB14166}" dt="2023-12-27T03:39:41.426" v="2529" actId="20577"/>
          <ac:spMkLst>
            <pc:docMk/>
            <pc:sldMk cId="1814877297" sldId="1038"/>
            <ac:spMk id="30" creationId="{81918A9E-0335-DE40-C754-C2E947B56E60}"/>
          </ac:spMkLst>
        </pc:spChg>
        <pc:spChg chg="mod">
          <ac:chgData name="Yousuf, Arsalan" userId="1f742cd1-60f2-4cc5-8102-e09412e517e3" providerId="ADAL" clId="{35A2B7D3-BB6C-422F-AF31-7DBA0CB14166}" dt="2023-12-27T03:45:01.094" v="3365" actId="2085"/>
          <ac:spMkLst>
            <pc:docMk/>
            <pc:sldMk cId="1814877297" sldId="1038"/>
            <ac:spMk id="33" creationId="{8AB00C79-BDE7-ECEF-C373-47DDC51C16F2}"/>
          </ac:spMkLst>
        </pc:spChg>
        <pc:spChg chg="mod">
          <ac:chgData name="Yousuf, Arsalan" userId="1f742cd1-60f2-4cc5-8102-e09412e517e3" providerId="ADAL" clId="{35A2B7D3-BB6C-422F-AF31-7DBA0CB14166}" dt="2023-12-27T03:45:49.886" v="3397" actId="20577"/>
          <ac:spMkLst>
            <pc:docMk/>
            <pc:sldMk cId="1814877297" sldId="1038"/>
            <ac:spMk id="34" creationId="{3767BF78-74CA-D5B2-B42F-CE977B823566}"/>
          </ac:spMkLst>
        </pc:spChg>
        <pc:spChg chg="mod">
          <ac:chgData name="Yousuf, Arsalan" userId="1f742cd1-60f2-4cc5-8102-e09412e517e3" providerId="ADAL" clId="{35A2B7D3-BB6C-422F-AF31-7DBA0CB14166}" dt="2023-12-27T03:45:29.109" v="3368" actId="208"/>
          <ac:spMkLst>
            <pc:docMk/>
            <pc:sldMk cId="1814877297" sldId="1038"/>
            <ac:spMk id="36" creationId="{67AA6F7A-3D19-554C-313F-ABE044CE2FAF}"/>
          </ac:spMkLst>
        </pc:spChg>
        <pc:spChg chg="mod">
          <ac:chgData name="Yousuf, Arsalan" userId="1f742cd1-60f2-4cc5-8102-e09412e517e3" providerId="ADAL" clId="{35A2B7D3-BB6C-422F-AF31-7DBA0CB14166}" dt="2023-12-27T03:44:56.848" v="3364" actId="2085"/>
          <ac:spMkLst>
            <pc:docMk/>
            <pc:sldMk cId="1814877297" sldId="1038"/>
            <ac:spMk id="37" creationId="{D51B3BBC-1F33-604F-46D5-91A2BE017FD1}"/>
          </ac:spMkLst>
        </pc:spChg>
        <pc:spChg chg="mod">
          <ac:chgData name="Yousuf, Arsalan" userId="1f742cd1-60f2-4cc5-8102-e09412e517e3" providerId="ADAL" clId="{35A2B7D3-BB6C-422F-AF31-7DBA0CB14166}" dt="2023-12-27T03:45:35.446" v="3369" actId="208"/>
          <ac:spMkLst>
            <pc:docMk/>
            <pc:sldMk cId="1814877297" sldId="1038"/>
            <ac:spMk id="39" creationId="{4181D3FA-5833-7D0F-A8DF-774CD51D92A9}"/>
          </ac:spMkLst>
        </pc:spChg>
        <pc:spChg chg="mod">
          <ac:chgData name="Yousuf, Arsalan" userId="1f742cd1-60f2-4cc5-8102-e09412e517e3" providerId="ADAL" clId="{35A2B7D3-BB6C-422F-AF31-7DBA0CB14166}" dt="2023-12-27T03:39:50.307" v="2538" actId="20577"/>
          <ac:spMkLst>
            <pc:docMk/>
            <pc:sldMk cId="1814877297" sldId="1038"/>
            <ac:spMk id="40" creationId="{E7C68A15-C41C-FE79-43AA-FEB0071A6A44}"/>
          </ac:spMkLst>
        </pc:spChg>
        <pc:spChg chg="mod">
          <ac:chgData name="Yousuf, Arsalan" userId="1f742cd1-60f2-4cc5-8102-e09412e517e3" providerId="ADAL" clId="{35A2B7D3-BB6C-422F-AF31-7DBA0CB14166}" dt="2023-12-27T03:44:24.906" v="3360" actId="20577"/>
          <ac:spMkLst>
            <pc:docMk/>
            <pc:sldMk cId="1814877297" sldId="1038"/>
            <ac:spMk id="41" creationId="{96278088-5F20-65D1-0786-5558782B9903}"/>
          </ac:spMkLst>
        </pc:spChg>
        <pc:grpChg chg="add mod">
          <ac:chgData name="Yousuf, Arsalan" userId="1f742cd1-60f2-4cc5-8102-e09412e517e3" providerId="ADAL" clId="{35A2B7D3-BB6C-422F-AF31-7DBA0CB14166}" dt="2023-12-27T03:45:55.954" v="3412" actId="1036"/>
          <ac:grpSpMkLst>
            <pc:docMk/>
            <pc:sldMk cId="1814877297" sldId="1038"/>
            <ac:grpSpMk id="4" creationId="{58C69C41-87CD-07E3-2E84-2C796CF480CD}"/>
          </ac:grpSpMkLst>
        </pc:grpChg>
        <pc:picChg chg="del">
          <ac:chgData name="Yousuf, Arsalan" userId="1f742cd1-60f2-4cc5-8102-e09412e517e3" providerId="ADAL" clId="{35A2B7D3-BB6C-422F-AF31-7DBA0CB14166}" dt="2023-12-27T03:38:37.812" v="2489" actId="478"/>
          <ac:picMkLst>
            <pc:docMk/>
            <pc:sldMk cId="1814877297" sldId="1038"/>
            <ac:picMk id="2" creationId="{AB9639EB-D341-620F-1C3A-FC1D1E73078B}"/>
          </ac:picMkLst>
        </pc:picChg>
        <pc:picChg chg="del">
          <ac:chgData name="Yousuf, Arsalan" userId="1f742cd1-60f2-4cc5-8102-e09412e517e3" providerId="ADAL" clId="{35A2B7D3-BB6C-422F-AF31-7DBA0CB14166}" dt="2023-12-27T03:38:37.812" v="2489" actId="478"/>
          <ac:picMkLst>
            <pc:docMk/>
            <pc:sldMk cId="1814877297" sldId="1038"/>
            <ac:picMk id="3" creationId="{2B2FF783-3A5B-B68D-2AF6-D6EF76E3061C}"/>
          </ac:picMkLst>
        </pc:picChg>
        <pc:picChg chg="del">
          <ac:chgData name="Yousuf, Arsalan" userId="1f742cd1-60f2-4cc5-8102-e09412e517e3" providerId="ADAL" clId="{35A2B7D3-BB6C-422F-AF31-7DBA0CB14166}" dt="2023-12-27T03:38:37.812" v="2489" actId="478"/>
          <ac:picMkLst>
            <pc:docMk/>
            <pc:sldMk cId="1814877297" sldId="1038"/>
            <ac:picMk id="17" creationId="{10F35BB6-C0B1-3ED1-CFEA-78BFEA1D4D21}"/>
          </ac:picMkLst>
        </pc:picChg>
        <pc:picChg chg="del">
          <ac:chgData name="Yousuf, Arsalan" userId="1f742cd1-60f2-4cc5-8102-e09412e517e3" providerId="ADAL" clId="{35A2B7D3-BB6C-422F-AF31-7DBA0CB14166}" dt="2023-12-27T03:38:37.812" v="2489" actId="478"/>
          <ac:picMkLst>
            <pc:docMk/>
            <pc:sldMk cId="1814877297" sldId="1038"/>
            <ac:picMk id="24" creationId="{7B7D23B0-D7E0-442A-BB5C-8029E5B86549}"/>
          </ac:picMkLst>
        </pc:picChg>
        <pc:picChg chg="del">
          <ac:chgData name="Yousuf, Arsalan" userId="1f742cd1-60f2-4cc5-8102-e09412e517e3" providerId="ADAL" clId="{35A2B7D3-BB6C-422F-AF31-7DBA0CB14166}" dt="2023-12-27T03:38:37.812" v="2489" actId="478"/>
          <ac:picMkLst>
            <pc:docMk/>
            <pc:sldMk cId="1814877297" sldId="1038"/>
            <ac:picMk id="38" creationId="{BA994893-8D6A-FE03-60CF-F2E0C8FBCC17}"/>
          </ac:picMkLst>
        </pc:picChg>
        <pc:picChg chg="mod">
          <ac:chgData name="Yousuf, Arsalan" userId="1f742cd1-60f2-4cc5-8102-e09412e517e3" providerId="ADAL" clId="{35A2B7D3-BB6C-422F-AF31-7DBA0CB14166}" dt="2023-12-27T03:39:14.777" v="2506"/>
          <ac:picMkLst>
            <pc:docMk/>
            <pc:sldMk cId="1814877297" sldId="1038"/>
            <ac:picMk id="42" creationId="{4ADF7ACF-275D-5B68-58B1-0581AAD1D97F}"/>
          </ac:picMkLst>
        </pc:picChg>
        <pc:picChg chg="mod">
          <ac:chgData name="Yousuf, Arsalan" userId="1f742cd1-60f2-4cc5-8102-e09412e517e3" providerId="ADAL" clId="{35A2B7D3-BB6C-422F-AF31-7DBA0CB14166}" dt="2023-12-27T03:39:14.777" v="2506"/>
          <ac:picMkLst>
            <pc:docMk/>
            <pc:sldMk cId="1814877297" sldId="1038"/>
            <ac:picMk id="43" creationId="{40795709-2F44-8010-02D8-8DECF2A8EFD1}"/>
          </ac:picMkLst>
        </pc:picChg>
        <pc:picChg chg="mod">
          <ac:chgData name="Yousuf, Arsalan" userId="1f742cd1-60f2-4cc5-8102-e09412e517e3" providerId="ADAL" clId="{35A2B7D3-BB6C-422F-AF31-7DBA0CB14166}" dt="2023-12-27T03:39:14.777" v="2506"/>
          <ac:picMkLst>
            <pc:docMk/>
            <pc:sldMk cId="1814877297" sldId="1038"/>
            <ac:picMk id="44" creationId="{4D085D8D-F1DC-8A5D-6156-D7EFE445328C}"/>
          </ac:picMkLst>
        </pc:picChg>
      </pc:sldChg>
      <pc:sldChg chg="modSp mod">
        <pc:chgData name="Yousuf, Arsalan" userId="1f742cd1-60f2-4cc5-8102-e09412e517e3" providerId="ADAL" clId="{35A2B7D3-BB6C-422F-AF31-7DBA0CB14166}" dt="2023-12-27T19:37:18.819" v="10637" actId="20577"/>
        <pc:sldMkLst>
          <pc:docMk/>
          <pc:sldMk cId="2294149096" sldId="2330"/>
        </pc:sldMkLst>
        <pc:spChg chg="mod">
          <ac:chgData name="Yousuf, Arsalan" userId="1f742cd1-60f2-4cc5-8102-e09412e517e3" providerId="ADAL" clId="{35A2B7D3-BB6C-422F-AF31-7DBA0CB14166}" dt="2023-12-27T19:37:18.819" v="10637" actId="20577"/>
          <ac:spMkLst>
            <pc:docMk/>
            <pc:sldMk cId="2294149096" sldId="2330"/>
            <ac:spMk id="11" creationId="{00000000-0000-0000-0000-000000000000}"/>
          </ac:spMkLst>
        </pc:spChg>
      </pc:sldChg>
      <pc:sldChg chg="modSp mod ord">
        <pc:chgData name="Yousuf, Arsalan" userId="1f742cd1-60f2-4cc5-8102-e09412e517e3" providerId="ADAL" clId="{35A2B7D3-BB6C-422F-AF31-7DBA0CB14166}" dt="2023-12-27T19:37:19.686" v="10639" actId="20578"/>
        <pc:sldMkLst>
          <pc:docMk/>
          <pc:sldMk cId="2150554306" sldId="2334"/>
        </pc:sldMkLst>
        <pc:spChg chg="mod">
          <ac:chgData name="Yousuf, Arsalan" userId="1f742cd1-60f2-4cc5-8102-e09412e517e3" providerId="ADAL" clId="{35A2B7D3-BB6C-422F-AF31-7DBA0CB14166}" dt="2023-12-27T19:37:19.236" v="10638" actId="6549"/>
          <ac:spMkLst>
            <pc:docMk/>
            <pc:sldMk cId="2150554306" sldId="2334"/>
            <ac:spMk id="11" creationId="{00000000-0000-0000-0000-000000000000}"/>
          </ac:spMkLst>
        </pc:spChg>
      </pc:sldChg>
      <pc:sldChg chg="addSp delSp modSp mod">
        <pc:chgData name="Yousuf, Arsalan" userId="1f742cd1-60f2-4cc5-8102-e09412e517e3" providerId="ADAL" clId="{35A2B7D3-BB6C-422F-AF31-7DBA0CB14166}" dt="2023-12-27T03:48:39.870" v="3607" actId="478"/>
        <pc:sldMkLst>
          <pc:docMk/>
          <pc:sldMk cId="2736877653" sldId="2436"/>
        </pc:sldMkLst>
        <pc:spChg chg="del mod">
          <ac:chgData name="Yousuf, Arsalan" userId="1f742cd1-60f2-4cc5-8102-e09412e517e3" providerId="ADAL" clId="{35A2B7D3-BB6C-422F-AF31-7DBA0CB14166}" dt="2023-12-27T03:46:28.846" v="3419" actId="478"/>
          <ac:spMkLst>
            <pc:docMk/>
            <pc:sldMk cId="2736877653" sldId="2436"/>
            <ac:spMk id="3" creationId="{CB5F9CEB-6CAD-4F60-D7C1-1FF661DA2E4D}"/>
          </ac:spMkLst>
        </pc:spChg>
        <pc:spChg chg="del">
          <ac:chgData name="Yousuf, Arsalan" userId="1f742cd1-60f2-4cc5-8102-e09412e517e3" providerId="ADAL" clId="{35A2B7D3-BB6C-422F-AF31-7DBA0CB14166}" dt="2023-12-27T03:47:20.396" v="3427" actId="478"/>
          <ac:spMkLst>
            <pc:docMk/>
            <pc:sldMk cId="2736877653" sldId="2436"/>
            <ac:spMk id="4" creationId="{8B8DFEAD-D265-302A-457B-B28F8CC33A12}"/>
          </ac:spMkLst>
        </pc:spChg>
        <pc:spChg chg="mod">
          <ac:chgData name="Yousuf, Arsalan" userId="1f742cd1-60f2-4cc5-8102-e09412e517e3" providerId="ADAL" clId="{35A2B7D3-BB6C-422F-AF31-7DBA0CB14166}" dt="2023-12-27T03:48:15.120" v="3603" actId="20577"/>
          <ac:spMkLst>
            <pc:docMk/>
            <pc:sldMk cId="2736877653" sldId="2436"/>
            <ac:spMk id="15" creationId="{00000000-0000-0000-0000-000000000000}"/>
          </ac:spMkLst>
        </pc:spChg>
        <pc:spChg chg="mod">
          <ac:chgData name="Yousuf, Arsalan" userId="1f742cd1-60f2-4cc5-8102-e09412e517e3" providerId="ADAL" clId="{35A2B7D3-BB6C-422F-AF31-7DBA0CB14166}" dt="2023-12-27T03:46:50.821" v="3422" actId="207"/>
          <ac:spMkLst>
            <pc:docMk/>
            <pc:sldMk cId="2736877653" sldId="2436"/>
            <ac:spMk id="60" creationId="{00000000-0000-0000-0000-000000000000}"/>
          </ac:spMkLst>
        </pc:spChg>
        <pc:spChg chg="mod">
          <ac:chgData name="Yousuf, Arsalan" userId="1f742cd1-60f2-4cc5-8102-e09412e517e3" providerId="ADAL" clId="{35A2B7D3-BB6C-422F-AF31-7DBA0CB14166}" dt="2023-12-27T03:47:11.789" v="3425" actId="207"/>
          <ac:spMkLst>
            <pc:docMk/>
            <pc:sldMk cId="2736877653" sldId="2436"/>
            <ac:spMk id="63" creationId="{00000000-0000-0000-0000-000000000000}"/>
          </ac:spMkLst>
        </pc:spChg>
        <pc:spChg chg="mod">
          <ac:chgData name="Yousuf, Arsalan" userId="1f742cd1-60f2-4cc5-8102-e09412e517e3" providerId="ADAL" clId="{35A2B7D3-BB6C-422F-AF31-7DBA0CB14166}" dt="2023-12-27T03:47:16.559" v="3426" actId="207"/>
          <ac:spMkLst>
            <pc:docMk/>
            <pc:sldMk cId="2736877653" sldId="2436"/>
            <ac:spMk id="65" creationId="{00000000-0000-0000-0000-000000000000}"/>
          </ac:spMkLst>
        </pc:spChg>
        <pc:spChg chg="mod">
          <ac:chgData name="Yousuf, Arsalan" userId="1f742cd1-60f2-4cc5-8102-e09412e517e3" providerId="ADAL" clId="{35A2B7D3-BB6C-422F-AF31-7DBA0CB14166}" dt="2023-12-27T03:46:47.439" v="3421" actId="207"/>
          <ac:spMkLst>
            <pc:docMk/>
            <pc:sldMk cId="2736877653" sldId="2436"/>
            <ac:spMk id="66" creationId="{00000000-0000-0000-0000-000000000000}"/>
          </ac:spMkLst>
        </pc:spChg>
        <pc:spChg chg="mod">
          <ac:chgData name="Yousuf, Arsalan" userId="1f742cd1-60f2-4cc5-8102-e09412e517e3" providerId="ADAL" clId="{35A2B7D3-BB6C-422F-AF31-7DBA0CB14166}" dt="2023-12-27T03:47:16.559" v="3426" actId="207"/>
          <ac:spMkLst>
            <pc:docMk/>
            <pc:sldMk cId="2736877653" sldId="2436"/>
            <ac:spMk id="67" creationId="{00000000-0000-0000-0000-000000000000}"/>
          </ac:spMkLst>
        </pc:spChg>
        <pc:spChg chg="mod">
          <ac:chgData name="Yousuf, Arsalan" userId="1f742cd1-60f2-4cc5-8102-e09412e517e3" providerId="ADAL" clId="{35A2B7D3-BB6C-422F-AF31-7DBA0CB14166}" dt="2023-12-27T03:46:47.439" v="3421" actId="207"/>
          <ac:spMkLst>
            <pc:docMk/>
            <pc:sldMk cId="2736877653" sldId="2436"/>
            <ac:spMk id="68" creationId="{00000000-0000-0000-0000-000000000000}"/>
          </ac:spMkLst>
        </pc:spChg>
        <pc:spChg chg="mod">
          <ac:chgData name="Yousuf, Arsalan" userId="1f742cd1-60f2-4cc5-8102-e09412e517e3" providerId="ADAL" clId="{35A2B7D3-BB6C-422F-AF31-7DBA0CB14166}" dt="2023-12-27T03:46:56.457" v="3423" actId="207"/>
          <ac:spMkLst>
            <pc:docMk/>
            <pc:sldMk cId="2736877653" sldId="2436"/>
            <ac:spMk id="77" creationId="{00000000-0000-0000-0000-000000000000}"/>
          </ac:spMkLst>
        </pc:spChg>
        <pc:spChg chg="mod">
          <ac:chgData name="Yousuf, Arsalan" userId="1f742cd1-60f2-4cc5-8102-e09412e517e3" providerId="ADAL" clId="{35A2B7D3-BB6C-422F-AF31-7DBA0CB14166}" dt="2023-12-27T03:47:05.556" v="3424" actId="207"/>
          <ac:spMkLst>
            <pc:docMk/>
            <pc:sldMk cId="2736877653" sldId="2436"/>
            <ac:spMk id="84" creationId="{00000000-0000-0000-0000-000000000000}"/>
          </ac:spMkLst>
        </pc:spChg>
        <pc:graphicFrameChg chg="add del mod">
          <ac:chgData name="Yousuf, Arsalan" userId="1f742cd1-60f2-4cc5-8102-e09412e517e3" providerId="ADAL" clId="{35A2B7D3-BB6C-422F-AF31-7DBA0CB14166}" dt="2023-12-27T03:48:39.870" v="3607" actId="478"/>
          <ac:graphicFrameMkLst>
            <pc:docMk/>
            <pc:sldMk cId="2736877653" sldId="2436"/>
            <ac:graphicFrameMk id="2" creationId="{94595FE3-7A89-5C1B-D796-803B3459B531}"/>
          </ac:graphicFrameMkLst>
        </pc:graphicFrameChg>
      </pc:sldChg>
      <pc:sldChg chg="addSp delSp mod">
        <pc:chgData name="Yousuf, Arsalan" userId="1f742cd1-60f2-4cc5-8102-e09412e517e3" providerId="ADAL" clId="{35A2B7D3-BB6C-422F-AF31-7DBA0CB14166}" dt="2023-12-27T03:48:59.160" v="3611" actId="478"/>
        <pc:sldMkLst>
          <pc:docMk/>
          <pc:sldMk cId="3888194907" sldId="2444"/>
        </pc:sldMkLst>
        <pc:spChg chg="add del">
          <ac:chgData name="Yousuf, Arsalan" userId="1f742cd1-60f2-4cc5-8102-e09412e517e3" providerId="ADAL" clId="{35A2B7D3-BB6C-422F-AF31-7DBA0CB14166}" dt="2023-12-27T03:48:59.160" v="3611" actId="478"/>
          <ac:spMkLst>
            <pc:docMk/>
            <pc:sldMk cId="3888194907" sldId="2444"/>
            <ac:spMk id="19" creationId="{162D6C1C-D367-48B0-B9C8-0BB94D92E822}"/>
          </ac:spMkLst>
        </pc:spChg>
      </pc:sldChg>
      <pc:sldChg chg="modSp mod">
        <pc:chgData name="Yousuf, Arsalan" userId="1f742cd1-60f2-4cc5-8102-e09412e517e3" providerId="ADAL" clId="{35A2B7D3-BB6C-422F-AF31-7DBA0CB14166}" dt="2023-12-28T07:37:59.615" v="11143" actId="20577"/>
        <pc:sldMkLst>
          <pc:docMk/>
          <pc:sldMk cId="4215209204" sldId="2445"/>
        </pc:sldMkLst>
        <pc:spChg chg="mod">
          <ac:chgData name="Yousuf, Arsalan" userId="1f742cd1-60f2-4cc5-8102-e09412e517e3" providerId="ADAL" clId="{35A2B7D3-BB6C-422F-AF31-7DBA0CB14166}" dt="2023-12-28T07:37:59.615" v="11143" actId="20577"/>
          <ac:spMkLst>
            <pc:docMk/>
            <pc:sldMk cId="4215209204" sldId="2445"/>
            <ac:spMk id="8" creationId="{0B855EE4-7941-4EBE-AFA4-B0B5073D1465}"/>
          </ac:spMkLst>
        </pc:spChg>
      </pc:sldChg>
      <pc:sldChg chg="addSp delSp modSp mod">
        <pc:chgData name="Yousuf, Arsalan" userId="1f742cd1-60f2-4cc5-8102-e09412e517e3" providerId="ADAL" clId="{35A2B7D3-BB6C-422F-AF31-7DBA0CB14166}" dt="2023-12-27T03:36:21.904" v="2478" actId="1038"/>
        <pc:sldMkLst>
          <pc:docMk/>
          <pc:sldMk cId="2679350788" sldId="2447"/>
        </pc:sldMkLst>
        <pc:grpChg chg="del">
          <ac:chgData name="Yousuf, Arsalan" userId="1f742cd1-60f2-4cc5-8102-e09412e517e3" providerId="ADAL" clId="{35A2B7D3-BB6C-422F-AF31-7DBA0CB14166}" dt="2023-12-27T03:35:12.373" v="2455" actId="165"/>
          <ac:grpSpMkLst>
            <pc:docMk/>
            <pc:sldMk cId="2679350788" sldId="2447"/>
            <ac:grpSpMk id="3" creationId="{3712C34F-2A4B-8BA3-1806-CF3A81922AF7}"/>
          </ac:grpSpMkLst>
        </pc:grpChg>
        <pc:graphicFrameChg chg="mod topLvl">
          <ac:chgData name="Yousuf, Arsalan" userId="1f742cd1-60f2-4cc5-8102-e09412e517e3" providerId="ADAL" clId="{35A2B7D3-BB6C-422F-AF31-7DBA0CB14166}" dt="2023-12-27T03:35:12.373" v="2455" actId="165"/>
          <ac:graphicFrameMkLst>
            <pc:docMk/>
            <pc:sldMk cId="2679350788" sldId="2447"/>
            <ac:graphicFrameMk id="34" creationId="{86B5DDD0-12B2-6831-7636-4C63C5064264}"/>
          </ac:graphicFrameMkLst>
        </pc:graphicFrameChg>
        <pc:picChg chg="add del mod">
          <ac:chgData name="Yousuf, Arsalan" userId="1f742cd1-60f2-4cc5-8102-e09412e517e3" providerId="ADAL" clId="{35A2B7D3-BB6C-422F-AF31-7DBA0CB14166}" dt="2023-12-27T03:35:26.540" v="2460"/>
          <ac:picMkLst>
            <pc:docMk/>
            <pc:sldMk cId="2679350788" sldId="2447"/>
            <ac:picMk id="2" creationId="{97E52B40-58FE-3DAF-83C5-3B9A89B8E2B5}"/>
          </ac:picMkLst>
        </pc:picChg>
        <pc:picChg chg="mod topLvl">
          <ac:chgData name="Yousuf, Arsalan" userId="1f742cd1-60f2-4cc5-8102-e09412e517e3" providerId="ADAL" clId="{35A2B7D3-BB6C-422F-AF31-7DBA0CB14166}" dt="2023-12-27T03:35:12.373" v="2455" actId="165"/>
          <ac:picMkLst>
            <pc:docMk/>
            <pc:sldMk cId="2679350788" sldId="2447"/>
            <ac:picMk id="4" creationId="{8611C0A4-6FA8-1010-D73F-D4539E5A5943}"/>
          </ac:picMkLst>
        </pc:picChg>
        <pc:picChg chg="mod topLvl">
          <ac:chgData name="Yousuf, Arsalan" userId="1f742cd1-60f2-4cc5-8102-e09412e517e3" providerId="ADAL" clId="{35A2B7D3-BB6C-422F-AF31-7DBA0CB14166}" dt="2023-12-27T03:35:12.373" v="2455" actId="165"/>
          <ac:picMkLst>
            <pc:docMk/>
            <pc:sldMk cId="2679350788" sldId="2447"/>
            <ac:picMk id="5" creationId="{A86E2D16-CBA8-08CC-D39A-2A7E46AD1C53}"/>
          </ac:picMkLst>
        </pc:picChg>
        <pc:picChg chg="mod topLvl">
          <ac:chgData name="Yousuf, Arsalan" userId="1f742cd1-60f2-4cc5-8102-e09412e517e3" providerId="ADAL" clId="{35A2B7D3-BB6C-422F-AF31-7DBA0CB14166}" dt="2023-12-27T03:35:12.373" v="2455" actId="165"/>
          <ac:picMkLst>
            <pc:docMk/>
            <pc:sldMk cId="2679350788" sldId="2447"/>
            <ac:picMk id="6" creationId="{35E294E6-4056-2732-002F-7D39638D5F4B}"/>
          </ac:picMkLst>
        </pc:picChg>
        <pc:picChg chg="add mod">
          <ac:chgData name="Yousuf, Arsalan" userId="1f742cd1-60f2-4cc5-8102-e09412e517e3" providerId="ADAL" clId="{35A2B7D3-BB6C-422F-AF31-7DBA0CB14166}" dt="2023-12-27T03:35:44.965" v="2468" actId="1076"/>
          <ac:picMkLst>
            <pc:docMk/>
            <pc:sldMk cId="2679350788" sldId="2447"/>
            <ac:picMk id="7" creationId="{CF7D6B45-9082-201B-3846-9801C9689EF6}"/>
          </ac:picMkLst>
        </pc:picChg>
        <pc:picChg chg="add mod">
          <ac:chgData name="Yousuf, Arsalan" userId="1f742cd1-60f2-4cc5-8102-e09412e517e3" providerId="ADAL" clId="{35A2B7D3-BB6C-422F-AF31-7DBA0CB14166}" dt="2023-12-27T03:36:14.460" v="2474"/>
          <ac:picMkLst>
            <pc:docMk/>
            <pc:sldMk cId="2679350788" sldId="2447"/>
            <ac:picMk id="8" creationId="{39AEAA5C-94DB-01F5-F56A-0B60C41D0923}"/>
          </ac:picMkLst>
        </pc:picChg>
        <pc:picChg chg="add mod">
          <ac:chgData name="Yousuf, Arsalan" userId="1f742cd1-60f2-4cc5-8102-e09412e517e3" providerId="ADAL" clId="{35A2B7D3-BB6C-422F-AF31-7DBA0CB14166}" dt="2023-12-27T03:36:14.460" v="2474"/>
          <ac:picMkLst>
            <pc:docMk/>
            <pc:sldMk cId="2679350788" sldId="2447"/>
            <ac:picMk id="9" creationId="{CA88D1AA-E8DF-3910-4477-8ED563FCF0E5}"/>
          </ac:picMkLst>
        </pc:picChg>
        <pc:picChg chg="mod topLvl">
          <ac:chgData name="Yousuf, Arsalan" userId="1f742cd1-60f2-4cc5-8102-e09412e517e3" providerId="ADAL" clId="{35A2B7D3-BB6C-422F-AF31-7DBA0CB14166}" dt="2023-12-27T03:35:12.373" v="2455" actId="165"/>
          <ac:picMkLst>
            <pc:docMk/>
            <pc:sldMk cId="2679350788" sldId="2447"/>
            <ac:picMk id="10" creationId="{1CF4078B-187B-2266-6A3A-0F3C2FBA855C}"/>
          </ac:picMkLst>
        </pc:picChg>
        <pc:picChg chg="mod topLvl">
          <ac:chgData name="Yousuf, Arsalan" userId="1f742cd1-60f2-4cc5-8102-e09412e517e3" providerId="ADAL" clId="{35A2B7D3-BB6C-422F-AF31-7DBA0CB14166}" dt="2023-12-27T03:35:12.373" v="2455" actId="165"/>
          <ac:picMkLst>
            <pc:docMk/>
            <pc:sldMk cId="2679350788" sldId="2447"/>
            <ac:picMk id="11" creationId="{35D0045C-494D-5A1B-8F2C-18A4885584DC}"/>
          </ac:picMkLst>
        </pc:picChg>
        <pc:picChg chg="mod topLvl">
          <ac:chgData name="Yousuf, Arsalan" userId="1f742cd1-60f2-4cc5-8102-e09412e517e3" providerId="ADAL" clId="{35A2B7D3-BB6C-422F-AF31-7DBA0CB14166}" dt="2023-12-27T03:35:12.373" v="2455" actId="165"/>
          <ac:picMkLst>
            <pc:docMk/>
            <pc:sldMk cId="2679350788" sldId="2447"/>
            <ac:picMk id="12" creationId="{D848AE45-41AA-1251-EA6A-B8C569213917}"/>
          </ac:picMkLst>
        </pc:picChg>
        <pc:picChg chg="mod topLvl">
          <ac:chgData name="Yousuf, Arsalan" userId="1f742cd1-60f2-4cc5-8102-e09412e517e3" providerId="ADAL" clId="{35A2B7D3-BB6C-422F-AF31-7DBA0CB14166}" dt="2023-12-27T03:35:12.373" v="2455" actId="165"/>
          <ac:picMkLst>
            <pc:docMk/>
            <pc:sldMk cId="2679350788" sldId="2447"/>
            <ac:picMk id="13" creationId="{AD082C20-A7EC-618D-9227-5E495A6381BE}"/>
          </ac:picMkLst>
        </pc:picChg>
        <pc:picChg chg="mod topLvl">
          <ac:chgData name="Yousuf, Arsalan" userId="1f742cd1-60f2-4cc5-8102-e09412e517e3" providerId="ADAL" clId="{35A2B7D3-BB6C-422F-AF31-7DBA0CB14166}" dt="2023-12-27T03:35:12.373" v="2455" actId="165"/>
          <ac:picMkLst>
            <pc:docMk/>
            <pc:sldMk cId="2679350788" sldId="2447"/>
            <ac:picMk id="14" creationId="{2591A133-F4C5-233F-F7E9-B653E783B26A}"/>
          </ac:picMkLst>
        </pc:picChg>
        <pc:picChg chg="mod topLvl">
          <ac:chgData name="Yousuf, Arsalan" userId="1f742cd1-60f2-4cc5-8102-e09412e517e3" providerId="ADAL" clId="{35A2B7D3-BB6C-422F-AF31-7DBA0CB14166}" dt="2023-12-27T03:35:12.373" v="2455" actId="165"/>
          <ac:picMkLst>
            <pc:docMk/>
            <pc:sldMk cId="2679350788" sldId="2447"/>
            <ac:picMk id="15" creationId="{FA599F1E-6749-15BD-E0AB-BD1924C56D7A}"/>
          </ac:picMkLst>
        </pc:picChg>
        <pc:picChg chg="mod topLvl">
          <ac:chgData name="Yousuf, Arsalan" userId="1f742cd1-60f2-4cc5-8102-e09412e517e3" providerId="ADAL" clId="{35A2B7D3-BB6C-422F-AF31-7DBA0CB14166}" dt="2023-12-27T03:35:12.373" v="2455" actId="165"/>
          <ac:picMkLst>
            <pc:docMk/>
            <pc:sldMk cId="2679350788" sldId="2447"/>
            <ac:picMk id="16" creationId="{77722EF3-44CA-3EFD-91D6-2F5A4B339817}"/>
          </ac:picMkLst>
        </pc:picChg>
        <pc:picChg chg="mod topLvl">
          <ac:chgData name="Yousuf, Arsalan" userId="1f742cd1-60f2-4cc5-8102-e09412e517e3" providerId="ADAL" clId="{35A2B7D3-BB6C-422F-AF31-7DBA0CB14166}" dt="2023-12-27T03:36:21.904" v="2478" actId="1038"/>
          <ac:picMkLst>
            <pc:docMk/>
            <pc:sldMk cId="2679350788" sldId="2447"/>
            <ac:picMk id="17" creationId="{521F93D5-DFCD-CC2A-5911-0EC1B6602DEF}"/>
          </ac:picMkLst>
        </pc:picChg>
        <pc:picChg chg="mod topLvl">
          <ac:chgData name="Yousuf, Arsalan" userId="1f742cd1-60f2-4cc5-8102-e09412e517e3" providerId="ADAL" clId="{35A2B7D3-BB6C-422F-AF31-7DBA0CB14166}" dt="2023-12-27T03:35:12.373" v="2455" actId="165"/>
          <ac:picMkLst>
            <pc:docMk/>
            <pc:sldMk cId="2679350788" sldId="2447"/>
            <ac:picMk id="18" creationId="{D4CC4444-A3A2-8B16-4FE0-8B5DB9D1B4D5}"/>
          </ac:picMkLst>
        </pc:picChg>
        <pc:picChg chg="mod topLvl">
          <ac:chgData name="Yousuf, Arsalan" userId="1f742cd1-60f2-4cc5-8102-e09412e517e3" providerId="ADAL" clId="{35A2B7D3-BB6C-422F-AF31-7DBA0CB14166}" dt="2023-12-27T03:35:12.373" v="2455" actId="165"/>
          <ac:picMkLst>
            <pc:docMk/>
            <pc:sldMk cId="2679350788" sldId="2447"/>
            <ac:picMk id="19" creationId="{AF5BB014-1E74-392C-E64D-316070B1A3D7}"/>
          </ac:picMkLst>
        </pc:picChg>
        <pc:picChg chg="del mod topLvl">
          <ac:chgData name="Yousuf, Arsalan" userId="1f742cd1-60f2-4cc5-8102-e09412e517e3" providerId="ADAL" clId="{35A2B7D3-BB6C-422F-AF31-7DBA0CB14166}" dt="2023-12-27T03:36:06.013" v="2472" actId="478"/>
          <ac:picMkLst>
            <pc:docMk/>
            <pc:sldMk cId="2679350788" sldId="2447"/>
            <ac:picMk id="20" creationId="{04232687-DE92-E701-D7BA-CA8209A1EDBF}"/>
          </ac:picMkLst>
        </pc:picChg>
        <pc:picChg chg="mod topLvl">
          <ac:chgData name="Yousuf, Arsalan" userId="1f742cd1-60f2-4cc5-8102-e09412e517e3" providerId="ADAL" clId="{35A2B7D3-BB6C-422F-AF31-7DBA0CB14166}" dt="2023-12-27T03:35:12.373" v="2455" actId="165"/>
          <ac:picMkLst>
            <pc:docMk/>
            <pc:sldMk cId="2679350788" sldId="2447"/>
            <ac:picMk id="21" creationId="{2C175B71-4619-FAC1-CB39-3FD3FA4DD981}"/>
          </ac:picMkLst>
        </pc:picChg>
        <pc:picChg chg="mod topLvl">
          <ac:chgData name="Yousuf, Arsalan" userId="1f742cd1-60f2-4cc5-8102-e09412e517e3" providerId="ADAL" clId="{35A2B7D3-BB6C-422F-AF31-7DBA0CB14166}" dt="2023-12-27T03:35:12.373" v="2455" actId="165"/>
          <ac:picMkLst>
            <pc:docMk/>
            <pc:sldMk cId="2679350788" sldId="2447"/>
            <ac:picMk id="22" creationId="{274B82B4-2588-0085-9025-881FA2EE0E0C}"/>
          </ac:picMkLst>
        </pc:picChg>
        <pc:picChg chg="mod topLvl">
          <ac:chgData name="Yousuf, Arsalan" userId="1f742cd1-60f2-4cc5-8102-e09412e517e3" providerId="ADAL" clId="{35A2B7D3-BB6C-422F-AF31-7DBA0CB14166}" dt="2023-12-27T03:35:12.373" v="2455" actId="165"/>
          <ac:picMkLst>
            <pc:docMk/>
            <pc:sldMk cId="2679350788" sldId="2447"/>
            <ac:picMk id="23" creationId="{50DE159D-2DB5-5F97-52AE-1405755AF0F6}"/>
          </ac:picMkLst>
        </pc:picChg>
        <pc:picChg chg="mod topLvl">
          <ac:chgData name="Yousuf, Arsalan" userId="1f742cd1-60f2-4cc5-8102-e09412e517e3" providerId="ADAL" clId="{35A2B7D3-BB6C-422F-AF31-7DBA0CB14166}" dt="2023-12-27T03:35:12.373" v="2455" actId="165"/>
          <ac:picMkLst>
            <pc:docMk/>
            <pc:sldMk cId="2679350788" sldId="2447"/>
            <ac:picMk id="24" creationId="{2C994C42-CC54-9581-AD81-9B532F828015}"/>
          </ac:picMkLst>
        </pc:picChg>
        <pc:picChg chg="add del mod topLvl">
          <ac:chgData name="Yousuf, Arsalan" userId="1f742cd1-60f2-4cc5-8102-e09412e517e3" providerId="ADAL" clId="{35A2B7D3-BB6C-422F-AF31-7DBA0CB14166}" dt="2023-12-27T03:35:37.980" v="2466" actId="1076"/>
          <ac:picMkLst>
            <pc:docMk/>
            <pc:sldMk cId="2679350788" sldId="2447"/>
            <ac:picMk id="25" creationId="{449A5A03-4D4D-3CB1-1F00-9A4DCA322BE4}"/>
          </ac:picMkLst>
        </pc:picChg>
        <pc:picChg chg="del mod topLvl">
          <ac:chgData name="Yousuf, Arsalan" userId="1f742cd1-60f2-4cc5-8102-e09412e517e3" providerId="ADAL" clId="{35A2B7D3-BB6C-422F-AF31-7DBA0CB14166}" dt="2023-12-27T03:36:06.013" v="2472" actId="478"/>
          <ac:picMkLst>
            <pc:docMk/>
            <pc:sldMk cId="2679350788" sldId="2447"/>
            <ac:picMk id="26" creationId="{7394F2BD-3553-278E-4CD1-1974BBBE8820}"/>
          </ac:picMkLst>
        </pc:picChg>
        <pc:picChg chg="mod topLvl">
          <ac:chgData name="Yousuf, Arsalan" userId="1f742cd1-60f2-4cc5-8102-e09412e517e3" providerId="ADAL" clId="{35A2B7D3-BB6C-422F-AF31-7DBA0CB14166}" dt="2023-12-27T03:35:12.373" v="2455" actId="165"/>
          <ac:picMkLst>
            <pc:docMk/>
            <pc:sldMk cId="2679350788" sldId="2447"/>
            <ac:picMk id="27" creationId="{992CF753-69AB-6CB4-9BB5-34014F8FD5BC}"/>
          </ac:picMkLst>
        </pc:picChg>
        <pc:picChg chg="mod topLvl">
          <ac:chgData name="Yousuf, Arsalan" userId="1f742cd1-60f2-4cc5-8102-e09412e517e3" providerId="ADAL" clId="{35A2B7D3-BB6C-422F-AF31-7DBA0CB14166}" dt="2023-12-27T03:36:13.980" v="2473" actId="1076"/>
          <ac:picMkLst>
            <pc:docMk/>
            <pc:sldMk cId="2679350788" sldId="2447"/>
            <ac:picMk id="28" creationId="{09F04204-8505-EBF0-7DCF-98F114A8732C}"/>
          </ac:picMkLst>
        </pc:picChg>
        <pc:picChg chg="mod topLvl">
          <ac:chgData name="Yousuf, Arsalan" userId="1f742cd1-60f2-4cc5-8102-e09412e517e3" providerId="ADAL" clId="{35A2B7D3-BB6C-422F-AF31-7DBA0CB14166}" dt="2023-12-27T03:35:12.373" v="2455" actId="165"/>
          <ac:picMkLst>
            <pc:docMk/>
            <pc:sldMk cId="2679350788" sldId="2447"/>
            <ac:picMk id="29" creationId="{DD8D6C01-6FC8-7010-A5DE-439CDD1938E7}"/>
          </ac:picMkLst>
        </pc:picChg>
        <pc:picChg chg="mod topLvl">
          <ac:chgData name="Yousuf, Arsalan" userId="1f742cd1-60f2-4cc5-8102-e09412e517e3" providerId="ADAL" clId="{35A2B7D3-BB6C-422F-AF31-7DBA0CB14166}" dt="2023-12-27T03:35:12.373" v="2455" actId="165"/>
          <ac:picMkLst>
            <pc:docMk/>
            <pc:sldMk cId="2679350788" sldId="2447"/>
            <ac:picMk id="30" creationId="{2D110E35-E0C1-2BA5-A5B2-F513D85A12C0}"/>
          </ac:picMkLst>
        </pc:picChg>
        <pc:picChg chg="mod topLvl">
          <ac:chgData name="Yousuf, Arsalan" userId="1f742cd1-60f2-4cc5-8102-e09412e517e3" providerId="ADAL" clId="{35A2B7D3-BB6C-422F-AF31-7DBA0CB14166}" dt="2023-12-27T03:35:12.373" v="2455" actId="165"/>
          <ac:picMkLst>
            <pc:docMk/>
            <pc:sldMk cId="2679350788" sldId="2447"/>
            <ac:picMk id="31" creationId="{5872B266-ED65-67B7-49F8-A2166C0A2041}"/>
          </ac:picMkLst>
        </pc:picChg>
        <pc:picChg chg="mod topLvl">
          <ac:chgData name="Yousuf, Arsalan" userId="1f742cd1-60f2-4cc5-8102-e09412e517e3" providerId="ADAL" clId="{35A2B7D3-BB6C-422F-AF31-7DBA0CB14166}" dt="2023-12-27T03:35:12.373" v="2455" actId="165"/>
          <ac:picMkLst>
            <pc:docMk/>
            <pc:sldMk cId="2679350788" sldId="2447"/>
            <ac:picMk id="32" creationId="{DCEABE6D-493D-396B-D86A-9632B4F9B6E0}"/>
          </ac:picMkLst>
        </pc:picChg>
        <pc:picChg chg="mod topLvl">
          <ac:chgData name="Yousuf, Arsalan" userId="1f742cd1-60f2-4cc5-8102-e09412e517e3" providerId="ADAL" clId="{35A2B7D3-BB6C-422F-AF31-7DBA0CB14166}" dt="2023-12-27T03:35:12.373" v="2455" actId="165"/>
          <ac:picMkLst>
            <pc:docMk/>
            <pc:sldMk cId="2679350788" sldId="2447"/>
            <ac:picMk id="33" creationId="{198710D9-A00D-49F0-0717-0C6EF0AEA343}"/>
          </ac:picMkLst>
        </pc:picChg>
        <pc:picChg chg="mod topLvl">
          <ac:chgData name="Yousuf, Arsalan" userId="1f742cd1-60f2-4cc5-8102-e09412e517e3" providerId="ADAL" clId="{35A2B7D3-BB6C-422F-AF31-7DBA0CB14166}" dt="2023-12-27T03:35:12.373" v="2455" actId="165"/>
          <ac:picMkLst>
            <pc:docMk/>
            <pc:sldMk cId="2679350788" sldId="2447"/>
            <ac:picMk id="36" creationId="{758C51B1-0F16-C8E8-F8A9-C9330B3C3BC9}"/>
          </ac:picMkLst>
        </pc:picChg>
        <pc:picChg chg="mod topLvl">
          <ac:chgData name="Yousuf, Arsalan" userId="1f742cd1-60f2-4cc5-8102-e09412e517e3" providerId="ADAL" clId="{35A2B7D3-BB6C-422F-AF31-7DBA0CB14166}" dt="2023-12-27T03:35:12.373" v="2455" actId="165"/>
          <ac:picMkLst>
            <pc:docMk/>
            <pc:sldMk cId="2679350788" sldId="2447"/>
            <ac:picMk id="40" creationId="{FA7BBCBF-C6FB-A8C3-E08D-ACB4F278AE0F}"/>
          </ac:picMkLst>
        </pc:picChg>
        <pc:picChg chg="add del mod topLvl">
          <ac:chgData name="Yousuf, Arsalan" userId="1f742cd1-60f2-4cc5-8102-e09412e517e3" providerId="ADAL" clId="{35A2B7D3-BB6C-422F-AF31-7DBA0CB14166}" dt="2023-12-27T03:35:33.779" v="2465" actId="478"/>
          <ac:picMkLst>
            <pc:docMk/>
            <pc:sldMk cId="2679350788" sldId="2447"/>
            <ac:picMk id="44" creationId="{2C6711C2-0591-0BEC-ACB6-832138628CD1}"/>
          </ac:picMkLst>
        </pc:picChg>
        <pc:picChg chg="mod topLvl">
          <ac:chgData name="Yousuf, Arsalan" userId="1f742cd1-60f2-4cc5-8102-e09412e517e3" providerId="ADAL" clId="{35A2B7D3-BB6C-422F-AF31-7DBA0CB14166}" dt="2023-12-27T03:35:12.373" v="2455" actId="165"/>
          <ac:picMkLst>
            <pc:docMk/>
            <pc:sldMk cId="2679350788" sldId="2447"/>
            <ac:picMk id="45" creationId="{74ECD4E7-DAF8-8A76-3F04-9ABF67B4C1E5}"/>
          </ac:picMkLst>
        </pc:picChg>
        <pc:picChg chg="mod topLvl">
          <ac:chgData name="Yousuf, Arsalan" userId="1f742cd1-60f2-4cc5-8102-e09412e517e3" providerId="ADAL" clId="{35A2B7D3-BB6C-422F-AF31-7DBA0CB14166}" dt="2023-12-27T03:35:12.373" v="2455" actId="165"/>
          <ac:picMkLst>
            <pc:docMk/>
            <pc:sldMk cId="2679350788" sldId="2447"/>
            <ac:picMk id="47" creationId="{6C18897F-BE64-FB0F-2F08-2CF71D117E41}"/>
          </ac:picMkLst>
        </pc:picChg>
        <pc:picChg chg="mod topLvl">
          <ac:chgData name="Yousuf, Arsalan" userId="1f742cd1-60f2-4cc5-8102-e09412e517e3" providerId="ADAL" clId="{35A2B7D3-BB6C-422F-AF31-7DBA0CB14166}" dt="2023-12-27T03:35:12.373" v="2455" actId="165"/>
          <ac:picMkLst>
            <pc:docMk/>
            <pc:sldMk cId="2679350788" sldId="2447"/>
            <ac:picMk id="60" creationId="{F5375A31-B8E6-FF24-630A-0A9032E6083A}"/>
          </ac:picMkLst>
        </pc:picChg>
        <pc:picChg chg="mod topLvl">
          <ac:chgData name="Yousuf, Arsalan" userId="1f742cd1-60f2-4cc5-8102-e09412e517e3" providerId="ADAL" clId="{35A2B7D3-BB6C-422F-AF31-7DBA0CB14166}" dt="2023-12-27T03:35:12.373" v="2455" actId="165"/>
          <ac:picMkLst>
            <pc:docMk/>
            <pc:sldMk cId="2679350788" sldId="2447"/>
            <ac:picMk id="65" creationId="{9DABD9A2-B8C2-6AEB-B182-F04EADEB7114}"/>
          </ac:picMkLst>
        </pc:picChg>
      </pc:sldChg>
      <pc:sldChg chg="addSp delSp modSp mod">
        <pc:chgData name="Yousuf, Arsalan" userId="1f742cd1-60f2-4cc5-8102-e09412e517e3" providerId="ADAL" clId="{35A2B7D3-BB6C-422F-AF31-7DBA0CB14166}" dt="2023-12-25T22:00:38.623" v="1121" actId="1036"/>
        <pc:sldMkLst>
          <pc:docMk/>
          <pc:sldMk cId="1122920924" sldId="2457"/>
        </pc:sldMkLst>
        <pc:spChg chg="add del">
          <ac:chgData name="Yousuf, Arsalan" userId="1f742cd1-60f2-4cc5-8102-e09412e517e3" providerId="ADAL" clId="{35A2B7D3-BB6C-422F-AF31-7DBA0CB14166}" dt="2023-12-25T21:56:01.758" v="847" actId="478"/>
          <ac:spMkLst>
            <pc:docMk/>
            <pc:sldMk cId="1122920924" sldId="2457"/>
            <ac:spMk id="4" creationId="{82E07728-FF61-4C04-B13F-046B62A6DDB1}"/>
          </ac:spMkLst>
        </pc:spChg>
        <pc:spChg chg="add mod">
          <ac:chgData name="Yousuf, Arsalan" userId="1f742cd1-60f2-4cc5-8102-e09412e517e3" providerId="ADAL" clId="{35A2B7D3-BB6C-422F-AF31-7DBA0CB14166}" dt="2023-12-25T22:00:31.378" v="1115" actId="1035"/>
          <ac:spMkLst>
            <pc:docMk/>
            <pc:sldMk cId="1122920924" sldId="2457"/>
            <ac:spMk id="6" creationId="{7F99FF6F-CD1A-FA15-8881-E29FE17D7A20}"/>
          </ac:spMkLst>
        </pc:spChg>
        <pc:spChg chg="mod">
          <ac:chgData name="Yousuf, Arsalan" userId="1f742cd1-60f2-4cc5-8102-e09412e517e3" providerId="ADAL" clId="{35A2B7D3-BB6C-422F-AF31-7DBA0CB14166}" dt="2023-12-25T21:54:59.233" v="842" actId="20577"/>
          <ac:spMkLst>
            <pc:docMk/>
            <pc:sldMk cId="1122920924" sldId="2457"/>
            <ac:spMk id="10" creationId="{643837E0-CD69-40BE-ADBC-3B0D264EAE62}"/>
          </ac:spMkLst>
        </pc:spChg>
        <pc:spChg chg="mod">
          <ac:chgData name="Yousuf, Arsalan" userId="1f742cd1-60f2-4cc5-8102-e09412e517e3" providerId="ADAL" clId="{35A2B7D3-BB6C-422F-AF31-7DBA0CB14166}" dt="2023-12-25T22:00:38.623" v="1121" actId="1036"/>
          <ac:spMkLst>
            <pc:docMk/>
            <pc:sldMk cId="1122920924" sldId="2457"/>
            <ac:spMk id="24" creationId="{D80301D0-DFEE-8752-5C56-07F71365925D}"/>
          </ac:spMkLst>
        </pc:spChg>
        <pc:spChg chg="mod">
          <ac:chgData name="Yousuf, Arsalan" userId="1f742cd1-60f2-4cc5-8102-e09412e517e3" providerId="ADAL" clId="{35A2B7D3-BB6C-422F-AF31-7DBA0CB14166}" dt="2023-12-25T22:00:38.623" v="1121" actId="1036"/>
          <ac:spMkLst>
            <pc:docMk/>
            <pc:sldMk cId="1122920924" sldId="2457"/>
            <ac:spMk id="25" creationId="{98F75F6D-EC5F-785C-A7A3-E9158AD2B0CE}"/>
          </ac:spMkLst>
        </pc:spChg>
        <pc:spChg chg="mod">
          <ac:chgData name="Yousuf, Arsalan" userId="1f742cd1-60f2-4cc5-8102-e09412e517e3" providerId="ADAL" clId="{35A2B7D3-BB6C-422F-AF31-7DBA0CB14166}" dt="2023-12-25T22:00:38.623" v="1121" actId="1036"/>
          <ac:spMkLst>
            <pc:docMk/>
            <pc:sldMk cId="1122920924" sldId="2457"/>
            <ac:spMk id="26" creationId="{53B64887-BC08-05ED-1A63-2D2B65AC26D2}"/>
          </ac:spMkLst>
        </pc:spChg>
        <pc:spChg chg="mod">
          <ac:chgData name="Yousuf, Arsalan" userId="1f742cd1-60f2-4cc5-8102-e09412e517e3" providerId="ADAL" clId="{35A2B7D3-BB6C-422F-AF31-7DBA0CB14166}" dt="2023-12-25T22:00:38.623" v="1121" actId="1036"/>
          <ac:spMkLst>
            <pc:docMk/>
            <pc:sldMk cId="1122920924" sldId="2457"/>
            <ac:spMk id="28" creationId="{BD7422C5-9DDE-78CC-CDA7-25DC25FC932F}"/>
          </ac:spMkLst>
        </pc:spChg>
        <pc:spChg chg="mod">
          <ac:chgData name="Yousuf, Arsalan" userId="1f742cd1-60f2-4cc5-8102-e09412e517e3" providerId="ADAL" clId="{35A2B7D3-BB6C-422F-AF31-7DBA0CB14166}" dt="2023-12-25T22:00:38.623" v="1121" actId="1036"/>
          <ac:spMkLst>
            <pc:docMk/>
            <pc:sldMk cId="1122920924" sldId="2457"/>
            <ac:spMk id="29" creationId="{D6884413-E04C-3E20-D96A-E89BED8800BA}"/>
          </ac:spMkLst>
        </pc:spChg>
        <pc:spChg chg="mod">
          <ac:chgData name="Yousuf, Arsalan" userId="1f742cd1-60f2-4cc5-8102-e09412e517e3" providerId="ADAL" clId="{35A2B7D3-BB6C-422F-AF31-7DBA0CB14166}" dt="2023-12-25T22:00:38.623" v="1121" actId="1036"/>
          <ac:spMkLst>
            <pc:docMk/>
            <pc:sldMk cId="1122920924" sldId="2457"/>
            <ac:spMk id="30" creationId="{4AC9A690-3595-D949-CF4A-0C0291D2FC33}"/>
          </ac:spMkLst>
        </pc:spChg>
        <pc:spChg chg="mod">
          <ac:chgData name="Yousuf, Arsalan" userId="1f742cd1-60f2-4cc5-8102-e09412e517e3" providerId="ADAL" clId="{35A2B7D3-BB6C-422F-AF31-7DBA0CB14166}" dt="2023-12-25T22:00:38.623" v="1121" actId="1036"/>
          <ac:spMkLst>
            <pc:docMk/>
            <pc:sldMk cId="1122920924" sldId="2457"/>
            <ac:spMk id="33" creationId="{7F9C1587-EF1A-9CB0-F145-702FFCCD8A76}"/>
          </ac:spMkLst>
        </pc:spChg>
        <pc:spChg chg="mod">
          <ac:chgData name="Yousuf, Arsalan" userId="1f742cd1-60f2-4cc5-8102-e09412e517e3" providerId="ADAL" clId="{35A2B7D3-BB6C-422F-AF31-7DBA0CB14166}" dt="2023-12-25T22:00:38.623" v="1121" actId="1036"/>
          <ac:spMkLst>
            <pc:docMk/>
            <pc:sldMk cId="1122920924" sldId="2457"/>
            <ac:spMk id="34" creationId="{315A854C-D2E5-2405-749B-9D8B08D33FAD}"/>
          </ac:spMkLst>
        </pc:spChg>
        <pc:spChg chg="mod">
          <ac:chgData name="Yousuf, Arsalan" userId="1f742cd1-60f2-4cc5-8102-e09412e517e3" providerId="ADAL" clId="{35A2B7D3-BB6C-422F-AF31-7DBA0CB14166}" dt="2023-12-25T22:00:38.623" v="1121" actId="1036"/>
          <ac:spMkLst>
            <pc:docMk/>
            <pc:sldMk cId="1122920924" sldId="2457"/>
            <ac:spMk id="35" creationId="{48F7382A-EAB2-DD1B-FD1A-CC7F9DDEFCBA}"/>
          </ac:spMkLst>
        </pc:spChg>
        <pc:spChg chg="mod">
          <ac:chgData name="Yousuf, Arsalan" userId="1f742cd1-60f2-4cc5-8102-e09412e517e3" providerId="ADAL" clId="{35A2B7D3-BB6C-422F-AF31-7DBA0CB14166}" dt="2023-12-25T22:00:38.623" v="1121" actId="1036"/>
          <ac:spMkLst>
            <pc:docMk/>
            <pc:sldMk cId="1122920924" sldId="2457"/>
            <ac:spMk id="38" creationId="{8AB24ED6-953A-54CB-A236-11DBAB5238E5}"/>
          </ac:spMkLst>
        </pc:spChg>
        <pc:spChg chg="mod">
          <ac:chgData name="Yousuf, Arsalan" userId="1f742cd1-60f2-4cc5-8102-e09412e517e3" providerId="ADAL" clId="{35A2B7D3-BB6C-422F-AF31-7DBA0CB14166}" dt="2023-12-25T22:00:38.623" v="1121" actId="1036"/>
          <ac:spMkLst>
            <pc:docMk/>
            <pc:sldMk cId="1122920924" sldId="2457"/>
            <ac:spMk id="40" creationId="{32BD7BCE-0191-E627-180E-CC2A8BD3DC1F}"/>
          </ac:spMkLst>
        </pc:spChg>
        <pc:spChg chg="mod">
          <ac:chgData name="Yousuf, Arsalan" userId="1f742cd1-60f2-4cc5-8102-e09412e517e3" providerId="ADAL" clId="{35A2B7D3-BB6C-422F-AF31-7DBA0CB14166}" dt="2023-12-25T22:00:38.623" v="1121" actId="1036"/>
          <ac:spMkLst>
            <pc:docMk/>
            <pc:sldMk cId="1122920924" sldId="2457"/>
            <ac:spMk id="41" creationId="{54E9BC12-E23C-66B4-80C4-D261E5F76F7F}"/>
          </ac:spMkLst>
        </pc:spChg>
        <pc:spChg chg="mod">
          <ac:chgData name="Yousuf, Arsalan" userId="1f742cd1-60f2-4cc5-8102-e09412e517e3" providerId="ADAL" clId="{35A2B7D3-BB6C-422F-AF31-7DBA0CB14166}" dt="2023-12-25T22:00:38.623" v="1121" actId="1036"/>
          <ac:spMkLst>
            <pc:docMk/>
            <pc:sldMk cId="1122920924" sldId="2457"/>
            <ac:spMk id="43" creationId="{D9CAEA21-CD4F-703C-C214-3A1CB33147CB}"/>
          </ac:spMkLst>
        </pc:spChg>
        <pc:spChg chg="mod">
          <ac:chgData name="Yousuf, Arsalan" userId="1f742cd1-60f2-4cc5-8102-e09412e517e3" providerId="ADAL" clId="{35A2B7D3-BB6C-422F-AF31-7DBA0CB14166}" dt="2023-12-25T22:00:38.623" v="1121" actId="1036"/>
          <ac:spMkLst>
            <pc:docMk/>
            <pc:sldMk cId="1122920924" sldId="2457"/>
            <ac:spMk id="44" creationId="{1FE4CE13-BFDC-3C4E-9894-4B59051D06B3}"/>
          </ac:spMkLst>
        </pc:spChg>
        <pc:spChg chg="mod">
          <ac:chgData name="Yousuf, Arsalan" userId="1f742cd1-60f2-4cc5-8102-e09412e517e3" providerId="ADAL" clId="{35A2B7D3-BB6C-422F-AF31-7DBA0CB14166}" dt="2023-12-25T22:00:38.623" v="1121" actId="1036"/>
          <ac:spMkLst>
            <pc:docMk/>
            <pc:sldMk cId="1122920924" sldId="2457"/>
            <ac:spMk id="45" creationId="{4E359F6B-255B-2917-4956-16F673EDA0F9}"/>
          </ac:spMkLst>
        </pc:spChg>
        <pc:spChg chg="mod">
          <ac:chgData name="Yousuf, Arsalan" userId="1f742cd1-60f2-4cc5-8102-e09412e517e3" providerId="ADAL" clId="{35A2B7D3-BB6C-422F-AF31-7DBA0CB14166}" dt="2023-12-25T22:00:38.623" v="1121" actId="1036"/>
          <ac:spMkLst>
            <pc:docMk/>
            <pc:sldMk cId="1122920924" sldId="2457"/>
            <ac:spMk id="47" creationId="{E345BA0B-CF19-4B40-A60D-AA43437E93C7}"/>
          </ac:spMkLst>
        </pc:spChg>
        <pc:spChg chg="mod">
          <ac:chgData name="Yousuf, Arsalan" userId="1f742cd1-60f2-4cc5-8102-e09412e517e3" providerId="ADAL" clId="{35A2B7D3-BB6C-422F-AF31-7DBA0CB14166}" dt="2023-12-25T22:00:38.623" v="1121" actId="1036"/>
          <ac:spMkLst>
            <pc:docMk/>
            <pc:sldMk cId="1122920924" sldId="2457"/>
            <ac:spMk id="48" creationId="{D91AAFE2-2A0A-7BD0-CCC9-7021146C9165}"/>
          </ac:spMkLst>
        </pc:spChg>
        <pc:spChg chg="mod">
          <ac:chgData name="Yousuf, Arsalan" userId="1f742cd1-60f2-4cc5-8102-e09412e517e3" providerId="ADAL" clId="{35A2B7D3-BB6C-422F-AF31-7DBA0CB14166}" dt="2023-12-25T22:00:38.623" v="1121" actId="1036"/>
          <ac:spMkLst>
            <pc:docMk/>
            <pc:sldMk cId="1122920924" sldId="2457"/>
            <ac:spMk id="49" creationId="{35935223-00E5-509D-20EE-1660F5C035A9}"/>
          </ac:spMkLst>
        </pc:spChg>
        <pc:spChg chg="mod">
          <ac:chgData name="Yousuf, Arsalan" userId="1f742cd1-60f2-4cc5-8102-e09412e517e3" providerId="ADAL" clId="{35A2B7D3-BB6C-422F-AF31-7DBA0CB14166}" dt="2023-12-25T22:00:38.623" v="1121" actId="1036"/>
          <ac:spMkLst>
            <pc:docMk/>
            <pc:sldMk cId="1122920924" sldId="2457"/>
            <ac:spMk id="51" creationId="{A784D308-A86F-CA19-D53E-5FBBB7F23F31}"/>
          </ac:spMkLst>
        </pc:spChg>
        <pc:spChg chg="mod">
          <ac:chgData name="Yousuf, Arsalan" userId="1f742cd1-60f2-4cc5-8102-e09412e517e3" providerId="ADAL" clId="{35A2B7D3-BB6C-422F-AF31-7DBA0CB14166}" dt="2023-12-25T22:00:38.623" v="1121" actId="1036"/>
          <ac:spMkLst>
            <pc:docMk/>
            <pc:sldMk cId="1122920924" sldId="2457"/>
            <ac:spMk id="52" creationId="{949A7498-A6F7-0C47-6FF4-2E6976055834}"/>
          </ac:spMkLst>
        </pc:spChg>
        <pc:spChg chg="mod">
          <ac:chgData name="Yousuf, Arsalan" userId="1f742cd1-60f2-4cc5-8102-e09412e517e3" providerId="ADAL" clId="{35A2B7D3-BB6C-422F-AF31-7DBA0CB14166}" dt="2023-12-25T22:00:38.623" v="1121" actId="1036"/>
          <ac:spMkLst>
            <pc:docMk/>
            <pc:sldMk cId="1122920924" sldId="2457"/>
            <ac:spMk id="53" creationId="{441A016E-851A-63D7-8EC6-A795B0FD483A}"/>
          </ac:spMkLst>
        </pc:spChg>
        <pc:spChg chg="mod">
          <ac:chgData name="Yousuf, Arsalan" userId="1f742cd1-60f2-4cc5-8102-e09412e517e3" providerId="ADAL" clId="{35A2B7D3-BB6C-422F-AF31-7DBA0CB14166}" dt="2023-12-25T22:00:38.623" v="1121" actId="1036"/>
          <ac:spMkLst>
            <pc:docMk/>
            <pc:sldMk cId="1122920924" sldId="2457"/>
            <ac:spMk id="54" creationId="{8885DFC0-72EA-1F89-833D-D1B3CF4137F1}"/>
          </ac:spMkLst>
        </pc:spChg>
        <pc:spChg chg="mod">
          <ac:chgData name="Yousuf, Arsalan" userId="1f742cd1-60f2-4cc5-8102-e09412e517e3" providerId="ADAL" clId="{35A2B7D3-BB6C-422F-AF31-7DBA0CB14166}" dt="2023-12-25T22:00:38.623" v="1121" actId="1036"/>
          <ac:spMkLst>
            <pc:docMk/>
            <pc:sldMk cId="1122920924" sldId="2457"/>
            <ac:spMk id="55" creationId="{2B7B9081-D0EA-1DED-6C34-3C386D0DCCF0}"/>
          </ac:spMkLst>
        </pc:spChg>
        <pc:spChg chg="mod">
          <ac:chgData name="Yousuf, Arsalan" userId="1f742cd1-60f2-4cc5-8102-e09412e517e3" providerId="ADAL" clId="{35A2B7D3-BB6C-422F-AF31-7DBA0CB14166}" dt="2023-12-25T22:00:38.623" v="1121" actId="1036"/>
          <ac:spMkLst>
            <pc:docMk/>
            <pc:sldMk cId="1122920924" sldId="2457"/>
            <ac:spMk id="56" creationId="{09ECBDDB-4EEA-5086-DAD6-85E6E9C1F3FF}"/>
          </ac:spMkLst>
        </pc:spChg>
        <pc:spChg chg="mod">
          <ac:chgData name="Yousuf, Arsalan" userId="1f742cd1-60f2-4cc5-8102-e09412e517e3" providerId="ADAL" clId="{35A2B7D3-BB6C-422F-AF31-7DBA0CB14166}" dt="2023-12-25T22:00:38.623" v="1121" actId="1036"/>
          <ac:spMkLst>
            <pc:docMk/>
            <pc:sldMk cId="1122920924" sldId="2457"/>
            <ac:spMk id="62" creationId="{3C883D2A-DEAE-D285-AD88-D7731D09C95B}"/>
          </ac:spMkLst>
        </pc:spChg>
        <pc:spChg chg="mod">
          <ac:chgData name="Yousuf, Arsalan" userId="1f742cd1-60f2-4cc5-8102-e09412e517e3" providerId="ADAL" clId="{35A2B7D3-BB6C-422F-AF31-7DBA0CB14166}" dt="2023-12-25T22:00:38.623" v="1121" actId="1036"/>
          <ac:spMkLst>
            <pc:docMk/>
            <pc:sldMk cId="1122920924" sldId="2457"/>
            <ac:spMk id="63" creationId="{C55E57F5-EC60-EE7C-8302-B614D4F32AAC}"/>
          </ac:spMkLst>
        </pc:spChg>
        <pc:spChg chg="mod">
          <ac:chgData name="Yousuf, Arsalan" userId="1f742cd1-60f2-4cc5-8102-e09412e517e3" providerId="ADAL" clId="{35A2B7D3-BB6C-422F-AF31-7DBA0CB14166}" dt="2023-12-25T22:00:38.623" v="1121" actId="1036"/>
          <ac:spMkLst>
            <pc:docMk/>
            <pc:sldMk cId="1122920924" sldId="2457"/>
            <ac:spMk id="65" creationId="{7315DC34-DB35-7084-4548-FA20C3F9A62D}"/>
          </ac:spMkLst>
        </pc:spChg>
        <pc:spChg chg="mod">
          <ac:chgData name="Yousuf, Arsalan" userId="1f742cd1-60f2-4cc5-8102-e09412e517e3" providerId="ADAL" clId="{35A2B7D3-BB6C-422F-AF31-7DBA0CB14166}" dt="2023-12-25T22:00:38.623" v="1121" actId="1036"/>
          <ac:spMkLst>
            <pc:docMk/>
            <pc:sldMk cId="1122920924" sldId="2457"/>
            <ac:spMk id="66" creationId="{362CC507-A086-73FF-F089-DCF46964A945}"/>
          </ac:spMkLst>
        </pc:spChg>
        <pc:spChg chg="mod">
          <ac:chgData name="Yousuf, Arsalan" userId="1f742cd1-60f2-4cc5-8102-e09412e517e3" providerId="ADAL" clId="{35A2B7D3-BB6C-422F-AF31-7DBA0CB14166}" dt="2023-12-25T22:00:38.623" v="1121" actId="1036"/>
          <ac:spMkLst>
            <pc:docMk/>
            <pc:sldMk cId="1122920924" sldId="2457"/>
            <ac:spMk id="67" creationId="{808C6732-3C54-2CE6-B8CD-D55A88C6D21F}"/>
          </ac:spMkLst>
        </pc:spChg>
        <pc:spChg chg="mod">
          <ac:chgData name="Yousuf, Arsalan" userId="1f742cd1-60f2-4cc5-8102-e09412e517e3" providerId="ADAL" clId="{35A2B7D3-BB6C-422F-AF31-7DBA0CB14166}" dt="2023-12-25T22:00:38.623" v="1121" actId="1036"/>
          <ac:spMkLst>
            <pc:docMk/>
            <pc:sldMk cId="1122920924" sldId="2457"/>
            <ac:spMk id="69" creationId="{D9789B2F-D6DE-47E5-5C02-F3F3854FD6D2}"/>
          </ac:spMkLst>
        </pc:spChg>
        <pc:spChg chg="mod">
          <ac:chgData name="Yousuf, Arsalan" userId="1f742cd1-60f2-4cc5-8102-e09412e517e3" providerId="ADAL" clId="{35A2B7D3-BB6C-422F-AF31-7DBA0CB14166}" dt="2023-12-25T22:00:38.623" v="1121" actId="1036"/>
          <ac:spMkLst>
            <pc:docMk/>
            <pc:sldMk cId="1122920924" sldId="2457"/>
            <ac:spMk id="70" creationId="{0D476B21-BC7A-F124-3788-992D76E7FBFA}"/>
          </ac:spMkLst>
        </pc:spChg>
        <pc:spChg chg="mod">
          <ac:chgData name="Yousuf, Arsalan" userId="1f742cd1-60f2-4cc5-8102-e09412e517e3" providerId="ADAL" clId="{35A2B7D3-BB6C-422F-AF31-7DBA0CB14166}" dt="2023-12-25T22:00:38.623" v="1121" actId="1036"/>
          <ac:spMkLst>
            <pc:docMk/>
            <pc:sldMk cId="1122920924" sldId="2457"/>
            <ac:spMk id="71" creationId="{3779B3E8-2E70-C4C7-E019-5D6A209EEEB3}"/>
          </ac:spMkLst>
        </pc:spChg>
        <pc:spChg chg="mod">
          <ac:chgData name="Yousuf, Arsalan" userId="1f742cd1-60f2-4cc5-8102-e09412e517e3" providerId="ADAL" clId="{35A2B7D3-BB6C-422F-AF31-7DBA0CB14166}" dt="2023-12-25T22:00:38.623" v="1121" actId="1036"/>
          <ac:spMkLst>
            <pc:docMk/>
            <pc:sldMk cId="1122920924" sldId="2457"/>
            <ac:spMk id="73" creationId="{3E822B44-0E85-C689-8A2C-33A9D5DF2943}"/>
          </ac:spMkLst>
        </pc:spChg>
        <pc:spChg chg="mod">
          <ac:chgData name="Yousuf, Arsalan" userId="1f742cd1-60f2-4cc5-8102-e09412e517e3" providerId="ADAL" clId="{35A2B7D3-BB6C-422F-AF31-7DBA0CB14166}" dt="2023-12-25T22:00:38.623" v="1121" actId="1036"/>
          <ac:spMkLst>
            <pc:docMk/>
            <pc:sldMk cId="1122920924" sldId="2457"/>
            <ac:spMk id="75" creationId="{45D02CEC-F204-F969-7A86-BABE93B16A70}"/>
          </ac:spMkLst>
        </pc:spChg>
        <pc:spChg chg="mod">
          <ac:chgData name="Yousuf, Arsalan" userId="1f742cd1-60f2-4cc5-8102-e09412e517e3" providerId="ADAL" clId="{35A2B7D3-BB6C-422F-AF31-7DBA0CB14166}" dt="2023-12-25T22:00:38.623" v="1121" actId="1036"/>
          <ac:spMkLst>
            <pc:docMk/>
            <pc:sldMk cId="1122920924" sldId="2457"/>
            <ac:spMk id="76" creationId="{1AAFED62-1DD0-17B6-291B-B757922C229C}"/>
          </ac:spMkLst>
        </pc:spChg>
        <pc:spChg chg="mod">
          <ac:chgData name="Yousuf, Arsalan" userId="1f742cd1-60f2-4cc5-8102-e09412e517e3" providerId="ADAL" clId="{35A2B7D3-BB6C-422F-AF31-7DBA0CB14166}" dt="2023-12-25T22:00:38.623" v="1121" actId="1036"/>
          <ac:spMkLst>
            <pc:docMk/>
            <pc:sldMk cId="1122920924" sldId="2457"/>
            <ac:spMk id="77" creationId="{D2F016F1-4996-51B4-0756-CCC5D47329CB}"/>
          </ac:spMkLst>
        </pc:spChg>
        <pc:spChg chg="mod">
          <ac:chgData name="Yousuf, Arsalan" userId="1f742cd1-60f2-4cc5-8102-e09412e517e3" providerId="ADAL" clId="{35A2B7D3-BB6C-422F-AF31-7DBA0CB14166}" dt="2023-12-25T22:00:38.623" v="1121" actId="1036"/>
          <ac:spMkLst>
            <pc:docMk/>
            <pc:sldMk cId="1122920924" sldId="2457"/>
            <ac:spMk id="78" creationId="{2A23AD52-2802-B12A-69E6-1739D3C8083E}"/>
          </ac:spMkLst>
        </pc:spChg>
        <pc:spChg chg="mod">
          <ac:chgData name="Yousuf, Arsalan" userId="1f742cd1-60f2-4cc5-8102-e09412e517e3" providerId="ADAL" clId="{35A2B7D3-BB6C-422F-AF31-7DBA0CB14166}" dt="2023-12-25T22:00:38.623" v="1121" actId="1036"/>
          <ac:spMkLst>
            <pc:docMk/>
            <pc:sldMk cId="1122920924" sldId="2457"/>
            <ac:spMk id="79" creationId="{E7BF7320-2071-E684-B0F8-AB18C9F93F4E}"/>
          </ac:spMkLst>
        </pc:spChg>
        <pc:spChg chg="mod">
          <ac:chgData name="Yousuf, Arsalan" userId="1f742cd1-60f2-4cc5-8102-e09412e517e3" providerId="ADAL" clId="{35A2B7D3-BB6C-422F-AF31-7DBA0CB14166}" dt="2023-12-25T22:00:38.623" v="1121" actId="1036"/>
          <ac:spMkLst>
            <pc:docMk/>
            <pc:sldMk cId="1122920924" sldId="2457"/>
            <ac:spMk id="81" creationId="{BB25A164-8CBB-59D0-C658-2075CA536490}"/>
          </ac:spMkLst>
        </pc:spChg>
        <pc:spChg chg="mod">
          <ac:chgData name="Yousuf, Arsalan" userId="1f742cd1-60f2-4cc5-8102-e09412e517e3" providerId="ADAL" clId="{35A2B7D3-BB6C-422F-AF31-7DBA0CB14166}" dt="2023-12-25T22:00:38.623" v="1121" actId="1036"/>
          <ac:spMkLst>
            <pc:docMk/>
            <pc:sldMk cId="1122920924" sldId="2457"/>
            <ac:spMk id="82" creationId="{48DDB63A-F4C2-446A-5E2B-05EC71D5B758}"/>
          </ac:spMkLst>
        </pc:spChg>
        <pc:spChg chg="add del mod">
          <ac:chgData name="Yousuf, Arsalan" userId="1f742cd1-60f2-4cc5-8102-e09412e517e3" providerId="ADAL" clId="{35A2B7D3-BB6C-422F-AF31-7DBA0CB14166}" dt="2023-12-25T22:00:31.378" v="1115" actId="1035"/>
          <ac:spMkLst>
            <pc:docMk/>
            <pc:sldMk cId="1122920924" sldId="2457"/>
            <ac:spMk id="119" creationId="{505EF4A3-C286-4601-B0BC-2D59C2830976}"/>
          </ac:spMkLst>
        </pc:spChg>
        <pc:spChg chg="add del">
          <ac:chgData name="Yousuf, Arsalan" userId="1f742cd1-60f2-4cc5-8102-e09412e517e3" providerId="ADAL" clId="{35A2B7D3-BB6C-422F-AF31-7DBA0CB14166}" dt="2023-12-25T21:56:01.758" v="847" actId="478"/>
          <ac:spMkLst>
            <pc:docMk/>
            <pc:sldMk cId="1122920924" sldId="2457"/>
            <ac:spMk id="120" creationId="{B97A4562-7ACA-4A3E-B005-3C7E06595048}"/>
          </ac:spMkLst>
        </pc:spChg>
        <pc:spChg chg="add del mod">
          <ac:chgData name="Yousuf, Arsalan" userId="1f742cd1-60f2-4cc5-8102-e09412e517e3" providerId="ADAL" clId="{35A2B7D3-BB6C-422F-AF31-7DBA0CB14166}" dt="2023-12-25T22:00:31.378" v="1115" actId="1035"/>
          <ac:spMkLst>
            <pc:docMk/>
            <pc:sldMk cId="1122920924" sldId="2457"/>
            <ac:spMk id="126" creationId="{1F13CEC3-21A4-427C-BB98-EFFA102AFCF9}"/>
          </ac:spMkLst>
        </pc:spChg>
        <pc:grpChg chg="add mod">
          <ac:chgData name="Yousuf, Arsalan" userId="1f742cd1-60f2-4cc5-8102-e09412e517e3" providerId="ADAL" clId="{35A2B7D3-BB6C-422F-AF31-7DBA0CB14166}" dt="2023-12-25T22:00:38.623" v="1121" actId="1036"/>
          <ac:grpSpMkLst>
            <pc:docMk/>
            <pc:sldMk cId="1122920924" sldId="2457"/>
            <ac:grpSpMk id="7" creationId="{94221F40-30BC-D72C-7FC2-989291A3F084}"/>
          </ac:grpSpMkLst>
        </pc:grpChg>
        <pc:grpChg chg="add del">
          <ac:chgData name="Yousuf, Arsalan" userId="1f742cd1-60f2-4cc5-8102-e09412e517e3" providerId="ADAL" clId="{35A2B7D3-BB6C-422F-AF31-7DBA0CB14166}" dt="2023-12-25T21:56:01.758" v="847" actId="478"/>
          <ac:grpSpMkLst>
            <pc:docMk/>
            <pc:sldMk cId="1122920924" sldId="2457"/>
            <ac:grpSpMk id="8" creationId="{E853343D-164E-2DB7-668B-51FDCF1B4984}"/>
          </ac:grpSpMkLst>
        </pc:grpChg>
        <pc:grpChg chg="add del">
          <ac:chgData name="Yousuf, Arsalan" userId="1f742cd1-60f2-4cc5-8102-e09412e517e3" providerId="ADAL" clId="{35A2B7D3-BB6C-422F-AF31-7DBA0CB14166}" dt="2023-12-25T21:56:01.758" v="847" actId="478"/>
          <ac:grpSpMkLst>
            <pc:docMk/>
            <pc:sldMk cId="1122920924" sldId="2457"/>
            <ac:grpSpMk id="9" creationId="{EDFD490E-25E1-4BE7-5C8A-5638116CAE5D}"/>
          </ac:grpSpMkLst>
        </pc:grpChg>
        <pc:grpChg chg="add del">
          <ac:chgData name="Yousuf, Arsalan" userId="1f742cd1-60f2-4cc5-8102-e09412e517e3" providerId="ADAL" clId="{35A2B7D3-BB6C-422F-AF31-7DBA0CB14166}" dt="2023-12-25T21:56:01.758" v="847" actId="478"/>
          <ac:grpSpMkLst>
            <pc:docMk/>
            <pc:sldMk cId="1122920924" sldId="2457"/>
            <ac:grpSpMk id="22" creationId="{05F9007E-02B4-E2EB-F4CC-0E6BA04CB628}"/>
          </ac:grpSpMkLst>
        </pc:grpChg>
        <pc:picChg chg="add del">
          <ac:chgData name="Yousuf, Arsalan" userId="1f742cd1-60f2-4cc5-8102-e09412e517e3" providerId="ADAL" clId="{35A2B7D3-BB6C-422F-AF31-7DBA0CB14166}" dt="2023-12-25T21:56:06.151" v="848" actId="478"/>
          <ac:picMkLst>
            <pc:docMk/>
            <pc:sldMk cId="1122920924" sldId="2457"/>
            <ac:picMk id="3" creationId="{50847F1A-D52D-1DFA-166A-47C086E3F02D}"/>
          </ac:picMkLst>
        </pc:picChg>
        <pc:picChg chg="mod">
          <ac:chgData name="Yousuf, Arsalan" userId="1f742cd1-60f2-4cc5-8102-e09412e517e3" providerId="ADAL" clId="{35A2B7D3-BB6C-422F-AF31-7DBA0CB14166}" dt="2023-12-25T22:00:38.623" v="1121" actId="1036"/>
          <ac:picMkLst>
            <pc:docMk/>
            <pc:sldMk cId="1122920924" sldId="2457"/>
            <ac:picMk id="14" creationId="{F015A1CF-4516-9BB8-0E17-78F8E247EA59}"/>
          </ac:picMkLst>
        </pc:picChg>
        <pc:picChg chg="mod">
          <ac:chgData name="Yousuf, Arsalan" userId="1f742cd1-60f2-4cc5-8102-e09412e517e3" providerId="ADAL" clId="{35A2B7D3-BB6C-422F-AF31-7DBA0CB14166}" dt="2023-12-25T22:00:38.623" v="1121" actId="1036"/>
          <ac:picMkLst>
            <pc:docMk/>
            <pc:sldMk cId="1122920924" sldId="2457"/>
            <ac:picMk id="15" creationId="{6C41CC93-96AB-9916-3EAE-8F363B9BD99D}"/>
          </ac:picMkLst>
        </pc:picChg>
        <pc:picChg chg="mod">
          <ac:chgData name="Yousuf, Arsalan" userId="1f742cd1-60f2-4cc5-8102-e09412e517e3" providerId="ADAL" clId="{35A2B7D3-BB6C-422F-AF31-7DBA0CB14166}" dt="2023-12-25T22:00:38.623" v="1121" actId="1036"/>
          <ac:picMkLst>
            <pc:docMk/>
            <pc:sldMk cId="1122920924" sldId="2457"/>
            <ac:picMk id="20" creationId="{B956DD23-B268-D61E-80FB-4031D8F2C990}"/>
          </ac:picMkLst>
        </pc:picChg>
        <pc:picChg chg="mod">
          <ac:chgData name="Yousuf, Arsalan" userId="1f742cd1-60f2-4cc5-8102-e09412e517e3" providerId="ADAL" clId="{35A2B7D3-BB6C-422F-AF31-7DBA0CB14166}" dt="2023-12-25T22:00:38.623" v="1121" actId="1036"/>
          <ac:picMkLst>
            <pc:docMk/>
            <pc:sldMk cId="1122920924" sldId="2457"/>
            <ac:picMk id="57" creationId="{54BDA418-A737-31FF-4536-6C97293ECC72}"/>
          </ac:picMkLst>
        </pc:picChg>
        <pc:picChg chg="mod">
          <ac:chgData name="Yousuf, Arsalan" userId="1f742cd1-60f2-4cc5-8102-e09412e517e3" providerId="ADAL" clId="{35A2B7D3-BB6C-422F-AF31-7DBA0CB14166}" dt="2023-12-25T22:00:38.623" v="1121" actId="1036"/>
          <ac:picMkLst>
            <pc:docMk/>
            <pc:sldMk cId="1122920924" sldId="2457"/>
            <ac:picMk id="58" creationId="{98B86C35-B517-BB44-75B2-FB3741D47628}"/>
          </ac:picMkLst>
        </pc:picChg>
        <pc:picChg chg="mod">
          <ac:chgData name="Yousuf, Arsalan" userId="1f742cd1-60f2-4cc5-8102-e09412e517e3" providerId="ADAL" clId="{35A2B7D3-BB6C-422F-AF31-7DBA0CB14166}" dt="2023-12-25T22:00:38.623" v="1121" actId="1036"/>
          <ac:picMkLst>
            <pc:docMk/>
            <pc:sldMk cId="1122920924" sldId="2457"/>
            <ac:picMk id="59" creationId="{D06015EE-4E55-9835-853C-0CCE311D8B03}"/>
          </ac:picMkLst>
        </pc:picChg>
        <pc:picChg chg="mod">
          <ac:chgData name="Yousuf, Arsalan" userId="1f742cd1-60f2-4cc5-8102-e09412e517e3" providerId="ADAL" clId="{35A2B7D3-BB6C-422F-AF31-7DBA0CB14166}" dt="2023-12-25T22:00:38.623" v="1121" actId="1036"/>
          <ac:picMkLst>
            <pc:docMk/>
            <pc:sldMk cId="1122920924" sldId="2457"/>
            <ac:picMk id="60" creationId="{73BE947D-9F53-4147-5EC2-F93FEEDE372E}"/>
          </ac:picMkLst>
        </pc:picChg>
        <pc:picChg chg="mod">
          <ac:chgData name="Yousuf, Arsalan" userId="1f742cd1-60f2-4cc5-8102-e09412e517e3" providerId="ADAL" clId="{35A2B7D3-BB6C-422F-AF31-7DBA0CB14166}" dt="2023-12-25T22:00:38.623" v="1121" actId="1036"/>
          <ac:picMkLst>
            <pc:docMk/>
            <pc:sldMk cId="1122920924" sldId="2457"/>
            <ac:picMk id="61" creationId="{D5B50BE9-51CE-4B26-433F-500184E1493F}"/>
          </ac:picMkLst>
        </pc:picChg>
        <pc:picChg chg="mod">
          <ac:chgData name="Yousuf, Arsalan" userId="1f742cd1-60f2-4cc5-8102-e09412e517e3" providerId="ADAL" clId="{35A2B7D3-BB6C-422F-AF31-7DBA0CB14166}" dt="2023-12-25T22:00:38.623" v="1121" actId="1036"/>
          <ac:picMkLst>
            <pc:docMk/>
            <pc:sldMk cId="1122920924" sldId="2457"/>
            <ac:picMk id="74" creationId="{7BD15428-3760-6E72-851A-852DB0D0D15D}"/>
          </ac:picMkLst>
        </pc:picChg>
        <pc:picChg chg="mod">
          <ac:chgData name="Yousuf, Arsalan" userId="1f742cd1-60f2-4cc5-8102-e09412e517e3" providerId="ADAL" clId="{35A2B7D3-BB6C-422F-AF31-7DBA0CB14166}" dt="2023-12-25T22:00:38.623" v="1121" actId="1036"/>
          <ac:picMkLst>
            <pc:docMk/>
            <pc:sldMk cId="1122920924" sldId="2457"/>
            <ac:picMk id="83" creationId="{D574D2C0-B1F1-23BE-0229-6A324F8E0FC4}"/>
          </ac:picMkLst>
        </pc:picChg>
        <pc:picChg chg="mod">
          <ac:chgData name="Yousuf, Arsalan" userId="1f742cd1-60f2-4cc5-8102-e09412e517e3" providerId="ADAL" clId="{35A2B7D3-BB6C-422F-AF31-7DBA0CB14166}" dt="2023-12-25T22:00:38.623" v="1121" actId="1036"/>
          <ac:picMkLst>
            <pc:docMk/>
            <pc:sldMk cId="1122920924" sldId="2457"/>
            <ac:picMk id="84" creationId="{EFC6AD6B-99C5-968A-E551-D27F1AC6EC3C}"/>
          </ac:picMkLst>
        </pc:picChg>
        <pc:picChg chg="mod">
          <ac:chgData name="Yousuf, Arsalan" userId="1f742cd1-60f2-4cc5-8102-e09412e517e3" providerId="ADAL" clId="{35A2B7D3-BB6C-422F-AF31-7DBA0CB14166}" dt="2023-12-25T22:00:38.623" v="1121" actId="1036"/>
          <ac:picMkLst>
            <pc:docMk/>
            <pc:sldMk cId="1122920924" sldId="2457"/>
            <ac:picMk id="85" creationId="{2137E1F6-07CE-9C0C-CCFB-174A7F2D8C20}"/>
          </ac:picMkLst>
        </pc:picChg>
        <pc:cxnChg chg="mod">
          <ac:chgData name="Yousuf, Arsalan" userId="1f742cd1-60f2-4cc5-8102-e09412e517e3" providerId="ADAL" clId="{35A2B7D3-BB6C-422F-AF31-7DBA0CB14166}" dt="2023-12-25T22:00:38.623" v="1121" actId="1036"/>
          <ac:cxnSpMkLst>
            <pc:docMk/>
            <pc:sldMk cId="1122920924" sldId="2457"/>
            <ac:cxnSpMk id="23" creationId="{A099387D-2FC8-7F0D-251A-60DB9DFA7B4C}"/>
          </ac:cxnSpMkLst>
        </pc:cxnChg>
        <pc:cxnChg chg="mod">
          <ac:chgData name="Yousuf, Arsalan" userId="1f742cd1-60f2-4cc5-8102-e09412e517e3" providerId="ADAL" clId="{35A2B7D3-BB6C-422F-AF31-7DBA0CB14166}" dt="2023-12-25T22:00:38.623" v="1121" actId="1036"/>
          <ac:cxnSpMkLst>
            <pc:docMk/>
            <pc:sldMk cId="1122920924" sldId="2457"/>
            <ac:cxnSpMk id="27" creationId="{8B369108-0057-AD01-B069-06A6D61A27E2}"/>
          </ac:cxnSpMkLst>
        </pc:cxnChg>
        <pc:cxnChg chg="mod">
          <ac:chgData name="Yousuf, Arsalan" userId="1f742cd1-60f2-4cc5-8102-e09412e517e3" providerId="ADAL" clId="{35A2B7D3-BB6C-422F-AF31-7DBA0CB14166}" dt="2023-12-25T22:00:38.623" v="1121" actId="1036"/>
          <ac:cxnSpMkLst>
            <pc:docMk/>
            <pc:sldMk cId="1122920924" sldId="2457"/>
            <ac:cxnSpMk id="31" creationId="{12D60261-0065-B674-2D6C-BBAAB9C0ADF8}"/>
          </ac:cxnSpMkLst>
        </pc:cxnChg>
        <pc:cxnChg chg="mod">
          <ac:chgData name="Yousuf, Arsalan" userId="1f742cd1-60f2-4cc5-8102-e09412e517e3" providerId="ADAL" clId="{35A2B7D3-BB6C-422F-AF31-7DBA0CB14166}" dt="2023-12-25T22:00:38.623" v="1121" actId="1036"/>
          <ac:cxnSpMkLst>
            <pc:docMk/>
            <pc:sldMk cId="1122920924" sldId="2457"/>
            <ac:cxnSpMk id="37" creationId="{6AF5AE69-A6AD-C346-24C1-82CBDBFA631B}"/>
          </ac:cxnSpMkLst>
        </pc:cxnChg>
        <pc:cxnChg chg="mod">
          <ac:chgData name="Yousuf, Arsalan" userId="1f742cd1-60f2-4cc5-8102-e09412e517e3" providerId="ADAL" clId="{35A2B7D3-BB6C-422F-AF31-7DBA0CB14166}" dt="2023-12-25T22:00:38.623" v="1121" actId="1036"/>
          <ac:cxnSpMkLst>
            <pc:docMk/>
            <pc:sldMk cId="1122920924" sldId="2457"/>
            <ac:cxnSpMk id="42" creationId="{D47335AC-31D4-9DBE-F882-CF2BF1680300}"/>
          </ac:cxnSpMkLst>
        </pc:cxnChg>
        <pc:cxnChg chg="mod">
          <ac:chgData name="Yousuf, Arsalan" userId="1f742cd1-60f2-4cc5-8102-e09412e517e3" providerId="ADAL" clId="{35A2B7D3-BB6C-422F-AF31-7DBA0CB14166}" dt="2023-12-25T22:00:38.623" v="1121" actId="1036"/>
          <ac:cxnSpMkLst>
            <pc:docMk/>
            <pc:sldMk cId="1122920924" sldId="2457"/>
            <ac:cxnSpMk id="46" creationId="{F1241F9B-BBDE-6C85-F1F3-CB68D2FFB32A}"/>
          </ac:cxnSpMkLst>
        </pc:cxnChg>
        <pc:cxnChg chg="mod">
          <ac:chgData name="Yousuf, Arsalan" userId="1f742cd1-60f2-4cc5-8102-e09412e517e3" providerId="ADAL" clId="{35A2B7D3-BB6C-422F-AF31-7DBA0CB14166}" dt="2023-12-25T22:00:38.623" v="1121" actId="1036"/>
          <ac:cxnSpMkLst>
            <pc:docMk/>
            <pc:sldMk cId="1122920924" sldId="2457"/>
            <ac:cxnSpMk id="50" creationId="{50AB81D7-34DF-DEE2-F42D-551C0D0159C1}"/>
          </ac:cxnSpMkLst>
        </pc:cxnChg>
        <pc:cxnChg chg="mod">
          <ac:chgData name="Yousuf, Arsalan" userId="1f742cd1-60f2-4cc5-8102-e09412e517e3" providerId="ADAL" clId="{35A2B7D3-BB6C-422F-AF31-7DBA0CB14166}" dt="2023-12-25T22:00:38.623" v="1121" actId="1036"/>
          <ac:cxnSpMkLst>
            <pc:docMk/>
            <pc:sldMk cId="1122920924" sldId="2457"/>
            <ac:cxnSpMk id="64" creationId="{D84C1D0F-0E6E-8B0E-82C4-6A384961E8BC}"/>
          </ac:cxnSpMkLst>
        </pc:cxnChg>
        <pc:cxnChg chg="mod">
          <ac:chgData name="Yousuf, Arsalan" userId="1f742cd1-60f2-4cc5-8102-e09412e517e3" providerId="ADAL" clId="{35A2B7D3-BB6C-422F-AF31-7DBA0CB14166}" dt="2023-12-25T22:00:38.623" v="1121" actId="1036"/>
          <ac:cxnSpMkLst>
            <pc:docMk/>
            <pc:sldMk cId="1122920924" sldId="2457"/>
            <ac:cxnSpMk id="68" creationId="{ED3E86EF-4F58-73A6-018B-FB372CBCEBCD}"/>
          </ac:cxnSpMkLst>
        </pc:cxnChg>
        <pc:cxnChg chg="mod">
          <ac:chgData name="Yousuf, Arsalan" userId="1f742cd1-60f2-4cc5-8102-e09412e517e3" providerId="ADAL" clId="{35A2B7D3-BB6C-422F-AF31-7DBA0CB14166}" dt="2023-12-25T22:00:38.623" v="1121" actId="1036"/>
          <ac:cxnSpMkLst>
            <pc:docMk/>
            <pc:sldMk cId="1122920924" sldId="2457"/>
            <ac:cxnSpMk id="72" creationId="{866272AD-B644-E5E3-2529-E72C9B71AFA4}"/>
          </ac:cxnSpMkLst>
        </pc:cxnChg>
        <pc:cxnChg chg="mod">
          <ac:chgData name="Yousuf, Arsalan" userId="1f742cd1-60f2-4cc5-8102-e09412e517e3" providerId="ADAL" clId="{35A2B7D3-BB6C-422F-AF31-7DBA0CB14166}" dt="2023-12-25T22:00:38.623" v="1121" actId="1036"/>
          <ac:cxnSpMkLst>
            <pc:docMk/>
            <pc:sldMk cId="1122920924" sldId="2457"/>
            <ac:cxnSpMk id="80" creationId="{B26DA111-FC82-76F2-113C-7FA610E61B5F}"/>
          </ac:cxnSpMkLst>
        </pc:cxnChg>
      </pc:sldChg>
      <pc:sldChg chg="modSp add del mod">
        <pc:chgData name="Yousuf, Arsalan" userId="1f742cd1-60f2-4cc5-8102-e09412e517e3" providerId="ADAL" clId="{35A2B7D3-BB6C-422F-AF31-7DBA0CB14166}" dt="2023-12-27T21:08:17.080" v="10875"/>
        <pc:sldMkLst>
          <pc:docMk/>
          <pc:sldMk cId="4127114849" sldId="2462"/>
        </pc:sldMkLst>
        <pc:spChg chg="mod">
          <ac:chgData name="Yousuf, Arsalan" userId="1f742cd1-60f2-4cc5-8102-e09412e517e3" providerId="ADAL" clId="{35A2B7D3-BB6C-422F-AF31-7DBA0CB14166}" dt="2023-12-27T21:08:17.080" v="10875"/>
          <ac:spMkLst>
            <pc:docMk/>
            <pc:sldMk cId="4127114849" sldId="2462"/>
            <ac:spMk id="2" creationId="{08B00136-B1EA-5738-AC03-CCAE9C9D45E0}"/>
          </ac:spMkLst>
        </pc:spChg>
      </pc:sldChg>
      <pc:sldChg chg="addSp delSp modSp mod">
        <pc:chgData name="Yousuf, Arsalan" userId="1f742cd1-60f2-4cc5-8102-e09412e517e3" providerId="ADAL" clId="{35A2B7D3-BB6C-422F-AF31-7DBA0CB14166}" dt="2023-12-27T04:07:37.521" v="4176" actId="1035"/>
        <pc:sldMkLst>
          <pc:docMk/>
          <pc:sldMk cId="249416326" sldId="2476"/>
        </pc:sldMkLst>
        <pc:spChg chg="mod">
          <ac:chgData name="Yousuf, Arsalan" userId="1f742cd1-60f2-4cc5-8102-e09412e517e3" providerId="ADAL" clId="{35A2B7D3-BB6C-422F-AF31-7DBA0CB14166}" dt="2023-12-27T04:05:34.749" v="4058" actId="948"/>
          <ac:spMkLst>
            <pc:docMk/>
            <pc:sldMk cId="249416326" sldId="2476"/>
            <ac:spMk id="2" creationId="{00000000-0000-0000-0000-000000000000}"/>
          </ac:spMkLst>
        </pc:spChg>
        <pc:spChg chg="mod">
          <ac:chgData name="Yousuf, Arsalan" userId="1f742cd1-60f2-4cc5-8102-e09412e517e3" providerId="ADAL" clId="{35A2B7D3-BB6C-422F-AF31-7DBA0CB14166}" dt="2023-12-27T04:06:43.287" v="4129" actId="20577"/>
          <ac:spMkLst>
            <pc:docMk/>
            <pc:sldMk cId="249416326" sldId="2476"/>
            <ac:spMk id="56" creationId="{C2BEA3DA-28CA-45CE-84AC-50290D3831B6}"/>
          </ac:spMkLst>
        </pc:spChg>
        <pc:spChg chg="mod">
          <ac:chgData name="Yousuf, Arsalan" userId="1f742cd1-60f2-4cc5-8102-e09412e517e3" providerId="ADAL" clId="{35A2B7D3-BB6C-422F-AF31-7DBA0CB14166}" dt="2023-12-27T04:06:29.483" v="4123" actId="20577"/>
          <ac:spMkLst>
            <pc:docMk/>
            <pc:sldMk cId="249416326" sldId="2476"/>
            <ac:spMk id="102" creationId="{00000000-0000-0000-0000-000000000000}"/>
          </ac:spMkLst>
        </pc:spChg>
        <pc:picChg chg="add mod">
          <ac:chgData name="Yousuf, Arsalan" userId="1f742cd1-60f2-4cc5-8102-e09412e517e3" providerId="ADAL" clId="{35A2B7D3-BB6C-422F-AF31-7DBA0CB14166}" dt="2023-12-27T04:07:33.015" v="4168" actId="14100"/>
          <ac:picMkLst>
            <pc:docMk/>
            <pc:sldMk cId="249416326" sldId="2476"/>
            <ac:picMk id="5" creationId="{F300FDC1-7551-ED8F-4724-78F84DCEF095}"/>
          </ac:picMkLst>
        </pc:picChg>
        <pc:picChg chg="add mod">
          <ac:chgData name="Yousuf, Arsalan" userId="1f742cd1-60f2-4cc5-8102-e09412e517e3" providerId="ADAL" clId="{35A2B7D3-BB6C-422F-AF31-7DBA0CB14166}" dt="2023-12-27T04:07:33.015" v="4168" actId="14100"/>
          <ac:picMkLst>
            <pc:docMk/>
            <pc:sldMk cId="249416326" sldId="2476"/>
            <ac:picMk id="6" creationId="{4E334E3B-67A1-2232-EC9C-0792BFA2917D}"/>
          </ac:picMkLst>
        </pc:picChg>
        <pc:picChg chg="mod">
          <ac:chgData name="Yousuf, Arsalan" userId="1f742cd1-60f2-4cc5-8102-e09412e517e3" providerId="ADAL" clId="{35A2B7D3-BB6C-422F-AF31-7DBA0CB14166}" dt="2023-12-27T04:07:37.521" v="4176" actId="1035"/>
          <ac:picMkLst>
            <pc:docMk/>
            <pc:sldMk cId="249416326" sldId="2476"/>
            <ac:picMk id="10" creationId="{4935B5BD-48E3-06B0-03D1-6379F24570B1}"/>
          </ac:picMkLst>
        </pc:picChg>
        <pc:picChg chg="mod">
          <ac:chgData name="Yousuf, Arsalan" userId="1f742cd1-60f2-4cc5-8102-e09412e517e3" providerId="ADAL" clId="{35A2B7D3-BB6C-422F-AF31-7DBA0CB14166}" dt="2023-12-27T04:07:35.264" v="4170" actId="1035"/>
          <ac:picMkLst>
            <pc:docMk/>
            <pc:sldMk cId="249416326" sldId="2476"/>
            <ac:picMk id="11" creationId="{263AAF58-E1FC-2499-E956-4783104F6AF2}"/>
          </ac:picMkLst>
        </pc:picChg>
        <pc:picChg chg="del">
          <ac:chgData name="Yousuf, Arsalan" userId="1f742cd1-60f2-4cc5-8102-e09412e517e3" providerId="ADAL" clId="{35A2B7D3-BB6C-422F-AF31-7DBA0CB14166}" dt="2023-12-27T04:06:57.429" v="4130" actId="478"/>
          <ac:picMkLst>
            <pc:docMk/>
            <pc:sldMk cId="249416326" sldId="2476"/>
            <ac:picMk id="12" creationId="{F6E3FEC7-39C0-7648-E435-C3D3B6E5BF6F}"/>
          </ac:picMkLst>
        </pc:picChg>
      </pc:sldChg>
      <pc:sldChg chg="modSp mod">
        <pc:chgData name="Yousuf, Arsalan" userId="1f742cd1-60f2-4cc5-8102-e09412e517e3" providerId="ADAL" clId="{35A2B7D3-BB6C-422F-AF31-7DBA0CB14166}" dt="2023-12-27T04:10:02.232" v="4277" actId="20577"/>
        <pc:sldMkLst>
          <pc:docMk/>
          <pc:sldMk cId="3224379556" sldId="2477"/>
        </pc:sldMkLst>
        <pc:spChg chg="mod">
          <ac:chgData name="Yousuf, Arsalan" userId="1f742cd1-60f2-4cc5-8102-e09412e517e3" providerId="ADAL" clId="{35A2B7D3-BB6C-422F-AF31-7DBA0CB14166}" dt="2023-12-27T04:09:16.306" v="4265" actId="20577"/>
          <ac:spMkLst>
            <pc:docMk/>
            <pc:sldMk cId="3224379556" sldId="2477"/>
            <ac:spMk id="2" creationId="{00000000-0000-0000-0000-000000000000}"/>
          </ac:spMkLst>
        </pc:spChg>
        <pc:spChg chg="mod">
          <ac:chgData name="Yousuf, Arsalan" userId="1f742cd1-60f2-4cc5-8102-e09412e517e3" providerId="ADAL" clId="{35A2B7D3-BB6C-422F-AF31-7DBA0CB14166}" dt="2023-12-27T04:07:47.946" v="4179" actId="20577"/>
          <ac:spMkLst>
            <pc:docMk/>
            <pc:sldMk cId="3224379556" sldId="2477"/>
            <ac:spMk id="56" creationId="{C2BEA3DA-28CA-45CE-84AC-50290D3831B6}"/>
          </ac:spMkLst>
        </pc:spChg>
        <pc:spChg chg="mod">
          <ac:chgData name="Yousuf, Arsalan" userId="1f742cd1-60f2-4cc5-8102-e09412e517e3" providerId="ADAL" clId="{35A2B7D3-BB6C-422F-AF31-7DBA0CB14166}" dt="2023-12-27T04:09:44.181" v="4272"/>
          <ac:spMkLst>
            <pc:docMk/>
            <pc:sldMk cId="3224379556" sldId="2477"/>
            <ac:spMk id="102" creationId="{00000000-0000-0000-0000-000000000000}"/>
          </ac:spMkLst>
        </pc:spChg>
        <pc:spChg chg="mod">
          <ac:chgData name="Yousuf, Arsalan" userId="1f742cd1-60f2-4cc5-8102-e09412e517e3" providerId="ADAL" clId="{35A2B7D3-BB6C-422F-AF31-7DBA0CB14166}" dt="2023-12-27T04:10:02.232" v="4277" actId="20577"/>
          <ac:spMkLst>
            <pc:docMk/>
            <pc:sldMk cId="3224379556" sldId="2477"/>
            <ac:spMk id="119" creationId="{FFD53FB2-FD28-427A-B4F9-6680B6668ADA}"/>
          </ac:spMkLst>
        </pc:spChg>
      </pc:sldChg>
      <pc:sldChg chg="delSp modSp mod">
        <pc:chgData name="Yousuf, Arsalan" userId="1f742cd1-60f2-4cc5-8102-e09412e517e3" providerId="ADAL" clId="{35A2B7D3-BB6C-422F-AF31-7DBA0CB14166}" dt="2023-12-27T04:33:40.021" v="4873" actId="20577"/>
        <pc:sldMkLst>
          <pc:docMk/>
          <pc:sldMk cId="590059972" sldId="2478"/>
        </pc:sldMkLst>
        <pc:spChg chg="mod">
          <ac:chgData name="Yousuf, Arsalan" userId="1f742cd1-60f2-4cc5-8102-e09412e517e3" providerId="ADAL" clId="{35A2B7D3-BB6C-422F-AF31-7DBA0CB14166}" dt="2023-12-27T04:27:34.594" v="4727" actId="14100"/>
          <ac:spMkLst>
            <pc:docMk/>
            <pc:sldMk cId="590059972" sldId="2478"/>
            <ac:spMk id="2" creationId="{00000000-0000-0000-0000-000000000000}"/>
          </ac:spMkLst>
        </pc:spChg>
        <pc:spChg chg="del mod">
          <ac:chgData name="Yousuf, Arsalan" userId="1f742cd1-60f2-4cc5-8102-e09412e517e3" providerId="ADAL" clId="{35A2B7D3-BB6C-422F-AF31-7DBA0CB14166}" dt="2023-12-27T04:13:48.205" v="4309" actId="478"/>
          <ac:spMkLst>
            <pc:docMk/>
            <pc:sldMk cId="590059972" sldId="2478"/>
            <ac:spMk id="27" creationId="{00000000-0000-0000-0000-000000000000}"/>
          </ac:spMkLst>
        </pc:spChg>
        <pc:spChg chg="mod">
          <ac:chgData name="Yousuf, Arsalan" userId="1f742cd1-60f2-4cc5-8102-e09412e517e3" providerId="ADAL" clId="{35A2B7D3-BB6C-422F-AF31-7DBA0CB14166}" dt="2023-12-27T04:33:40.021" v="4873" actId="20577"/>
          <ac:spMkLst>
            <pc:docMk/>
            <pc:sldMk cId="590059972" sldId="2478"/>
            <ac:spMk id="56" creationId="{C2BEA3DA-28CA-45CE-84AC-50290D3831B6}"/>
          </ac:spMkLst>
        </pc:spChg>
        <pc:spChg chg="mod">
          <ac:chgData name="Yousuf, Arsalan" userId="1f742cd1-60f2-4cc5-8102-e09412e517e3" providerId="ADAL" clId="{35A2B7D3-BB6C-422F-AF31-7DBA0CB14166}" dt="2023-12-27T04:27:40.396" v="4745" actId="1035"/>
          <ac:spMkLst>
            <pc:docMk/>
            <pc:sldMk cId="590059972" sldId="2478"/>
            <ac:spMk id="98" creationId="{00000000-0000-0000-0000-000000000000}"/>
          </ac:spMkLst>
        </pc:spChg>
        <pc:spChg chg="mod">
          <ac:chgData name="Yousuf, Arsalan" userId="1f742cd1-60f2-4cc5-8102-e09412e517e3" providerId="ADAL" clId="{35A2B7D3-BB6C-422F-AF31-7DBA0CB14166}" dt="2023-12-27T04:28:26.879" v="4816" actId="20577"/>
          <ac:spMkLst>
            <pc:docMk/>
            <pc:sldMk cId="590059972" sldId="2478"/>
            <ac:spMk id="102" creationId="{00000000-0000-0000-0000-000000000000}"/>
          </ac:spMkLst>
        </pc:spChg>
        <pc:grpChg chg="mod">
          <ac:chgData name="Yousuf, Arsalan" userId="1f742cd1-60f2-4cc5-8102-e09412e517e3" providerId="ADAL" clId="{35A2B7D3-BB6C-422F-AF31-7DBA0CB14166}" dt="2023-12-27T04:27:40.396" v="4745" actId="1035"/>
          <ac:grpSpMkLst>
            <pc:docMk/>
            <pc:sldMk cId="590059972" sldId="2478"/>
            <ac:grpSpMk id="3" creationId="{00000000-0000-0000-0000-000000000000}"/>
          </ac:grpSpMkLst>
        </pc:grpChg>
      </pc:sldChg>
      <pc:sldChg chg="delSp modSp mod">
        <pc:chgData name="Yousuf, Arsalan" userId="1f742cd1-60f2-4cc5-8102-e09412e517e3" providerId="ADAL" clId="{35A2B7D3-BB6C-422F-AF31-7DBA0CB14166}" dt="2023-12-27T14:21:06.306" v="10073" actId="20577"/>
        <pc:sldMkLst>
          <pc:docMk/>
          <pc:sldMk cId="2543904501" sldId="2479"/>
        </pc:sldMkLst>
        <pc:spChg chg="mod">
          <ac:chgData name="Yousuf, Arsalan" userId="1f742cd1-60f2-4cc5-8102-e09412e517e3" providerId="ADAL" clId="{35A2B7D3-BB6C-422F-AF31-7DBA0CB14166}" dt="2023-12-27T04:30:14.537" v="4836" actId="20577"/>
          <ac:spMkLst>
            <pc:docMk/>
            <pc:sldMk cId="2543904501" sldId="2479"/>
            <ac:spMk id="2" creationId="{00000000-0000-0000-0000-000000000000}"/>
          </ac:spMkLst>
        </pc:spChg>
        <pc:spChg chg="mod">
          <ac:chgData name="Yousuf, Arsalan" userId="1f742cd1-60f2-4cc5-8102-e09412e517e3" providerId="ADAL" clId="{35A2B7D3-BB6C-422F-AF31-7DBA0CB14166}" dt="2023-12-27T04:33:41.517" v="4875" actId="20577"/>
          <ac:spMkLst>
            <pc:docMk/>
            <pc:sldMk cId="2543904501" sldId="2479"/>
            <ac:spMk id="56" creationId="{C2BEA3DA-28CA-45CE-84AC-50290D3831B6}"/>
          </ac:spMkLst>
        </pc:spChg>
        <pc:spChg chg="mod">
          <ac:chgData name="Yousuf, Arsalan" userId="1f742cd1-60f2-4cc5-8102-e09412e517e3" providerId="ADAL" clId="{35A2B7D3-BB6C-422F-AF31-7DBA0CB14166}" dt="2023-12-27T14:21:06.306" v="10073" actId="20577"/>
          <ac:spMkLst>
            <pc:docMk/>
            <pc:sldMk cId="2543904501" sldId="2479"/>
            <ac:spMk id="102" creationId="{00000000-0000-0000-0000-000000000000}"/>
          </ac:spMkLst>
        </pc:spChg>
        <pc:spChg chg="del">
          <ac:chgData name="Yousuf, Arsalan" userId="1f742cd1-60f2-4cc5-8102-e09412e517e3" providerId="ADAL" clId="{35A2B7D3-BB6C-422F-AF31-7DBA0CB14166}" dt="2023-12-27T04:30:40.147" v="4837" actId="478"/>
          <ac:spMkLst>
            <pc:docMk/>
            <pc:sldMk cId="2543904501" sldId="2479"/>
            <ac:spMk id="103" creationId="{00000000-0000-0000-0000-000000000000}"/>
          </ac:spMkLst>
        </pc:spChg>
      </pc:sldChg>
      <pc:sldChg chg="modSp mod ord">
        <pc:chgData name="Yousuf, Arsalan" userId="1f742cd1-60f2-4cc5-8102-e09412e517e3" providerId="ADAL" clId="{35A2B7D3-BB6C-422F-AF31-7DBA0CB14166}" dt="2023-12-27T03:53:15.983" v="3784" actId="20577"/>
        <pc:sldMkLst>
          <pc:docMk/>
          <pc:sldMk cId="1561488064" sldId="2481"/>
        </pc:sldMkLst>
        <pc:spChg chg="mod">
          <ac:chgData name="Yousuf, Arsalan" userId="1f742cd1-60f2-4cc5-8102-e09412e517e3" providerId="ADAL" clId="{35A2B7D3-BB6C-422F-AF31-7DBA0CB14166}" dt="2023-12-27T03:52:56.436" v="3779" actId="6549"/>
          <ac:spMkLst>
            <pc:docMk/>
            <pc:sldMk cId="1561488064" sldId="2481"/>
            <ac:spMk id="2" creationId="{00000000-0000-0000-0000-000000000000}"/>
          </ac:spMkLst>
        </pc:spChg>
        <pc:spChg chg="mod">
          <ac:chgData name="Yousuf, Arsalan" userId="1f742cd1-60f2-4cc5-8102-e09412e517e3" providerId="ADAL" clId="{35A2B7D3-BB6C-422F-AF31-7DBA0CB14166}" dt="2023-12-27T03:50:21.065" v="3636" actId="20577"/>
          <ac:spMkLst>
            <pc:docMk/>
            <pc:sldMk cId="1561488064" sldId="2481"/>
            <ac:spMk id="56" creationId="{C2BEA3DA-28CA-45CE-84AC-50290D3831B6}"/>
          </ac:spMkLst>
        </pc:spChg>
        <pc:spChg chg="mod">
          <ac:chgData name="Yousuf, Arsalan" userId="1f742cd1-60f2-4cc5-8102-e09412e517e3" providerId="ADAL" clId="{35A2B7D3-BB6C-422F-AF31-7DBA0CB14166}" dt="2023-12-27T03:53:15.983" v="3784" actId="20577"/>
          <ac:spMkLst>
            <pc:docMk/>
            <pc:sldMk cId="1561488064" sldId="2481"/>
            <ac:spMk id="102" creationId="{00000000-0000-0000-0000-000000000000}"/>
          </ac:spMkLst>
        </pc:spChg>
      </pc:sldChg>
      <pc:sldChg chg="addSp delSp modSp mod ord">
        <pc:chgData name="Yousuf, Arsalan" userId="1f742cd1-60f2-4cc5-8102-e09412e517e3" providerId="ADAL" clId="{35A2B7D3-BB6C-422F-AF31-7DBA0CB14166}" dt="2023-12-27T03:30:50.629" v="2453"/>
        <pc:sldMkLst>
          <pc:docMk/>
          <pc:sldMk cId="1508172130" sldId="2483"/>
        </pc:sldMkLst>
        <pc:spChg chg="mod">
          <ac:chgData name="Yousuf, Arsalan" userId="1f742cd1-60f2-4cc5-8102-e09412e517e3" providerId="ADAL" clId="{35A2B7D3-BB6C-422F-AF31-7DBA0CB14166}" dt="2023-12-25T22:12:39.260" v="1385"/>
          <ac:spMkLst>
            <pc:docMk/>
            <pc:sldMk cId="1508172130" sldId="2483"/>
            <ac:spMk id="5" creationId="{53702D51-EA79-2616-2D50-C1EDD560C888}"/>
          </ac:spMkLst>
        </pc:spChg>
        <pc:spChg chg="mod">
          <ac:chgData name="Yousuf, Arsalan" userId="1f742cd1-60f2-4cc5-8102-e09412e517e3" providerId="ADAL" clId="{35A2B7D3-BB6C-422F-AF31-7DBA0CB14166}" dt="2023-12-25T22:12:39.260" v="1385"/>
          <ac:spMkLst>
            <pc:docMk/>
            <pc:sldMk cId="1508172130" sldId="2483"/>
            <ac:spMk id="6" creationId="{0C88945C-ACDB-015C-1F78-798BBC1256F7}"/>
          </ac:spMkLst>
        </pc:spChg>
        <pc:spChg chg="mod">
          <ac:chgData name="Yousuf, Arsalan" userId="1f742cd1-60f2-4cc5-8102-e09412e517e3" providerId="ADAL" clId="{35A2B7D3-BB6C-422F-AF31-7DBA0CB14166}" dt="2023-12-25T22:12:39.260" v="1385"/>
          <ac:spMkLst>
            <pc:docMk/>
            <pc:sldMk cId="1508172130" sldId="2483"/>
            <ac:spMk id="8" creationId="{A9251ECE-0BDF-E769-FB95-5B191A733AAC}"/>
          </ac:spMkLst>
        </pc:spChg>
        <pc:spChg chg="mod">
          <ac:chgData name="Yousuf, Arsalan" userId="1f742cd1-60f2-4cc5-8102-e09412e517e3" providerId="ADAL" clId="{35A2B7D3-BB6C-422F-AF31-7DBA0CB14166}" dt="2023-12-25T22:12:39.260" v="1385"/>
          <ac:spMkLst>
            <pc:docMk/>
            <pc:sldMk cId="1508172130" sldId="2483"/>
            <ac:spMk id="9" creationId="{A8B22033-355A-55CE-96A6-51FE030358E5}"/>
          </ac:spMkLst>
        </pc:spChg>
        <pc:spChg chg="add del mod topLvl">
          <ac:chgData name="Yousuf, Arsalan" userId="1f742cd1-60f2-4cc5-8102-e09412e517e3" providerId="ADAL" clId="{35A2B7D3-BB6C-422F-AF31-7DBA0CB14166}" dt="2023-12-25T22:13:31.764" v="1418" actId="478"/>
          <ac:spMkLst>
            <pc:docMk/>
            <pc:sldMk cId="1508172130" sldId="2483"/>
            <ac:spMk id="12" creationId="{F6F3ADEC-0169-4692-8ACF-577AA0900453}"/>
          </ac:spMkLst>
        </pc:spChg>
        <pc:spChg chg="add del mod topLvl">
          <ac:chgData name="Yousuf, Arsalan" userId="1f742cd1-60f2-4cc5-8102-e09412e517e3" providerId="ADAL" clId="{35A2B7D3-BB6C-422F-AF31-7DBA0CB14166}" dt="2023-12-25T22:13:31.764" v="1418" actId="478"/>
          <ac:spMkLst>
            <pc:docMk/>
            <pc:sldMk cId="1508172130" sldId="2483"/>
            <ac:spMk id="13" creationId="{278BA6DD-1518-4F15-909D-2716D19335BB}"/>
          </ac:spMkLst>
        </pc:spChg>
        <pc:spChg chg="add del mod topLvl">
          <ac:chgData name="Yousuf, Arsalan" userId="1f742cd1-60f2-4cc5-8102-e09412e517e3" providerId="ADAL" clId="{35A2B7D3-BB6C-422F-AF31-7DBA0CB14166}" dt="2023-12-25T22:13:31.764" v="1418" actId="478"/>
          <ac:spMkLst>
            <pc:docMk/>
            <pc:sldMk cId="1508172130" sldId="2483"/>
            <ac:spMk id="14" creationId="{297B9723-249F-488A-B13B-F42D1F062C42}"/>
          </ac:spMkLst>
        </pc:spChg>
        <pc:spChg chg="add del mod topLvl">
          <ac:chgData name="Yousuf, Arsalan" userId="1f742cd1-60f2-4cc5-8102-e09412e517e3" providerId="ADAL" clId="{35A2B7D3-BB6C-422F-AF31-7DBA0CB14166}" dt="2023-12-25T22:13:31.764" v="1418" actId="478"/>
          <ac:spMkLst>
            <pc:docMk/>
            <pc:sldMk cId="1508172130" sldId="2483"/>
            <ac:spMk id="15" creationId="{5DE8589E-06DC-4162-BBC9-74EF0F9A538E}"/>
          </ac:spMkLst>
        </pc:spChg>
        <pc:spChg chg="add del mod">
          <ac:chgData name="Yousuf, Arsalan" userId="1f742cd1-60f2-4cc5-8102-e09412e517e3" providerId="ADAL" clId="{35A2B7D3-BB6C-422F-AF31-7DBA0CB14166}" dt="2023-12-27T03:29:43.793" v="2446" actId="478"/>
          <ac:spMkLst>
            <pc:docMk/>
            <pc:sldMk cId="1508172130" sldId="2483"/>
            <ac:spMk id="16" creationId="{A1BF83F8-7DA4-40A6-AF50-F76B571E95EE}"/>
          </ac:spMkLst>
        </pc:spChg>
        <pc:spChg chg="add del mod topLvl">
          <ac:chgData name="Yousuf, Arsalan" userId="1f742cd1-60f2-4cc5-8102-e09412e517e3" providerId="ADAL" clId="{35A2B7D3-BB6C-422F-AF31-7DBA0CB14166}" dt="2023-12-25T22:13:31.764" v="1418" actId="478"/>
          <ac:spMkLst>
            <pc:docMk/>
            <pc:sldMk cId="1508172130" sldId="2483"/>
            <ac:spMk id="17" creationId="{FD313179-1DDD-48D7-8DAB-81D2BFD773DB}"/>
          </ac:spMkLst>
        </pc:spChg>
        <pc:spChg chg="add del mod topLvl">
          <ac:chgData name="Yousuf, Arsalan" userId="1f742cd1-60f2-4cc5-8102-e09412e517e3" providerId="ADAL" clId="{35A2B7D3-BB6C-422F-AF31-7DBA0CB14166}" dt="2023-12-25T22:13:31.764" v="1418" actId="478"/>
          <ac:spMkLst>
            <pc:docMk/>
            <pc:sldMk cId="1508172130" sldId="2483"/>
            <ac:spMk id="18" creationId="{D3AD3EB9-F622-46F4-BF31-873FBA66F423}"/>
          </ac:spMkLst>
        </pc:spChg>
        <pc:spChg chg="mod">
          <ac:chgData name="Yousuf, Arsalan" userId="1f742cd1-60f2-4cc5-8102-e09412e517e3" providerId="ADAL" clId="{35A2B7D3-BB6C-422F-AF31-7DBA0CB14166}" dt="2023-12-25T22:12:39.260" v="1385"/>
          <ac:spMkLst>
            <pc:docMk/>
            <pc:sldMk cId="1508172130" sldId="2483"/>
            <ac:spMk id="19" creationId="{EC801372-FF73-706B-06FE-DB8824A0C1AE}"/>
          </ac:spMkLst>
        </pc:spChg>
        <pc:spChg chg="mod">
          <ac:chgData name="Yousuf, Arsalan" userId="1f742cd1-60f2-4cc5-8102-e09412e517e3" providerId="ADAL" clId="{35A2B7D3-BB6C-422F-AF31-7DBA0CB14166}" dt="2023-12-25T22:12:39.260" v="1385"/>
          <ac:spMkLst>
            <pc:docMk/>
            <pc:sldMk cId="1508172130" sldId="2483"/>
            <ac:spMk id="20" creationId="{79F4F4DD-30ED-24B9-28A3-EA8404CEDFA5}"/>
          </ac:spMkLst>
        </pc:spChg>
        <pc:spChg chg="mod">
          <ac:chgData name="Yousuf, Arsalan" userId="1f742cd1-60f2-4cc5-8102-e09412e517e3" providerId="ADAL" clId="{35A2B7D3-BB6C-422F-AF31-7DBA0CB14166}" dt="2023-12-25T22:12:39.260" v="1385"/>
          <ac:spMkLst>
            <pc:docMk/>
            <pc:sldMk cId="1508172130" sldId="2483"/>
            <ac:spMk id="21" creationId="{917DA976-624E-38EE-8B66-03EA6CDD0F80}"/>
          </ac:spMkLst>
        </pc:spChg>
        <pc:spChg chg="add del mod">
          <ac:chgData name="Yousuf, Arsalan" userId="1f742cd1-60f2-4cc5-8102-e09412e517e3" providerId="ADAL" clId="{35A2B7D3-BB6C-422F-AF31-7DBA0CB14166}" dt="2023-12-25T22:13:31.764" v="1418" actId="478"/>
          <ac:spMkLst>
            <pc:docMk/>
            <pc:sldMk cId="1508172130" sldId="2483"/>
            <ac:spMk id="22" creationId="{74569C40-2109-34E3-BAEA-5A76F2C656C5}"/>
          </ac:spMkLst>
        </pc:spChg>
        <pc:spChg chg="add mod">
          <ac:chgData name="Yousuf, Arsalan" userId="1f742cd1-60f2-4cc5-8102-e09412e517e3" providerId="ADAL" clId="{35A2B7D3-BB6C-422F-AF31-7DBA0CB14166}" dt="2023-12-27T03:30:03.765" v="2449" actId="1076"/>
          <ac:spMkLst>
            <pc:docMk/>
            <pc:sldMk cId="1508172130" sldId="2483"/>
            <ac:spMk id="23" creationId="{3CFDAEE4-087F-69A1-0E4F-0C2F96C515DC}"/>
          </ac:spMkLst>
        </pc:spChg>
        <pc:spChg chg="add del mod topLvl">
          <ac:chgData name="Yousuf, Arsalan" userId="1f742cd1-60f2-4cc5-8102-e09412e517e3" providerId="ADAL" clId="{35A2B7D3-BB6C-422F-AF31-7DBA0CB14166}" dt="2023-12-25T22:13:31.764" v="1418" actId="478"/>
          <ac:spMkLst>
            <pc:docMk/>
            <pc:sldMk cId="1508172130" sldId="2483"/>
            <ac:spMk id="24" creationId="{B8C5E0F6-85A0-4C5A-9291-370376A11AB7}"/>
          </ac:spMkLst>
        </pc:spChg>
        <pc:spChg chg="add del mod topLvl">
          <ac:chgData name="Yousuf, Arsalan" userId="1f742cd1-60f2-4cc5-8102-e09412e517e3" providerId="ADAL" clId="{35A2B7D3-BB6C-422F-AF31-7DBA0CB14166}" dt="2023-12-25T22:13:05.120" v="1413" actId="478"/>
          <ac:spMkLst>
            <pc:docMk/>
            <pc:sldMk cId="1508172130" sldId="2483"/>
            <ac:spMk id="25" creationId="{A146F4D5-884F-4D05-AAB3-9AE14950A8BE}"/>
          </ac:spMkLst>
        </pc:spChg>
        <pc:spChg chg="add del mod topLvl">
          <ac:chgData name="Yousuf, Arsalan" userId="1f742cd1-60f2-4cc5-8102-e09412e517e3" providerId="ADAL" clId="{35A2B7D3-BB6C-422F-AF31-7DBA0CB14166}" dt="2023-12-25T22:13:03.063" v="1411" actId="478"/>
          <ac:spMkLst>
            <pc:docMk/>
            <pc:sldMk cId="1508172130" sldId="2483"/>
            <ac:spMk id="26" creationId="{FDC9D0B6-F202-47E5-9DFB-AFE375B1BCE2}"/>
          </ac:spMkLst>
        </pc:spChg>
        <pc:spChg chg="add del mod topLvl">
          <ac:chgData name="Yousuf, Arsalan" userId="1f742cd1-60f2-4cc5-8102-e09412e517e3" providerId="ADAL" clId="{35A2B7D3-BB6C-422F-AF31-7DBA0CB14166}" dt="2023-12-25T22:13:31.764" v="1418" actId="478"/>
          <ac:spMkLst>
            <pc:docMk/>
            <pc:sldMk cId="1508172130" sldId="2483"/>
            <ac:spMk id="27" creationId="{8BAF8089-6500-454A-8A65-6C6570797A57}"/>
          </ac:spMkLst>
        </pc:spChg>
        <pc:spChg chg="add del mod topLvl">
          <ac:chgData name="Yousuf, Arsalan" userId="1f742cd1-60f2-4cc5-8102-e09412e517e3" providerId="ADAL" clId="{35A2B7D3-BB6C-422F-AF31-7DBA0CB14166}" dt="2023-12-25T22:13:31.764" v="1418" actId="478"/>
          <ac:spMkLst>
            <pc:docMk/>
            <pc:sldMk cId="1508172130" sldId="2483"/>
            <ac:spMk id="28" creationId="{0E8C696E-CB77-4900-8CDA-711497421B6D}"/>
          </ac:spMkLst>
        </pc:spChg>
        <pc:spChg chg="mod">
          <ac:chgData name="Yousuf, Arsalan" userId="1f742cd1-60f2-4cc5-8102-e09412e517e3" providerId="ADAL" clId="{35A2B7D3-BB6C-422F-AF31-7DBA0CB14166}" dt="2023-12-27T03:30:31.191" v="2451" actId="404"/>
          <ac:spMkLst>
            <pc:docMk/>
            <pc:sldMk cId="1508172130" sldId="2483"/>
            <ac:spMk id="31" creationId="{16B8F37A-AB59-495B-8749-53AC0A1959A0}"/>
          </ac:spMkLst>
        </pc:spChg>
        <pc:spChg chg="mod">
          <ac:chgData name="Yousuf, Arsalan" userId="1f742cd1-60f2-4cc5-8102-e09412e517e3" providerId="ADAL" clId="{35A2B7D3-BB6C-422F-AF31-7DBA0CB14166}" dt="2023-12-25T22:09:25.575" v="1184" actId="165"/>
          <ac:spMkLst>
            <pc:docMk/>
            <pc:sldMk cId="1508172130" sldId="2483"/>
            <ac:spMk id="35" creationId="{9227E31C-401E-432D-AF74-5D4248352622}"/>
          </ac:spMkLst>
        </pc:spChg>
        <pc:spChg chg="mod">
          <ac:chgData name="Yousuf, Arsalan" userId="1f742cd1-60f2-4cc5-8102-e09412e517e3" providerId="ADAL" clId="{35A2B7D3-BB6C-422F-AF31-7DBA0CB14166}" dt="2023-12-25T22:09:25.575" v="1184" actId="165"/>
          <ac:spMkLst>
            <pc:docMk/>
            <pc:sldMk cId="1508172130" sldId="2483"/>
            <ac:spMk id="36" creationId="{7AB3AEEC-2B08-490A-B20D-20D5A5228844}"/>
          </ac:spMkLst>
        </pc:spChg>
        <pc:spChg chg="mod">
          <ac:chgData name="Yousuf, Arsalan" userId="1f742cd1-60f2-4cc5-8102-e09412e517e3" providerId="ADAL" clId="{35A2B7D3-BB6C-422F-AF31-7DBA0CB14166}" dt="2023-12-25T22:09:25.575" v="1184" actId="165"/>
          <ac:spMkLst>
            <pc:docMk/>
            <pc:sldMk cId="1508172130" sldId="2483"/>
            <ac:spMk id="37" creationId="{C90DC4A2-A0B7-4097-A8A7-52D32E5C9832}"/>
          </ac:spMkLst>
        </pc:spChg>
        <pc:spChg chg="mod">
          <ac:chgData name="Yousuf, Arsalan" userId="1f742cd1-60f2-4cc5-8102-e09412e517e3" providerId="ADAL" clId="{35A2B7D3-BB6C-422F-AF31-7DBA0CB14166}" dt="2023-12-25T22:09:25.575" v="1184" actId="165"/>
          <ac:spMkLst>
            <pc:docMk/>
            <pc:sldMk cId="1508172130" sldId="2483"/>
            <ac:spMk id="38" creationId="{97F3BB0A-AC06-46A9-AC17-0B44DA9676AE}"/>
          </ac:spMkLst>
        </pc:spChg>
        <pc:spChg chg="mod">
          <ac:chgData name="Yousuf, Arsalan" userId="1f742cd1-60f2-4cc5-8102-e09412e517e3" providerId="ADAL" clId="{35A2B7D3-BB6C-422F-AF31-7DBA0CB14166}" dt="2023-12-25T22:09:25.575" v="1184" actId="165"/>
          <ac:spMkLst>
            <pc:docMk/>
            <pc:sldMk cId="1508172130" sldId="2483"/>
            <ac:spMk id="39" creationId="{6072FB13-D2D3-4E4E-958C-F8F70AE855FF}"/>
          </ac:spMkLst>
        </pc:spChg>
        <pc:spChg chg="mod">
          <ac:chgData name="Yousuf, Arsalan" userId="1f742cd1-60f2-4cc5-8102-e09412e517e3" providerId="ADAL" clId="{35A2B7D3-BB6C-422F-AF31-7DBA0CB14166}" dt="2023-12-25T22:09:25.575" v="1184" actId="165"/>
          <ac:spMkLst>
            <pc:docMk/>
            <pc:sldMk cId="1508172130" sldId="2483"/>
            <ac:spMk id="40" creationId="{8D32C726-C0EA-4EEF-9472-55AA7A2D458B}"/>
          </ac:spMkLst>
        </pc:spChg>
        <pc:spChg chg="mod">
          <ac:chgData name="Yousuf, Arsalan" userId="1f742cd1-60f2-4cc5-8102-e09412e517e3" providerId="ADAL" clId="{35A2B7D3-BB6C-422F-AF31-7DBA0CB14166}" dt="2023-12-25T22:09:25.575" v="1184" actId="165"/>
          <ac:spMkLst>
            <pc:docMk/>
            <pc:sldMk cId="1508172130" sldId="2483"/>
            <ac:spMk id="41" creationId="{2C9E54CB-EBF2-416D-A88A-0AC364EF142F}"/>
          </ac:spMkLst>
        </pc:spChg>
        <pc:spChg chg="mod">
          <ac:chgData name="Yousuf, Arsalan" userId="1f742cd1-60f2-4cc5-8102-e09412e517e3" providerId="ADAL" clId="{35A2B7D3-BB6C-422F-AF31-7DBA0CB14166}" dt="2023-12-25T22:09:25.575" v="1184" actId="165"/>
          <ac:spMkLst>
            <pc:docMk/>
            <pc:sldMk cId="1508172130" sldId="2483"/>
            <ac:spMk id="42" creationId="{C30C5579-7A7B-4322-B32D-365BF59B55CF}"/>
          </ac:spMkLst>
        </pc:spChg>
        <pc:spChg chg="mod">
          <ac:chgData name="Yousuf, Arsalan" userId="1f742cd1-60f2-4cc5-8102-e09412e517e3" providerId="ADAL" clId="{35A2B7D3-BB6C-422F-AF31-7DBA0CB14166}" dt="2023-12-25T22:09:25.575" v="1184" actId="165"/>
          <ac:spMkLst>
            <pc:docMk/>
            <pc:sldMk cId="1508172130" sldId="2483"/>
            <ac:spMk id="43" creationId="{683C2DB3-EDBD-4E59-9367-FDAE8802B507}"/>
          </ac:spMkLst>
        </pc:spChg>
        <pc:spChg chg="mod">
          <ac:chgData name="Yousuf, Arsalan" userId="1f742cd1-60f2-4cc5-8102-e09412e517e3" providerId="ADAL" clId="{35A2B7D3-BB6C-422F-AF31-7DBA0CB14166}" dt="2023-12-25T22:09:25.575" v="1184" actId="165"/>
          <ac:spMkLst>
            <pc:docMk/>
            <pc:sldMk cId="1508172130" sldId="2483"/>
            <ac:spMk id="44" creationId="{B11F2D86-C901-4113-B404-90DADAE493C4}"/>
          </ac:spMkLst>
        </pc:spChg>
        <pc:spChg chg="mod">
          <ac:chgData name="Yousuf, Arsalan" userId="1f742cd1-60f2-4cc5-8102-e09412e517e3" providerId="ADAL" clId="{35A2B7D3-BB6C-422F-AF31-7DBA0CB14166}" dt="2023-12-25T22:09:25.575" v="1184" actId="165"/>
          <ac:spMkLst>
            <pc:docMk/>
            <pc:sldMk cId="1508172130" sldId="2483"/>
            <ac:spMk id="46" creationId="{E7082E1D-669B-44A0-979E-906E5C7F2885}"/>
          </ac:spMkLst>
        </pc:spChg>
        <pc:spChg chg="mod">
          <ac:chgData name="Yousuf, Arsalan" userId="1f742cd1-60f2-4cc5-8102-e09412e517e3" providerId="ADAL" clId="{35A2B7D3-BB6C-422F-AF31-7DBA0CB14166}" dt="2023-12-25T22:09:25.575" v="1184" actId="165"/>
          <ac:spMkLst>
            <pc:docMk/>
            <pc:sldMk cId="1508172130" sldId="2483"/>
            <ac:spMk id="47" creationId="{AED8A830-88A5-4998-9D61-7B1549074A4E}"/>
          </ac:spMkLst>
        </pc:spChg>
        <pc:spChg chg="mod">
          <ac:chgData name="Yousuf, Arsalan" userId="1f742cd1-60f2-4cc5-8102-e09412e517e3" providerId="ADAL" clId="{35A2B7D3-BB6C-422F-AF31-7DBA0CB14166}" dt="2023-12-27T03:29:18.675" v="2425" actId="1036"/>
          <ac:spMkLst>
            <pc:docMk/>
            <pc:sldMk cId="1508172130" sldId="2483"/>
            <ac:spMk id="57" creationId="{23763181-85A5-3686-8108-9CAE257383B0}"/>
          </ac:spMkLst>
        </pc:spChg>
        <pc:spChg chg="mod">
          <ac:chgData name="Yousuf, Arsalan" userId="1f742cd1-60f2-4cc5-8102-e09412e517e3" providerId="ADAL" clId="{35A2B7D3-BB6C-422F-AF31-7DBA0CB14166}" dt="2023-12-27T03:29:18.675" v="2425" actId="1036"/>
          <ac:spMkLst>
            <pc:docMk/>
            <pc:sldMk cId="1508172130" sldId="2483"/>
            <ac:spMk id="58" creationId="{1DED9940-C472-6F79-056E-8114917B2EE4}"/>
          </ac:spMkLst>
        </pc:spChg>
        <pc:spChg chg="mod">
          <ac:chgData name="Yousuf, Arsalan" userId="1f742cd1-60f2-4cc5-8102-e09412e517e3" providerId="ADAL" clId="{35A2B7D3-BB6C-422F-AF31-7DBA0CB14166}" dt="2023-12-25T22:09:25.575" v="1184" actId="165"/>
          <ac:spMkLst>
            <pc:docMk/>
            <pc:sldMk cId="1508172130" sldId="2483"/>
            <ac:spMk id="62" creationId="{71309093-3277-4343-B258-CA9FB840C36D}"/>
          </ac:spMkLst>
        </pc:spChg>
        <pc:spChg chg="mod">
          <ac:chgData name="Yousuf, Arsalan" userId="1f742cd1-60f2-4cc5-8102-e09412e517e3" providerId="ADAL" clId="{35A2B7D3-BB6C-422F-AF31-7DBA0CB14166}" dt="2023-12-25T22:09:25.575" v="1184" actId="165"/>
          <ac:spMkLst>
            <pc:docMk/>
            <pc:sldMk cId="1508172130" sldId="2483"/>
            <ac:spMk id="63" creationId="{384F39F4-7993-4EB6-B656-ECB5BCA3216D}"/>
          </ac:spMkLst>
        </pc:spChg>
        <pc:spChg chg="mod">
          <ac:chgData name="Yousuf, Arsalan" userId="1f742cd1-60f2-4cc5-8102-e09412e517e3" providerId="ADAL" clId="{35A2B7D3-BB6C-422F-AF31-7DBA0CB14166}" dt="2023-12-25T22:09:25.575" v="1184" actId="165"/>
          <ac:spMkLst>
            <pc:docMk/>
            <pc:sldMk cId="1508172130" sldId="2483"/>
            <ac:spMk id="64" creationId="{1ED88C68-90BC-426C-8B56-D29787EAA9F1}"/>
          </ac:spMkLst>
        </pc:spChg>
        <pc:spChg chg="mod">
          <ac:chgData name="Yousuf, Arsalan" userId="1f742cd1-60f2-4cc5-8102-e09412e517e3" providerId="ADAL" clId="{35A2B7D3-BB6C-422F-AF31-7DBA0CB14166}" dt="2023-12-25T22:09:25.575" v="1184" actId="165"/>
          <ac:spMkLst>
            <pc:docMk/>
            <pc:sldMk cId="1508172130" sldId="2483"/>
            <ac:spMk id="65" creationId="{537F514C-C852-49A3-8BE6-D165C38BDBCC}"/>
          </ac:spMkLst>
        </pc:spChg>
        <pc:spChg chg="mod">
          <ac:chgData name="Yousuf, Arsalan" userId="1f742cd1-60f2-4cc5-8102-e09412e517e3" providerId="ADAL" clId="{35A2B7D3-BB6C-422F-AF31-7DBA0CB14166}" dt="2023-12-25T22:09:25.575" v="1184" actId="165"/>
          <ac:spMkLst>
            <pc:docMk/>
            <pc:sldMk cId="1508172130" sldId="2483"/>
            <ac:spMk id="67" creationId="{69B8CAA0-604F-429B-B16F-712CCCA5B28B}"/>
          </ac:spMkLst>
        </pc:spChg>
        <pc:spChg chg="mod">
          <ac:chgData name="Yousuf, Arsalan" userId="1f742cd1-60f2-4cc5-8102-e09412e517e3" providerId="ADAL" clId="{35A2B7D3-BB6C-422F-AF31-7DBA0CB14166}" dt="2023-12-25T22:09:25.575" v="1184" actId="165"/>
          <ac:spMkLst>
            <pc:docMk/>
            <pc:sldMk cId="1508172130" sldId="2483"/>
            <ac:spMk id="68" creationId="{CADB84BA-1357-4422-BF33-B214984518A3}"/>
          </ac:spMkLst>
        </pc:spChg>
        <pc:spChg chg="mod">
          <ac:chgData name="Yousuf, Arsalan" userId="1f742cd1-60f2-4cc5-8102-e09412e517e3" providerId="ADAL" clId="{35A2B7D3-BB6C-422F-AF31-7DBA0CB14166}" dt="2023-12-25T22:09:25.575" v="1184" actId="165"/>
          <ac:spMkLst>
            <pc:docMk/>
            <pc:sldMk cId="1508172130" sldId="2483"/>
            <ac:spMk id="69" creationId="{3212E1AE-DB5F-4141-9719-6AE9AF4CAEDC}"/>
          </ac:spMkLst>
        </pc:spChg>
        <pc:spChg chg="mod">
          <ac:chgData name="Yousuf, Arsalan" userId="1f742cd1-60f2-4cc5-8102-e09412e517e3" providerId="ADAL" clId="{35A2B7D3-BB6C-422F-AF31-7DBA0CB14166}" dt="2023-12-25T22:09:25.575" v="1184" actId="165"/>
          <ac:spMkLst>
            <pc:docMk/>
            <pc:sldMk cId="1508172130" sldId="2483"/>
            <ac:spMk id="70" creationId="{48BA4BF8-0A6B-42C5-8FD4-D5E1C24E8EFF}"/>
          </ac:spMkLst>
        </pc:spChg>
        <pc:spChg chg="mod">
          <ac:chgData name="Yousuf, Arsalan" userId="1f742cd1-60f2-4cc5-8102-e09412e517e3" providerId="ADAL" clId="{35A2B7D3-BB6C-422F-AF31-7DBA0CB14166}" dt="2023-12-25T22:09:25.575" v="1184" actId="165"/>
          <ac:spMkLst>
            <pc:docMk/>
            <pc:sldMk cId="1508172130" sldId="2483"/>
            <ac:spMk id="71" creationId="{7B6E1160-F1FD-4E23-ABFE-9146B63D779F}"/>
          </ac:spMkLst>
        </pc:spChg>
        <pc:spChg chg="mod">
          <ac:chgData name="Yousuf, Arsalan" userId="1f742cd1-60f2-4cc5-8102-e09412e517e3" providerId="ADAL" clId="{35A2B7D3-BB6C-422F-AF31-7DBA0CB14166}" dt="2023-12-25T22:09:25.575" v="1184" actId="165"/>
          <ac:spMkLst>
            <pc:docMk/>
            <pc:sldMk cId="1508172130" sldId="2483"/>
            <ac:spMk id="72" creationId="{17A77F0C-9B20-4E1F-9E2B-DE60615DE31E}"/>
          </ac:spMkLst>
        </pc:spChg>
        <pc:spChg chg="mod">
          <ac:chgData name="Yousuf, Arsalan" userId="1f742cd1-60f2-4cc5-8102-e09412e517e3" providerId="ADAL" clId="{35A2B7D3-BB6C-422F-AF31-7DBA0CB14166}" dt="2023-12-25T22:09:25.575" v="1184" actId="165"/>
          <ac:spMkLst>
            <pc:docMk/>
            <pc:sldMk cId="1508172130" sldId="2483"/>
            <ac:spMk id="73" creationId="{96288609-EAC2-4B61-8970-BC69D5C157AF}"/>
          </ac:spMkLst>
        </pc:spChg>
        <pc:spChg chg="mod">
          <ac:chgData name="Yousuf, Arsalan" userId="1f742cd1-60f2-4cc5-8102-e09412e517e3" providerId="ADAL" clId="{35A2B7D3-BB6C-422F-AF31-7DBA0CB14166}" dt="2023-12-25T22:09:25.575" v="1184" actId="165"/>
          <ac:spMkLst>
            <pc:docMk/>
            <pc:sldMk cId="1508172130" sldId="2483"/>
            <ac:spMk id="74" creationId="{11D0A4A9-E579-4E7D-A636-551FDAAA81A2}"/>
          </ac:spMkLst>
        </pc:spChg>
        <pc:spChg chg="mod">
          <ac:chgData name="Yousuf, Arsalan" userId="1f742cd1-60f2-4cc5-8102-e09412e517e3" providerId="ADAL" clId="{35A2B7D3-BB6C-422F-AF31-7DBA0CB14166}" dt="2023-12-25T22:09:25.575" v="1184" actId="165"/>
          <ac:spMkLst>
            <pc:docMk/>
            <pc:sldMk cId="1508172130" sldId="2483"/>
            <ac:spMk id="75" creationId="{4CA592B3-1263-40FC-AAF1-254C80CE40DB}"/>
          </ac:spMkLst>
        </pc:spChg>
        <pc:spChg chg="mod">
          <ac:chgData name="Yousuf, Arsalan" userId="1f742cd1-60f2-4cc5-8102-e09412e517e3" providerId="ADAL" clId="{35A2B7D3-BB6C-422F-AF31-7DBA0CB14166}" dt="2023-12-25T22:09:25.575" v="1184" actId="165"/>
          <ac:spMkLst>
            <pc:docMk/>
            <pc:sldMk cId="1508172130" sldId="2483"/>
            <ac:spMk id="76" creationId="{1558D82C-F67F-4CA9-8B1A-078D2329CE74}"/>
          </ac:spMkLst>
        </pc:spChg>
        <pc:spChg chg="mod">
          <ac:chgData name="Yousuf, Arsalan" userId="1f742cd1-60f2-4cc5-8102-e09412e517e3" providerId="ADAL" clId="{35A2B7D3-BB6C-422F-AF31-7DBA0CB14166}" dt="2023-12-25T22:09:25.575" v="1184" actId="165"/>
          <ac:spMkLst>
            <pc:docMk/>
            <pc:sldMk cId="1508172130" sldId="2483"/>
            <ac:spMk id="77" creationId="{6C010E7F-3BF5-4164-89D5-E05BAF17B1C9}"/>
          </ac:spMkLst>
        </pc:spChg>
        <pc:spChg chg="add del mod topLvl">
          <ac:chgData name="Yousuf, Arsalan" userId="1f742cd1-60f2-4cc5-8102-e09412e517e3" providerId="ADAL" clId="{35A2B7D3-BB6C-422F-AF31-7DBA0CB14166}" dt="2023-12-25T22:13:31.764" v="1418" actId="478"/>
          <ac:spMkLst>
            <pc:docMk/>
            <pc:sldMk cId="1508172130" sldId="2483"/>
            <ac:spMk id="78" creationId="{6ED1997C-AA9C-42D2-B776-250F4CC33F2D}"/>
          </ac:spMkLst>
        </pc:spChg>
        <pc:spChg chg="add del mod topLvl">
          <ac:chgData name="Yousuf, Arsalan" userId="1f742cd1-60f2-4cc5-8102-e09412e517e3" providerId="ADAL" clId="{35A2B7D3-BB6C-422F-AF31-7DBA0CB14166}" dt="2023-12-25T22:13:31.764" v="1418" actId="478"/>
          <ac:spMkLst>
            <pc:docMk/>
            <pc:sldMk cId="1508172130" sldId="2483"/>
            <ac:spMk id="82" creationId="{3CA4F0B9-D30E-465C-8970-90BEDD039348}"/>
          </ac:spMkLst>
        </pc:spChg>
        <pc:spChg chg="add del mod topLvl">
          <ac:chgData name="Yousuf, Arsalan" userId="1f742cd1-60f2-4cc5-8102-e09412e517e3" providerId="ADAL" clId="{35A2B7D3-BB6C-422F-AF31-7DBA0CB14166}" dt="2023-12-25T22:13:15.580" v="1417" actId="478"/>
          <ac:spMkLst>
            <pc:docMk/>
            <pc:sldMk cId="1508172130" sldId="2483"/>
            <ac:spMk id="83" creationId="{643CA8B3-2CF9-4399-8486-CFA1C706F554}"/>
          </ac:spMkLst>
        </pc:spChg>
        <pc:spChg chg="add del mod topLvl">
          <ac:chgData name="Yousuf, Arsalan" userId="1f742cd1-60f2-4cc5-8102-e09412e517e3" providerId="ADAL" clId="{35A2B7D3-BB6C-422F-AF31-7DBA0CB14166}" dt="2023-12-25T22:13:31.764" v="1418" actId="478"/>
          <ac:spMkLst>
            <pc:docMk/>
            <pc:sldMk cId="1508172130" sldId="2483"/>
            <ac:spMk id="84" creationId="{3BFFF53F-16BB-4793-A3D1-B925B2C9E4A3}"/>
          </ac:spMkLst>
        </pc:spChg>
        <pc:spChg chg="add del mod topLvl">
          <ac:chgData name="Yousuf, Arsalan" userId="1f742cd1-60f2-4cc5-8102-e09412e517e3" providerId="ADAL" clId="{35A2B7D3-BB6C-422F-AF31-7DBA0CB14166}" dt="2023-12-25T22:13:31.764" v="1418" actId="478"/>
          <ac:spMkLst>
            <pc:docMk/>
            <pc:sldMk cId="1508172130" sldId="2483"/>
            <ac:spMk id="85" creationId="{C53A65A2-B10F-47C0-85F2-C4B14F6785EC}"/>
          </ac:spMkLst>
        </pc:spChg>
        <pc:spChg chg="mod">
          <ac:chgData name="Yousuf, Arsalan" userId="1f742cd1-60f2-4cc5-8102-e09412e517e3" providerId="ADAL" clId="{35A2B7D3-BB6C-422F-AF31-7DBA0CB14166}" dt="2023-12-27T03:29:18.675" v="2425" actId="1036"/>
          <ac:spMkLst>
            <pc:docMk/>
            <pc:sldMk cId="1508172130" sldId="2483"/>
            <ac:spMk id="91" creationId="{6D6C910A-26FF-4212-AD1D-9CDF1528E907}"/>
          </ac:spMkLst>
        </pc:spChg>
        <pc:spChg chg="mod">
          <ac:chgData name="Yousuf, Arsalan" userId="1f742cd1-60f2-4cc5-8102-e09412e517e3" providerId="ADAL" clId="{35A2B7D3-BB6C-422F-AF31-7DBA0CB14166}" dt="2023-12-27T03:29:18.675" v="2425" actId="1036"/>
          <ac:spMkLst>
            <pc:docMk/>
            <pc:sldMk cId="1508172130" sldId="2483"/>
            <ac:spMk id="92" creationId="{3881FEE4-9AB6-4311-B5ED-4D63C3237881}"/>
          </ac:spMkLst>
        </pc:spChg>
        <pc:spChg chg="add del mod topLvl">
          <ac:chgData name="Yousuf, Arsalan" userId="1f742cd1-60f2-4cc5-8102-e09412e517e3" providerId="ADAL" clId="{35A2B7D3-BB6C-422F-AF31-7DBA0CB14166}" dt="2023-12-25T22:13:31.764" v="1418" actId="478"/>
          <ac:spMkLst>
            <pc:docMk/>
            <pc:sldMk cId="1508172130" sldId="2483"/>
            <ac:spMk id="99" creationId="{EEBDFC4F-A810-474F-A80D-D6FB1254F12C}"/>
          </ac:spMkLst>
        </pc:spChg>
        <pc:spChg chg="add del mod topLvl">
          <ac:chgData name="Yousuf, Arsalan" userId="1f742cd1-60f2-4cc5-8102-e09412e517e3" providerId="ADAL" clId="{35A2B7D3-BB6C-422F-AF31-7DBA0CB14166}" dt="2023-12-25T22:12:47.537" v="1390" actId="478"/>
          <ac:spMkLst>
            <pc:docMk/>
            <pc:sldMk cId="1508172130" sldId="2483"/>
            <ac:spMk id="101" creationId="{2C593231-5760-4501-8B94-29998BA6D6E8}"/>
          </ac:spMkLst>
        </pc:spChg>
        <pc:spChg chg="mod">
          <ac:chgData name="Yousuf, Arsalan" userId="1f742cd1-60f2-4cc5-8102-e09412e517e3" providerId="ADAL" clId="{35A2B7D3-BB6C-422F-AF31-7DBA0CB14166}" dt="2023-12-25T22:09:25.575" v="1184" actId="165"/>
          <ac:spMkLst>
            <pc:docMk/>
            <pc:sldMk cId="1508172130" sldId="2483"/>
            <ac:spMk id="102" creationId="{1AD107BC-1272-47D0-A7B2-F904C446D61B}"/>
          </ac:spMkLst>
        </pc:spChg>
        <pc:spChg chg="mod">
          <ac:chgData name="Yousuf, Arsalan" userId="1f742cd1-60f2-4cc5-8102-e09412e517e3" providerId="ADAL" clId="{35A2B7D3-BB6C-422F-AF31-7DBA0CB14166}" dt="2023-12-25T22:09:25.575" v="1184" actId="165"/>
          <ac:spMkLst>
            <pc:docMk/>
            <pc:sldMk cId="1508172130" sldId="2483"/>
            <ac:spMk id="103" creationId="{5AA9A4C6-5853-4B36-AC5A-9E365C1012AB}"/>
          </ac:spMkLst>
        </pc:spChg>
        <pc:spChg chg="mod">
          <ac:chgData name="Yousuf, Arsalan" userId="1f742cd1-60f2-4cc5-8102-e09412e517e3" providerId="ADAL" clId="{35A2B7D3-BB6C-422F-AF31-7DBA0CB14166}" dt="2023-12-25T22:09:25.575" v="1184" actId="165"/>
          <ac:spMkLst>
            <pc:docMk/>
            <pc:sldMk cId="1508172130" sldId="2483"/>
            <ac:spMk id="104" creationId="{4740E4F1-E501-4275-8FD7-59F4BB06F9EC}"/>
          </ac:spMkLst>
        </pc:spChg>
        <pc:spChg chg="mod">
          <ac:chgData name="Yousuf, Arsalan" userId="1f742cd1-60f2-4cc5-8102-e09412e517e3" providerId="ADAL" clId="{35A2B7D3-BB6C-422F-AF31-7DBA0CB14166}" dt="2023-12-25T22:09:25.575" v="1184" actId="165"/>
          <ac:spMkLst>
            <pc:docMk/>
            <pc:sldMk cId="1508172130" sldId="2483"/>
            <ac:spMk id="105" creationId="{F5A4F8B2-EAA3-4B11-82A2-FA99325FD391}"/>
          </ac:spMkLst>
        </pc:spChg>
        <pc:spChg chg="mod">
          <ac:chgData name="Yousuf, Arsalan" userId="1f742cd1-60f2-4cc5-8102-e09412e517e3" providerId="ADAL" clId="{35A2B7D3-BB6C-422F-AF31-7DBA0CB14166}" dt="2023-12-25T22:09:25.575" v="1184" actId="165"/>
          <ac:spMkLst>
            <pc:docMk/>
            <pc:sldMk cId="1508172130" sldId="2483"/>
            <ac:spMk id="106" creationId="{5C267894-3D50-4F17-9B1E-9EBFE68E43CA}"/>
          </ac:spMkLst>
        </pc:spChg>
        <pc:spChg chg="mod">
          <ac:chgData name="Yousuf, Arsalan" userId="1f742cd1-60f2-4cc5-8102-e09412e517e3" providerId="ADAL" clId="{35A2B7D3-BB6C-422F-AF31-7DBA0CB14166}" dt="2023-12-25T22:09:25.575" v="1184" actId="165"/>
          <ac:spMkLst>
            <pc:docMk/>
            <pc:sldMk cId="1508172130" sldId="2483"/>
            <ac:spMk id="107" creationId="{58A6101A-8464-43B0-8F9C-B09053322A41}"/>
          </ac:spMkLst>
        </pc:spChg>
        <pc:spChg chg="add del mod topLvl">
          <ac:chgData name="Yousuf, Arsalan" userId="1f742cd1-60f2-4cc5-8102-e09412e517e3" providerId="ADAL" clId="{35A2B7D3-BB6C-422F-AF31-7DBA0CB14166}" dt="2023-12-25T22:11:00.167" v="1220" actId="478"/>
          <ac:spMkLst>
            <pc:docMk/>
            <pc:sldMk cId="1508172130" sldId="2483"/>
            <ac:spMk id="112" creationId="{C7DF1D4F-DD9E-4C34-BF13-1F6C3D62EB0F}"/>
          </ac:spMkLst>
        </pc:spChg>
        <pc:spChg chg="mod">
          <ac:chgData name="Yousuf, Arsalan" userId="1f742cd1-60f2-4cc5-8102-e09412e517e3" providerId="ADAL" clId="{35A2B7D3-BB6C-422F-AF31-7DBA0CB14166}" dt="2023-12-25T22:25:57.059" v="1458" actId="404"/>
          <ac:spMkLst>
            <pc:docMk/>
            <pc:sldMk cId="1508172130" sldId="2483"/>
            <ac:spMk id="117" creationId="{F74847B0-ED1D-31B5-23A3-03BD48A6C20C}"/>
          </ac:spMkLst>
        </pc:spChg>
        <pc:spChg chg="mod">
          <ac:chgData name="Yousuf, Arsalan" userId="1f742cd1-60f2-4cc5-8102-e09412e517e3" providerId="ADAL" clId="{35A2B7D3-BB6C-422F-AF31-7DBA0CB14166}" dt="2023-12-25T22:25:57.059" v="1458" actId="404"/>
          <ac:spMkLst>
            <pc:docMk/>
            <pc:sldMk cId="1508172130" sldId="2483"/>
            <ac:spMk id="118" creationId="{7D116DA6-834F-CE6B-0DCD-C8A7E22EC5DC}"/>
          </ac:spMkLst>
        </pc:spChg>
        <pc:spChg chg="mod">
          <ac:chgData name="Yousuf, Arsalan" userId="1f742cd1-60f2-4cc5-8102-e09412e517e3" providerId="ADAL" clId="{35A2B7D3-BB6C-422F-AF31-7DBA0CB14166}" dt="2023-12-25T22:09:25.575" v="1184" actId="165"/>
          <ac:spMkLst>
            <pc:docMk/>
            <pc:sldMk cId="1508172130" sldId="2483"/>
            <ac:spMk id="119" creationId="{1DB061C3-7D62-41C3-8134-7A3F24A91FBA}"/>
          </ac:spMkLst>
        </pc:spChg>
        <pc:spChg chg="mod">
          <ac:chgData name="Yousuf, Arsalan" userId="1f742cd1-60f2-4cc5-8102-e09412e517e3" providerId="ADAL" clId="{35A2B7D3-BB6C-422F-AF31-7DBA0CB14166}" dt="2023-12-25T22:09:25.575" v="1184" actId="165"/>
          <ac:spMkLst>
            <pc:docMk/>
            <pc:sldMk cId="1508172130" sldId="2483"/>
            <ac:spMk id="120" creationId="{A1AD16C4-0381-4DB4-B64E-67989209522B}"/>
          </ac:spMkLst>
        </pc:spChg>
        <pc:spChg chg="mod">
          <ac:chgData name="Yousuf, Arsalan" userId="1f742cd1-60f2-4cc5-8102-e09412e517e3" providerId="ADAL" clId="{35A2B7D3-BB6C-422F-AF31-7DBA0CB14166}" dt="2023-12-25T22:09:25.575" v="1184" actId="165"/>
          <ac:spMkLst>
            <pc:docMk/>
            <pc:sldMk cId="1508172130" sldId="2483"/>
            <ac:spMk id="121" creationId="{A2F7B52D-4ACE-434B-8C5D-C2AC11A59937}"/>
          </ac:spMkLst>
        </pc:spChg>
        <pc:spChg chg="mod">
          <ac:chgData name="Yousuf, Arsalan" userId="1f742cd1-60f2-4cc5-8102-e09412e517e3" providerId="ADAL" clId="{35A2B7D3-BB6C-422F-AF31-7DBA0CB14166}" dt="2023-12-25T22:09:25.575" v="1184" actId="165"/>
          <ac:spMkLst>
            <pc:docMk/>
            <pc:sldMk cId="1508172130" sldId="2483"/>
            <ac:spMk id="122" creationId="{CACEB066-E67C-4485-AE78-170F3F50C5E6}"/>
          </ac:spMkLst>
        </pc:spChg>
        <pc:spChg chg="mod">
          <ac:chgData name="Yousuf, Arsalan" userId="1f742cd1-60f2-4cc5-8102-e09412e517e3" providerId="ADAL" clId="{35A2B7D3-BB6C-422F-AF31-7DBA0CB14166}" dt="2023-12-25T22:09:25.575" v="1184" actId="165"/>
          <ac:spMkLst>
            <pc:docMk/>
            <pc:sldMk cId="1508172130" sldId="2483"/>
            <ac:spMk id="123" creationId="{78B1101B-105E-4DE0-B6C1-6C9F9F0FA00E}"/>
          </ac:spMkLst>
        </pc:spChg>
        <pc:spChg chg="mod">
          <ac:chgData name="Yousuf, Arsalan" userId="1f742cd1-60f2-4cc5-8102-e09412e517e3" providerId="ADAL" clId="{35A2B7D3-BB6C-422F-AF31-7DBA0CB14166}" dt="2023-12-25T22:09:25.575" v="1184" actId="165"/>
          <ac:spMkLst>
            <pc:docMk/>
            <pc:sldMk cId="1508172130" sldId="2483"/>
            <ac:spMk id="124" creationId="{6802D31D-99C1-49A0-AB44-A672E1DD6A32}"/>
          </ac:spMkLst>
        </pc:spChg>
        <pc:spChg chg="mod">
          <ac:chgData name="Yousuf, Arsalan" userId="1f742cd1-60f2-4cc5-8102-e09412e517e3" providerId="ADAL" clId="{35A2B7D3-BB6C-422F-AF31-7DBA0CB14166}" dt="2023-12-25T22:09:25.575" v="1184" actId="165"/>
          <ac:spMkLst>
            <pc:docMk/>
            <pc:sldMk cId="1508172130" sldId="2483"/>
            <ac:spMk id="125" creationId="{C7BECBBB-D33B-4B3F-B32B-025DC43B3B03}"/>
          </ac:spMkLst>
        </pc:spChg>
        <pc:spChg chg="mod">
          <ac:chgData name="Yousuf, Arsalan" userId="1f742cd1-60f2-4cc5-8102-e09412e517e3" providerId="ADAL" clId="{35A2B7D3-BB6C-422F-AF31-7DBA0CB14166}" dt="2023-12-25T22:25:57.059" v="1458" actId="404"/>
          <ac:spMkLst>
            <pc:docMk/>
            <pc:sldMk cId="1508172130" sldId="2483"/>
            <ac:spMk id="127" creationId="{B740FEC7-BA77-4AF1-63F7-36DA29E6760A}"/>
          </ac:spMkLst>
        </pc:spChg>
        <pc:spChg chg="mod">
          <ac:chgData name="Yousuf, Arsalan" userId="1f742cd1-60f2-4cc5-8102-e09412e517e3" providerId="ADAL" clId="{35A2B7D3-BB6C-422F-AF31-7DBA0CB14166}" dt="2023-12-25T22:25:57.059" v="1458" actId="404"/>
          <ac:spMkLst>
            <pc:docMk/>
            <pc:sldMk cId="1508172130" sldId="2483"/>
            <ac:spMk id="129" creationId="{F3C5E126-5205-5165-4634-9E7E5241413E}"/>
          </ac:spMkLst>
        </pc:spChg>
        <pc:spChg chg="mod">
          <ac:chgData name="Yousuf, Arsalan" userId="1f742cd1-60f2-4cc5-8102-e09412e517e3" providerId="ADAL" clId="{35A2B7D3-BB6C-422F-AF31-7DBA0CB14166}" dt="2023-12-25T22:25:57.059" v="1458" actId="404"/>
          <ac:spMkLst>
            <pc:docMk/>
            <pc:sldMk cId="1508172130" sldId="2483"/>
            <ac:spMk id="130" creationId="{01A1ACA2-0FE4-C52F-4F01-AD19AD873A82}"/>
          </ac:spMkLst>
        </pc:spChg>
        <pc:spChg chg="mod">
          <ac:chgData name="Yousuf, Arsalan" userId="1f742cd1-60f2-4cc5-8102-e09412e517e3" providerId="ADAL" clId="{35A2B7D3-BB6C-422F-AF31-7DBA0CB14166}" dt="2023-12-25T22:25:57.059" v="1458" actId="404"/>
          <ac:spMkLst>
            <pc:docMk/>
            <pc:sldMk cId="1508172130" sldId="2483"/>
            <ac:spMk id="131" creationId="{99117CB5-96E3-5915-570A-C06245B92D72}"/>
          </ac:spMkLst>
        </pc:spChg>
        <pc:spChg chg="mod">
          <ac:chgData name="Yousuf, Arsalan" userId="1f742cd1-60f2-4cc5-8102-e09412e517e3" providerId="ADAL" clId="{35A2B7D3-BB6C-422F-AF31-7DBA0CB14166}" dt="2023-12-25T22:25:57.059" v="1458" actId="404"/>
          <ac:spMkLst>
            <pc:docMk/>
            <pc:sldMk cId="1508172130" sldId="2483"/>
            <ac:spMk id="132" creationId="{262F3360-583D-B28E-6AD2-0AB84D1C502C}"/>
          </ac:spMkLst>
        </pc:spChg>
        <pc:spChg chg="mod">
          <ac:chgData name="Yousuf, Arsalan" userId="1f742cd1-60f2-4cc5-8102-e09412e517e3" providerId="ADAL" clId="{35A2B7D3-BB6C-422F-AF31-7DBA0CB14166}" dt="2023-12-25T22:25:57.059" v="1458" actId="404"/>
          <ac:spMkLst>
            <pc:docMk/>
            <pc:sldMk cId="1508172130" sldId="2483"/>
            <ac:spMk id="134" creationId="{D77D5DB3-3321-4C77-68C7-588ACA9F6188}"/>
          </ac:spMkLst>
        </pc:spChg>
        <pc:spChg chg="mod">
          <ac:chgData name="Yousuf, Arsalan" userId="1f742cd1-60f2-4cc5-8102-e09412e517e3" providerId="ADAL" clId="{35A2B7D3-BB6C-422F-AF31-7DBA0CB14166}" dt="2023-12-25T22:25:57.059" v="1458" actId="404"/>
          <ac:spMkLst>
            <pc:docMk/>
            <pc:sldMk cId="1508172130" sldId="2483"/>
            <ac:spMk id="135" creationId="{C5437AB1-4878-FF3E-A056-4E2D0F393410}"/>
          </ac:spMkLst>
        </pc:spChg>
        <pc:spChg chg="mod">
          <ac:chgData name="Yousuf, Arsalan" userId="1f742cd1-60f2-4cc5-8102-e09412e517e3" providerId="ADAL" clId="{35A2B7D3-BB6C-422F-AF31-7DBA0CB14166}" dt="2023-12-25T22:25:57.059" v="1458" actId="404"/>
          <ac:spMkLst>
            <pc:docMk/>
            <pc:sldMk cId="1508172130" sldId="2483"/>
            <ac:spMk id="136" creationId="{7D9DB547-1ABE-D405-3299-1F9FF5DEA637}"/>
          </ac:spMkLst>
        </pc:spChg>
        <pc:spChg chg="mod">
          <ac:chgData name="Yousuf, Arsalan" userId="1f742cd1-60f2-4cc5-8102-e09412e517e3" providerId="ADAL" clId="{35A2B7D3-BB6C-422F-AF31-7DBA0CB14166}" dt="2023-12-25T22:25:57.059" v="1458" actId="404"/>
          <ac:spMkLst>
            <pc:docMk/>
            <pc:sldMk cId="1508172130" sldId="2483"/>
            <ac:spMk id="137" creationId="{B7DE4EAB-B050-7E3F-2104-CAAA5AF1C5BB}"/>
          </ac:spMkLst>
        </pc:spChg>
        <pc:spChg chg="mod">
          <ac:chgData name="Yousuf, Arsalan" userId="1f742cd1-60f2-4cc5-8102-e09412e517e3" providerId="ADAL" clId="{35A2B7D3-BB6C-422F-AF31-7DBA0CB14166}" dt="2023-12-25T22:25:57.059" v="1458" actId="404"/>
          <ac:spMkLst>
            <pc:docMk/>
            <pc:sldMk cId="1508172130" sldId="2483"/>
            <ac:spMk id="139" creationId="{0B6270F6-47B2-9018-EE53-4C6413D6D3A8}"/>
          </ac:spMkLst>
        </pc:spChg>
        <pc:spChg chg="mod">
          <ac:chgData name="Yousuf, Arsalan" userId="1f742cd1-60f2-4cc5-8102-e09412e517e3" providerId="ADAL" clId="{35A2B7D3-BB6C-422F-AF31-7DBA0CB14166}" dt="2023-12-25T22:25:57.059" v="1458" actId="404"/>
          <ac:spMkLst>
            <pc:docMk/>
            <pc:sldMk cId="1508172130" sldId="2483"/>
            <ac:spMk id="140" creationId="{9942D20B-B3E3-4908-C37C-BD96B6A0E312}"/>
          </ac:spMkLst>
        </pc:spChg>
        <pc:spChg chg="mod">
          <ac:chgData name="Yousuf, Arsalan" userId="1f742cd1-60f2-4cc5-8102-e09412e517e3" providerId="ADAL" clId="{35A2B7D3-BB6C-422F-AF31-7DBA0CB14166}" dt="2023-12-25T22:25:57.059" v="1458" actId="404"/>
          <ac:spMkLst>
            <pc:docMk/>
            <pc:sldMk cId="1508172130" sldId="2483"/>
            <ac:spMk id="141" creationId="{5B3B35E8-D1E2-E620-3E08-41FF38A531F7}"/>
          </ac:spMkLst>
        </pc:spChg>
        <pc:spChg chg="mod">
          <ac:chgData name="Yousuf, Arsalan" userId="1f742cd1-60f2-4cc5-8102-e09412e517e3" providerId="ADAL" clId="{35A2B7D3-BB6C-422F-AF31-7DBA0CB14166}" dt="2023-12-25T22:25:57.059" v="1458" actId="404"/>
          <ac:spMkLst>
            <pc:docMk/>
            <pc:sldMk cId="1508172130" sldId="2483"/>
            <ac:spMk id="142" creationId="{F608873E-29A5-D7CE-05EC-A948FB78CCD8}"/>
          </ac:spMkLst>
        </pc:spChg>
        <pc:spChg chg="mod">
          <ac:chgData name="Yousuf, Arsalan" userId="1f742cd1-60f2-4cc5-8102-e09412e517e3" providerId="ADAL" clId="{35A2B7D3-BB6C-422F-AF31-7DBA0CB14166}" dt="2023-12-25T22:25:57.059" v="1458" actId="404"/>
          <ac:spMkLst>
            <pc:docMk/>
            <pc:sldMk cId="1508172130" sldId="2483"/>
            <ac:spMk id="143" creationId="{0F8AECF7-108C-228B-D3D1-5745383F2F7F}"/>
          </ac:spMkLst>
        </pc:spChg>
        <pc:spChg chg="mod">
          <ac:chgData name="Yousuf, Arsalan" userId="1f742cd1-60f2-4cc5-8102-e09412e517e3" providerId="ADAL" clId="{35A2B7D3-BB6C-422F-AF31-7DBA0CB14166}" dt="2023-12-25T22:25:57.059" v="1458" actId="404"/>
          <ac:spMkLst>
            <pc:docMk/>
            <pc:sldMk cId="1508172130" sldId="2483"/>
            <ac:spMk id="145" creationId="{844B1A27-D93F-AA26-F935-67F363848D5D}"/>
          </ac:spMkLst>
        </pc:spChg>
        <pc:spChg chg="mod">
          <ac:chgData name="Yousuf, Arsalan" userId="1f742cd1-60f2-4cc5-8102-e09412e517e3" providerId="ADAL" clId="{35A2B7D3-BB6C-422F-AF31-7DBA0CB14166}" dt="2023-12-25T22:25:57.059" v="1458" actId="404"/>
          <ac:spMkLst>
            <pc:docMk/>
            <pc:sldMk cId="1508172130" sldId="2483"/>
            <ac:spMk id="146" creationId="{CD1136FC-B84D-A0E9-C390-216412FF99F1}"/>
          </ac:spMkLst>
        </pc:spChg>
        <pc:spChg chg="mod">
          <ac:chgData name="Yousuf, Arsalan" userId="1f742cd1-60f2-4cc5-8102-e09412e517e3" providerId="ADAL" clId="{35A2B7D3-BB6C-422F-AF31-7DBA0CB14166}" dt="2023-12-25T22:26:06.572" v="1477" actId="20577"/>
          <ac:spMkLst>
            <pc:docMk/>
            <pc:sldMk cId="1508172130" sldId="2483"/>
            <ac:spMk id="147" creationId="{2C49846F-0A4F-D85B-502E-7F9AFFF1A16F}"/>
          </ac:spMkLst>
        </pc:spChg>
        <pc:spChg chg="mod">
          <ac:chgData name="Yousuf, Arsalan" userId="1f742cd1-60f2-4cc5-8102-e09412e517e3" providerId="ADAL" clId="{35A2B7D3-BB6C-422F-AF31-7DBA0CB14166}" dt="2023-12-25T22:25:57.059" v="1458" actId="404"/>
          <ac:spMkLst>
            <pc:docMk/>
            <pc:sldMk cId="1508172130" sldId="2483"/>
            <ac:spMk id="148" creationId="{4E39C408-A180-5665-4C3B-9BB2A675F57E}"/>
          </ac:spMkLst>
        </pc:spChg>
        <pc:spChg chg="mod">
          <ac:chgData name="Yousuf, Arsalan" userId="1f742cd1-60f2-4cc5-8102-e09412e517e3" providerId="ADAL" clId="{35A2B7D3-BB6C-422F-AF31-7DBA0CB14166}" dt="2023-12-25T22:26:53.435" v="1480" actId="1076"/>
          <ac:spMkLst>
            <pc:docMk/>
            <pc:sldMk cId="1508172130" sldId="2483"/>
            <ac:spMk id="151" creationId="{6495BF32-5E70-AC29-7816-7F88F4E71461}"/>
          </ac:spMkLst>
        </pc:spChg>
        <pc:spChg chg="mod">
          <ac:chgData name="Yousuf, Arsalan" userId="1f742cd1-60f2-4cc5-8102-e09412e517e3" providerId="ADAL" clId="{35A2B7D3-BB6C-422F-AF31-7DBA0CB14166}" dt="2023-12-25T22:26:53.435" v="1480" actId="1076"/>
          <ac:spMkLst>
            <pc:docMk/>
            <pc:sldMk cId="1508172130" sldId="2483"/>
            <ac:spMk id="152" creationId="{E5BFABB5-B401-D1C5-0824-A42545B2C49F}"/>
          </ac:spMkLst>
        </pc:spChg>
        <pc:spChg chg="mod">
          <ac:chgData name="Yousuf, Arsalan" userId="1f742cd1-60f2-4cc5-8102-e09412e517e3" providerId="ADAL" clId="{35A2B7D3-BB6C-422F-AF31-7DBA0CB14166}" dt="2023-12-25T22:26:53.435" v="1480" actId="1076"/>
          <ac:spMkLst>
            <pc:docMk/>
            <pc:sldMk cId="1508172130" sldId="2483"/>
            <ac:spMk id="153" creationId="{844D3376-6A2B-BDC9-54FF-4D78151D3886}"/>
          </ac:spMkLst>
        </pc:spChg>
        <pc:spChg chg="mod">
          <ac:chgData name="Yousuf, Arsalan" userId="1f742cd1-60f2-4cc5-8102-e09412e517e3" providerId="ADAL" clId="{35A2B7D3-BB6C-422F-AF31-7DBA0CB14166}" dt="2023-12-25T22:26:53.435" v="1480" actId="1076"/>
          <ac:spMkLst>
            <pc:docMk/>
            <pc:sldMk cId="1508172130" sldId="2483"/>
            <ac:spMk id="154" creationId="{206B9EC0-7DDE-BFC1-4975-3A3FF8BADF9C}"/>
          </ac:spMkLst>
        </pc:spChg>
        <pc:spChg chg="mod">
          <ac:chgData name="Yousuf, Arsalan" userId="1f742cd1-60f2-4cc5-8102-e09412e517e3" providerId="ADAL" clId="{35A2B7D3-BB6C-422F-AF31-7DBA0CB14166}" dt="2023-12-25T22:26:53.435" v="1480" actId="1076"/>
          <ac:spMkLst>
            <pc:docMk/>
            <pc:sldMk cId="1508172130" sldId="2483"/>
            <ac:spMk id="156" creationId="{4D16A97A-3A28-26EA-15CF-42E7C91718E3}"/>
          </ac:spMkLst>
        </pc:spChg>
        <pc:spChg chg="mod">
          <ac:chgData name="Yousuf, Arsalan" userId="1f742cd1-60f2-4cc5-8102-e09412e517e3" providerId="ADAL" clId="{35A2B7D3-BB6C-422F-AF31-7DBA0CB14166}" dt="2023-12-25T22:26:53.435" v="1480" actId="1076"/>
          <ac:spMkLst>
            <pc:docMk/>
            <pc:sldMk cId="1508172130" sldId="2483"/>
            <ac:spMk id="157" creationId="{E440824D-8876-D89F-2932-2ABC909AB0E9}"/>
          </ac:spMkLst>
        </pc:spChg>
        <pc:spChg chg="mod">
          <ac:chgData name="Yousuf, Arsalan" userId="1f742cd1-60f2-4cc5-8102-e09412e517e3" providerId="ADAL" clId="{35A2B7D3-BB6C-422F-AF31-7DBA0CB14166}" dt="2023-12-25T22:26:53.435" v="1480" actId="1076"/>
          <ac:spMkLst>
            <pc:docMk/>
            <pc:sldMk cId="1508172130" sldId="2483"/>
            <ac:spMk id="159" creationId="{89576C6D-546A-24CE-9A1F-A2BF073A9D24}"/>
          </ac:spMkLst>
        </pc:spChg>
        <pc:spChg chg="mod">
          <ac:chgData name="Yousuf, Arsalan" userId="1f742cd1-60f2-4cc5-8102-e09412e517e3" providerId="ADAL" clId="{35A2B7D3-BB6C-422F-AF31-7DBA0CB14166}" dt="2023-12-25T22:26:53.435" v="1480" actId="1076"/>
          <ac:spMkLst>
            <pc:docMk/>
            <pc:sldMk cId="1508172130" sldId="2483"/>
            <ac:spMk id="160" creationId="{D77BE793-E3CE-DD92-DF2B-1A4408452125}"/>
          </ac:spMkLst>
        </pc:spChg>
        <pc:spChg chg="mod">
          <ac:chgData name="Yousuf, Arsalan" userId="1f742cd1-60f2-4cc5-8102-e09412e517e3" providerId="ADAL" clId="{35A2B7D3-BB6C-422F-AF31-7DBA0CB14166}" dt="2023-12-25T22:26:53.435" v="1480" actId="1076"/>
          <ac:spMkLst>
            <pc:docMk/>
            <pc:sldMk cId="1508172130" sldId="2483"/>
            <ac:spMk id="161" creationId="{3627F0A3-D516-41F0-3CCF-18AF44C546FF}"/>
          </ac:spMkLst>
        </pc:spChg>
        <pc:spChg chg="mod">
          <ac:chgData name="Yousuf, Arsalan" userId="1f742cd1-60f2-4cc5-8102-e09412e517e3" providerId="ADAL" clId="{35A2B7D3-BB6C-422F-AF31-7DBA0CB14166}" dt="2023-12-25T22:26:53.435" v="1480" actId="1076"/>
          <ac:spMkLst>
            <pc:docMk/>
            <pc:sldMk cId="1508172130" sldId="2483"/>
            <ac:spMk id="162" creationId="{21CF13A7-3F8E-598D-05AE-0F4C3ADDFB32}"/>
          </ac:spMkLst>
        </pc:spChg>
        <pc:spChg chg="mod">
          <ac:chgData name="Yousuf, Arsalan" userId="1f742cd1-60f2-4cc5-8102-e09412e517e3" providerId="ADAL" clId="{35A2B7D3-BB6C-422F-AF31-7DBA0CB14166}" dt="2023-12-25T22:26:53.435" v="1480" actId="1076"/>
          <ac:spMkLst>
            <pc:docMk/>
            <pc:sldMk cId="1508172130" sldId="2483"/>
            <ac:spMk id="163" creationId="{852D0787-E02F-8F2C-E256-CD6A68503A65}"/>
          </ac:spMkLst>
        </pc:spChg>
        <pc:spChg chg="mod">
          <ac:chgData name="Yousuf, Arsalan" userId="1f742cd1-60f2-4cc5-8102-e09412e517e3" providerId="ADAL" clId="{35A2B7D3-BB6C-422F-AF31-7DBA0CB14166}" dt="2023-12-25T22:26:53.435" v="1480" actId="1076"/>
          <ac:spMkLst>
            <pc:docMk/>
            <pc:sldMk cId="1508172130" sldId="2483"/>
            <ac:spMk id="164" creationId="{9C8E8B0D-0B3F-EF8A-44FB-C6F760261A9A}"/>
          </ac:spMkLst>
        </pc:spChg>
        <pc:spChg chg="mod">
          <ac:chgData name="Yousuf, Arsalan" userId="1f742cd1-60f2-4cc5-8102-e09412e517e3" providerId="ADAL" clId="{35A2B7D3-BB6C-422F-AF31-7DBA0CB14166}" dt="2023-12-25T22:26:53.435" v="1480" actId="1076"/>
          <ac:spMkLst>
            <pc:docMk/>
            <pc:sldMk cId="1508172130" sldId="2483"/>
            <ac:spMk id="165" creationId="{D7D45270-1C47-105B-4E3D-E67A57FDC7AA}"/>
          </ac:spMkLst>
        </pc:spChg>
        <pc:spChg chg="mod">
          <ac:chgData name="Yousuf, Arsalan" userId="1f742cd1-60f2-4cc5-8102-e09412e517e3" providerId="ADAL" clId="{35A2B7D3-BB6C-422F-AF31-7DBA0CB14166}" dt="2023-12-25T22:26:53.435" v="1480" actId="1076"/>
          <ac:spMkLst>
            <pc:docMk/>
            <pc:sldMk cId="1508172130" sldId="2483"/>
            <ac:spMk id="166" creationId="{59E3C758-9687-2B5E-6B7B-5D3759BD55B2}"/>
          </ac:spMkLst>
        </pc:spChg>
        <pc:spChg chg="mod">
          <ac:chgData name="Yousuf, Arsalan" userId="1f742cd1-60f2-4cc5-8102-e09412e517e3" providerId="ADAL" clId="{35A2B7D3-BB6C-422F-AF31-7DBA0CB14166}" dt="2023-12-25T22:26:53.435" v="1480" actId="1076"/>
          <ac:spMkLst>
            <pc:docMk/>
            <pc:sldMk cId="1508172130" sldId="2483"/>
            <ac:spMk id="167" creationId="{6485F974-EA93-616E-ECA1-C7D56D119832}"/>
          </ac:spMkLst>
        </pc:spChg>
        <pc:spChg chg="mod">
          <ac:chgData name="Yousuf, Arsalan" userId="1f742cd1-60f2-4cc5-8102-e09412e517e3" providerId="ADAL" clId="{35A2B7D3-BB6C-422F-AF31-7DBA0CB14166}" dt="2023-12-25T22:26:53.435" v="1480" actId="1076"/>
          <ac:spMkLst>
            <pc:docMk/>
            <pc:sldMk cId="1508172130" sldId="2483"/>
            <ac:spMk id="168" creationId="{C24D9EF2-7C36-711A-3824-5A1DD276B7BD}"/>
          </ac:spMkLst>
        </pc:spChg>
        <pc:spChg chg="mod">
          <ac:chgData name="Yousuf, Arsalan" userId="1f742cd1-60f2-4cc5-8102-e09412e517e3" providerId="ADAL" clId="{35A2B7D3-BB6C-422F-AF31-7DBA0CB14166}" dt="2023-12-25T22:26:53.435" v="1480" actId="1076"/>
          <ac:spMkLst>
            <pc:docMk/>
            <pc:sldMk cId="1508172130" sldId="2483"/>
            <ac:spMk id="169" creationId="{84F11351-FB5D-033E-D01F-D3A0C8D72247}"/>
          </ac:spMkLst>
        </pc:spChg>
        <pc:spChg chg="mod">
          <ac:chgData name="Yousuf, Arsalan" userId="1f742cd1-60f2-4cc5-8102-e09412e517e3" providerId="ADAL" clId="{35A2B7D3-BB6C-422F-AF31-7DBA0CB14166}" dt="2023-12-25T22:26:53.435" v="1480" actId="1076"/>
          <ac:spMkLst>
            <pc:docMk/>
            <pc:sldMk cId="1508172130" sldId="2483"/>
            <ac:spMk id="170" creationId="{6845A32F-440E-670E-E054-865AA2EC1D67}"/>
          </ac:spMkLst>
        </pc:spChg>
        <pc:spChg chg="mod">
          <ac:chgData name="Yousuf, Arsalan" userId="1f742cd1-60f2-4cc5-8102-e09412e517e3" providerId="ADAL" clId="{35A2B7D3-BB6C-422F-AF31-7DBA0CB14166}" dt="2023-12-25T22:26:53.435" v="1480" actId="1076"/>
          <ac:spMkLst>
            <pc:docMk/>
            <pc:sldMk cId="1508172130" sldId="2483"/>
            <ac:spMk id="171" creationId="{C4F9F26A-7134-E697-971D-4DAC817960FA}"/>
          </ac:spMkLst>
        </pc:spChg>
        <pc:spChg chg="mod">
          <ac:chgData name="Yousuf, Arsalan" userId="1f742cd1-60f2-4cc5-8102-e09412e517e3" providerId="ADAL" clId="{35A2B7D3-BB6C-422F-AF31-7DBA0CB14166}" dt="2023-12-25T22:26:53.435" v="1480" actId="1076"/>
          <ac:spMkLst>
            <pc:docMk/>
            <pc:sldMk cId="1508172130" sldId="2483"/>
            <ac:spMk id="172" creationId="{D2AB0784-7A19-CFA2-F5EC-DA5D344FFEA8}"/>
          </ac:spMkLst>
        </pc:spChg>
        <pc:spChg chg="mod">
          <ac:chgData name="Yousuf, Arsalan" userId="1f742cd1-60f2-4cc5-8102-e09412e517e3" providerId="ADAL" clId="{35A2B7D3-BB6C-422F-AF31-7DBA0CB14166}" dt="2023-12-25T22:26:53.435" v="1480" actId="1076"/>
          <ac:spMkLst>
            <pc:docMk/>
            <pc:sldMk cId="1508172130" sldId="2483"/>
            <ac:spMk id="173" creationId="{9BC88DEC-5F1D-54D6-D64E-121537CDEE35}"/>
          </ac:spMkLst>
        </pc:spChg>
        <pc:spChg chg="mod">
          <ac:chgData name="Yousuf, Arsalan" userId="1f742cd1-60f2-4cc5-8102-e09412e517e3" providerId="ADAL" clId="{35A2B7D3-BB6C-422F-AF31-7DBA0CB14166}" dt="2023-12-25T22:26:53.435" v="1480" actId="1076"/>
          <ac:spMkLst>
            <pc:docMk/>
            <pc:sldMk cId="1508172130" sldId="2483"/>
            <ac:spMk id="174" creationId="{EAE5DE7B-D9EB-BFED-0E35-CBA2FF22AED7}"/>
          </ac:spMkLst>
        </pc:spChg>
        <pc:spChg chg="mod">
          <ac:chgData name="Yousuf, Arsalan" userId="1f742cd1-60f2-4cc5-8102-e09412e517e3" providerId="ADAL" clId="{35A2B7D3-BB6C-422F-AF31-7DBA0CB14166}" dt="2023-12-25T22:26:53.435" v="1480" actId="1076"/>
          <ac:spMkLst>
            <pc:docMk/>
            <pc:sldMk cId="1508172130" sldId="2483"/>
            <ac:spMk id="175" creationId="{8C3BA1EC-25F5-B8F3-3334-A5CFACE5AE34}"/>
          </ac:spMkLst>
        </pc:spChg>
        <pc:spChg chg="mod">
          <ac:chgData name="Yousuf, Arsalan" userId="1f742cd1-60f2-4cc5-8102-e09412e517e3" providerId="ADAL" clId="{35A2B7D3-BB6C-422F-AF31-7DBA0CB14166}" dt="2023-12-25T22:26:53.435" v="1480" actId="1076"/>
          <ac:spMkLst>
            <pc:docMk/>
            <pc:sldMk cId="1508172130" sldId="2483"/>
            <ac:spMk id="176" creationId="{D21C24A5-72B7-89D8-2C7D-8FA391C2186B}"/>
          </ac:spMkLst>
        </pc:spChg>
        <pc:spChg chg="mod">
          <ac:chgData name="Yousuf, Arsalan" userId="1f742cd1-60f2-4cc5-8102-e09412e517e3" providerId="ADAL" clId="{35A2B7D3-BB6C-422F-AF31-7DBA0CB14166}" dt="2023-12-25T22:26:53.435" v="1480" actId="1076"/>
          <ac:spMkLst>
            <pc:docMk/>
            <pc:sldMk cId="1508172130" sldId="2483"/>
            <ac:spMk id="177" creationId="{BD1A89C8-A013-90A3-D6A2-2E1D1E75B636}"/>
          </ac:spMkLst>
        </pc:spChg>
        <pc:spChg chg="add del mod">
          <ac:chgData name="Yousuf, Arsalan" userId="1f742cd1-60f2-4cc5-8102-e09412e517e3" providerId="ADAL" clId="{35A2B7D3-BB6C-422F-AF31-7DBA0CB14166}" dt="2023-12-25T22:33:42.813" v="1701" actId="478"/>
          <ac:spMkLst>
            <pc:docMk/>
            <pc:sldMk cId="1508172130" sldId="2483"/>
            <ac:spMk id="179" creationId="{C373BBE1-220D-4CF9-2FEC-0954E422F66A}"/>
          </ac:spMkLst>
        </pc:spChg>
        <pc:spChg chg="mod">
          <ac:chgData name="Yousuf, Arsalan" userId="1f742cd1-60f2-4cc5-8102-e09412e517e3" providerId="ADAL" clId="{35A2B7D3-BB6C-422F-AF31-7DBA0CB14166}" dt="2023-12-27T03:29:18.675" v="2425" actId="1036"/>
          <ac:spMkLst>
            <pc:docMk/>
            <pc:sldMk cId="1508172130" sldId="2483"/>
            <ac:spMk id="182" creationId="{4CD52AA5-FD0B-74B4-C92C-1B95DF054CBB}"/>
          </ac:spMkLst>
        </pc:spChg>
        <pc:spChg chg="mod">
          <ac:chgData name="Yousuf, Arsalan" userId="1f742cd1-60f2-4cc5-8102-e09412e517e3" providerId="ADAL" clId="{35A2B7D3-BB6C-422F-AF31-7DBA0CB14166}" dt="2023-12-27T03:29:18.675" v="2425" actId="1036"/>
          <ac:spMkLst>
            <pc:docMk/>
            <pc:sldMk cId="1508172130" sldId="2483"/>
            <ac:spMk id="183" creationId="{95814221-E976-6FA4-CBC5-74998617D8C7}"/>
          </ac:spMkLst>
        </pc:spChg>
        <pc:spChg chg="mod">
          <ac:chgData name="Yousuf, Arsalan" userId="1f742cd1-60f2-4cc5-8102-e09412e517e3" providerId="ADAL" clId="{35A2B7D3-BB6C-422F-AF31-7DBA0CB14166}" dt="2023-12-27T03:29:18.675" v="2425" actId="1036"/>
          <ac:spMkLst>
            <pc:docMk/>
            <pc:sldMk cId="1508172130" sldId="2483"/>
            <ac:spMk id="184" creationId="{070D16BF-0332-DBF7-A3D8-7322011FAE24}"/>
          </ac:spMkLst>
        </pc:spChg>
        <pc:spChg chg="mod">
          <ac:chgData name="Yousuf, Arsalan" userId="1f742cd1-60f2-4cc5-8102-e09412e517e3" providerId="ADAL" clId="{35A2B7D3-BB6C-422F-AF31-7DBA0CB14166}" dt="2023-12-27T03:29:18.675" v="2425" actId="1036"/>
          <ac:spMkLst>
            <pc:docMk/>
            <pc:sldMk cId="1508172130" sldId="2483"/>
            <ac:spMk id="185" creationId="{8C529E99-9C2A-481C-6953-8C0E444EF6BB}"/>
          </ac:spMkLst>
        </pc:spChg>
        <pc:spChg chg="mod">
          <ac:chgData name="Yousuf, Arsalan" userId="1f742cd1-60f2-4cc5-8102-e09412e517e3" providerId="ADAL" clId="{35A2B7D3-BB6C-422F-AF31-7DBA0CB14166}" dt="2023-12-27T03:29:18.675" v="2425" actId="1036"/>
          <ac:spMkLst>
            <pc:docMk/>
            <pc:sldMk cId="1508172130" sldId="2483"/>
            <ac:spMk id="187" creationId="{37F8C497-5DCE-5502-4108-82E052FD2AE2}"/>
          </ac:spMkLst>
        </pc:spChg>
        <pc:spChg chg="mod">
          <ac:chgData name="Yousuf, Arsalan" userId="1f742cd1-60f2-4cc5-8102-e09412e517e3" providerId="ADAL" clId="{35A2B7D3-BB6C-422F-AF31-7DBA0CB14166}" dt="2023-12-27T03:29:18.675" v="2425" actId="1036"/>
          <ac:spMkLst>
            <pc:docMk/>
            <pc:sldMk cId="1508172130" sldId="2483"/>
            <ac:spMk id="188" creationId="{9E5F3823-FB3B-F9E3-98E5-C8020035521D}"/>
          </ac:spMkLst>
        </pc:spChg>
        <pc:spChg chg="mod">
          <ac:chgData name="Yousuf, Arsalan" userId="1f742cd1-60f2-4cc5-8102-e09412e517e3" providerId="ADAL" clId="{35A2B7D3-BB6C-422F-AF31-7DBA0CB14166}" dt="2023-12-27T03:29:18.675" v="2425" actId="1036"/>
          <ac:spMkLst>
            <pc:docMk/>
            <pc:sldMk cId="1508172130" sldId="2483"/>
            <ac:spMk id="190" creationId="{8C6D68AB-61FA-4221-0E8C-E018BAA3F2E5}"/>
          </ac:spMkLst>
        </pc:spChg>
        <pc:spChg chg="mod">
          <ac:chgData name="Yousuf, Arsalan" userId="1f742cd1-60f2-4cc5-8102-e09412e517e3" providerId="ADAL" clId="{35A2B7D3-BB6C-422F-AF31-7DBA0CB14166}" dt="2023-12-27T03:29:18.675" v="2425" actId="1036"/>
          <ac:spMkLst>
            <pc:docMk/>
            <pc:sldMk cId="1508172130" sldId="2483"/>
            <ac:spMk id="191" creationId="{ACC4B32B-23B5-057F-9B07-AEA9B5925798}"/>
          </ac:spMkLst>
        </pc:spChg>
        <pc:spChg chg="mod">
          <ac:chgData name="Yousuf, Arsalan" userId="1f742cd1-60f2-4cc5-8102-e09412e517e3" providerId="ADAL" clId="{35A2B7D3-BB6C-422F-AF31-7DBA0CB14166}" dt="2023-12-27T03:29:18.675" v="2425" actId="1036"/>
          <ac:spMkLst>
            <pc:docMk/>
            <pc:sldMk cId="1508172130" sldId="2483"/>
            <ac:spMk id="192" creationId="{E4B0B350-9B28-6161-C7C0-AA13D881C7E6}"/>
          </ac:spMkLst>
        </pc:spChg>
        <pc:spChg chg="mod">
          <ac:chgData name="Yousuf, Arsalan" userId="1f742cd1-60f2-4cc5-8102-e09412e517e3" providerId="ADAL" clId="{35A2B7D3-BB6C-422F-AF31-7DBA0CB14166}" dt="2023-12-27T03:29:18.675" v="2425" actId="1036"/>
          <ac:spMkLst>
            <pc:docMk/>
            <pc:sldMk cId="1508172130" sldId="2483"/>
            <ac:spMk id="193" creationId="{ABF5989B-902E-697F-84F0-3D43750E6D32}"/>
          </ac:spMkLst>
        </pc:spChg>
        <pc:spChg chg="mod">
          <ac:chgData name="Yousuf, Arsalan" userId="1f742cd1-60f2-4cc5-8102-e09412e517e3" providerId="ADAL" clId="{35A2B7D3-BB6C-422F-AF31-7DBA0CB14166}" dt="2023-12-27T03:29:18.675" v="2425" actId="1036"/>
          <ac:spMkLst>
            <pc:docMk/>
            <pc:sldMk cId="1508172130" sldId="2483"/>
            <ac:spMk id="194" creationId="{E3A90871-9081-11B0-ADE2-0AFDE80AA1C8}"/>
          </ac:spMkLst>
        </pc:spChg>
        <pc:spChg chg="mod">
          <ac:chgData name="Yousuf, Arsalan" userId="1f742cd1-60f2-4cc5-8102-e09412e517e3" providerId="ADAL" clId="{35A2B7D3-BB6C-422F-AF31-7DBA0CB14166}" dt="2023-12-27T03:29:18.675" v="2425" actId="1036"/>
          <ac:spMkLst>
            <pc:docMk/>
            <pc:sldMk cId="1508172130" sldId="2483"/>
            <ac:spMk id="195" creationId="{94F1C2AC-7C65-E615-1440-FDFA57FD9969}"/>
          </ac:spMkLst>
        </pc:spChg>
        <pc:spChg chg="mod">
          <ac:chgData name="Yousuf, Arsalan" userId="1f742cd1-60f2-4cc5-8102-e09412e517e3" providerId="ADAL" clId="{35A2B7D3-BB6C-422F-AF31-7DBA0CB14166}" dt="2023-12-27T03:29:18.675" v="2425" actId="1036"/>
          <ac:spMkLst>
            <pc:docMk/>
            <pc:sldMk cId="1508172130" sldId="2483"/>
            <ac:spMk id="196" creationId="{AD368D86-3616-158C-81AF-59E98294835A}"/>
          </ac:spMkLst>
        </pc:spChg>
        <pc:spChg chg="mod">
          <ac:chgData name="Yousuf, Arsalan" userId="1f742cd1-60f2-4cc5-8102-e09412e517e3" providerId="ADAL" clId="{35A2B7D3-BB6C-422F-AF31-7DBA0CB14166}" dt="2023-12-27T03:29:18.675" v="2425" actId="1036"/>
          <ac:spMkLst>
            <pc:docMk/>
            <pc:sldMk cId="1508172130" sldId="2483"/>
            <ac:spMk id="197" creationId="{D9535777-DCEB-44FD-D22E-00D245444660}"/>
          </ac:spMkLst>
        </pc:spChg>
        <pc:spChg chg="mod">
          <ac:chgData name="Yousuf, Arsalan" userId="1f742cd1-60f2-4cc5-8102-e09412e517e3" providerId="ADAL" clId="{35A2B7D3-BB6C-422F-AF31-7DBA0CB14166}" dt="2023-12-27T03:29:18.675" v="2425" actId="1036"/>
          <ac:spMkLst>
            <pc:docMk/>
            <pc:sldMk cId="1508172130" sldId="2483"/>
            <ac:spMk id="198" creationId="{469BAE48-27BF-321A-B230-F9EE5B247834}"/>
          </ac:spMkLst>
        </pc:spChg>
        <pc:spChg chg="mod">
          <ac:chgData name="Yousuf, Arsalan" userId="1f742cd1-60f2-4cc5-8102-e09412e517e3" providerId="ADAL" clId="{35A2B7D3-BB6C-422F-AF31-7DBA0CB14166}" dt="2023-12-27T03:29:18.675" v="2425" actId="1036"/>
          <ac:spMkLst>
            <pc:docMk/>
            <pc:sldMk cId="1508172130" sldId="2483"/>
            <ac:spMk id="199" creationId="{863FC923-1E9F-F91F-F6B3-791E856A6C9A}"/>
          </ac:spMkLst>
        </pc:spChg>
        <pc:spChg chg="mod">
          <ac:chgData name="Yousuf, Arsalan" userId="1f742cd1-60f2-4cc5-8102-e09412e517e3" providerId="ADAL" clId="{35A2B7D3-BB6C-422F-AF31-7DBA0CB14166}" dt="2023-12-27T03:29:18.675" v="2425" actId="1036"/>
          <ac:spMkLst>
            <pc:docMk/>
            <pc:sldMk cId="1508172130" sldId="2483"/>
            <ac:spMk id="200" creationId="{0574BE0E-C9A9-3B6A-9D10-101AB2F49CA4}"/>
          </ac:spMkLst>
        </pc:spChg>
        <pc:spChg chg="mod">
          <ac:chgData name="Yousuf, Arsalan" userId="1f742cd1-60f2-4cc5-8102-e09412e517e3" providerId="ADAL" clId="{35A2B7D3-BB6C-422F-AF31-7DBA0CB14166}" dt="2023-12-27T03:29:18.675" v="2425" actId="1036"/>
          <ac:spMkLst>
            <pc:docMk/>
            <pc:sldMk cId="1508172130" sldId="2483"/>
            <ac:spMk id="201" creationId="{5614407C-4D10-14E4-AEBC-826F76C70034}"/>
          </ac:spMkLst>
        </pc:spChg>
        <pc:spChg chg="mod">
          <ac:chgData name="Yousuf, Arsalan" userId="1f742cd1-60f2-4cc5-8102-e09412e517e3" providerId="ADAL" clId="{35A2B7D3-BB6C-422F-AF31-7DBA0CB14166}" dt="2023-12-27T03:29:18.675" v="2425" actId="1036"/>
          <ac:spMkLst>
            <pc:docMk/>
            <pc:sldMk cId="1508172130" sldId="2483"/>
            <ac:spMk id="202" creationId="{6AD1BA05-EC8D-F561-6F8B-A555B011DD85}"/>
          </ac:spMkLst>
        </pc:spChg>
        <pc:spChg chg="mod">
          <ac:chgData name="Yousuf, Arsalan" userId="1f742cd1-60f2-4cc5-8102-e09412e517e3" providerId="ADAL" clId="{35A2B7D3-BB6C-422F-AF31-7DBA0CB14166}" dt="2023-12-27T03:29:18.675" v="2425" actId="1036"/>
          <ac:spMkLst>
            <pc:docMk/>
            <pc:sldMk cId="1508172130" sldId="2483"/>
            <ac:spMk id="203" creationId="{E7F5FD5D-4645-EF8F-433C-C94D22C93CBE}"/>
          </ac:spMkLst>
        </pc:spChg>
        <pc:spChg chg="mod">
          <ac:chgData name="Yousuf, Arsalan" userId="1f742cd1-60f2-4cc5-8102-e09412e517e3" providerId="ADAL" clId="{35A2B7D3-BB6C-422F-AF31-7DBA0CB14166}" dt="2023-12-27T03:29:18.675" v="2425" actId="1036"/>
          <ac:spMkLst>
            <pc:docMk/>
            <pc:sldMk cId="1508172130" sldId="2483"/>
            <ac:spMk id="204" creationId="{8F4A7A42-1735-FF42-E284-3A093D530456}"/>
          </ac:spMkLst>
        </pc:spChg>
        <pc:spChg chg="mod">
          <ac:chgData name="Yousuf, Arsalan" userId="1f742cd1-60f2-4cc5-8102-e09412e517e3" providerId="ADAL" clId="{35A2B7D3-BB6C-422F-AF31-7DBA0CB14166}" dt="2023-12-27T03:29:18.675" v="2425" actId="1036"/>
          <ac:spMkLst>
            <pc:docMk/>
            <pc:sldMk cId="1508172130" sldId="2483"/>
            <ac:spMk id="205" creationId="{CDB23C9F-898A-0643-3CE4-930F849C5952}"/>
          </ac:spMkLst>
        </pc:spChg>
        <pc:spChg chg="mod">
          <ac:chgData name="Yousuf, Arsalan" userId="1f742cd1-60f2-4cc5-8102-e09412e517e3" providerId="ADAL" clId="{35A2B7D3-BB6C-422F-AF31-7DBA0CB14166}" dt="2023-12-27T03:29:18.675" v="2425" actId="1036"/>
          <ac:spMkLst>
            <pc:docMk/>
            <pc:sldMk cId="1508172130" sldId="2483"/>
            <ac:spMk id="206" creationId="{92642C17-9638-C624-C554-E7A2266272E1}"/>
          </ac:spMkLst>
        </pc:spChg>
        <pc:spChg chg="mod">
          <ac:chgData name="Yousuf, Arsalan" userId="1f742cd1-60f2-4cc5-8102-e09412e517e3" providerId="ADAL" clId="{35A2B7D3-BB6C-422F-AF31-7DBA0CB14166}" dt="2023-12-27T03:29:18.675" v="2425" actId="1036"/>
          <ac:spMkLst>
            <pc:docMk/>
            <pc:sldMk cId="1508172130" sldId="2483"/>
            <ac:spMk id="207" creationId="{95427BEC-77DC-F022-440B-402CD50F8A14}"/>
          </ac:spMkLst>
        </pc:spChg>
        <pc:spChg chg="mod">
          <ac:chgData name="Yousuf, Arsalan" userId="1f742cd1-60f2-4cc5-8102-e09412e517e3" providerId="ADAL" clId="{35A2B7D3-BB6C-422F-AF31-7DBA0CB14166}" dt="2023-12-27T03:29:18.675" v="2425" actId="1036"/>
          <ac:spMkLst>
            <pc:docMk/>
            <pc:sldMk cId="1508172130" sldId="2483"/>
            <ac:spMk id="208" creationId="{BE2B5574-B2C3-C399-9A69-C7D15F166C60}"/>
          </ac:spMkLst>
        </pc:spChg>
        <pc:spChg chg="add del mod">
          <ac:chgData name="Yousuf, Arsalan" userId="1f742cd1-60f2-4cc5-8102-e09412e517e3" providerId="ADAL" clId="{35A2B7D3-BB6C-422F-AF31-7DBA0CB14166}" dt="2023-12-27T03:29:18.675" v="2425" actId="1036"/>
          <ac:spMkLst>
            <pc:docMk/>
            <pc:sldMk cId="1508172130" sldId="2483"/>
            <ac:spMk id="209" creationId="{BDF9F795-5C29-EA69-47F4-E9FEDC046003}"/>
          </ac:spMkLst>
        </pc:spChg>
        <pc:spChg chg="add del mod">
          <ac:chgData name="Yousuf, Arsalan" userId="1f742cd1-60f2-4cc5-8102-e09412e517e3" providerId="ADAL" clId="{35A2B7D3-BB6C-422F-AF31-7DBA0CB14166}" dt="2023-12-27T03:29:18.675" v="2425" actId="1036"/>
          <ac:spMkLst>
            <pc:docMk/>
            <pc:sldMk cId="1508172130" sldId="2483"/>
            <ac:spMk id="210" creationId="{E18688CD-0F18-68EC-7AA8-0922A9D047AE}"/>
          </ac:spMkLst>
        </pc:spChg>
        <pc:spChg chg="add del mod">
          <ac:chgData name="Yousuf, Arsalan" userId="1f742cd1-60f2-4cc5-8102-e09412e517e3" providerId="ADAL" clId="{35A2B7D3-BB6C-422F-AF31-7DBA0CB14166}" dt="2023-12-27T03:29:18.675" v="2425" actId="1036"/>
          <ac:spMkLst>
            <pc:docMk/>
            <pc:sldMk cId="1508172130" sldId="2483"/>
            <ac:spMk id="211" creationId="{AF6019EB-5FB4-C574-E4BC-EDC0DDD621AB}"/>
          </ac:spMkLst>
        </pc:spChg>
        <pc:spChg chg="add del mod">
          <ac:chgData name="Yousuf, Arsalan" userId="1f742cd1-60f2-4cc5-8102-e09412e517e3" providerId="ADAL" clId="{35A2B7D3-BB6C-422F-AF31-7DBA0CB14166}" dt="2023-12-27T03:29:18.675" v="2425" actId="1036"/>
          <ac:spMkLst>
            <pc:docMk/>
            <pc:sldMk cId="1508172130" sldId="2483"/>
            <ac:spMk id="212" creationId="{FEFB4025-847A-8AFB-83E7-FE44CBBBBF45}"/>
          </ac:spMkLst>
        </pc:spChg>
        <pc:spChg chg="add del mod">
          <ac:chgData name="Yousuf, Arsalan" userId="1f742cd1-60f2-4cc5-8102-e09412e517e3" providerId="ADAL" clId="{35A2B7D3-BB6C-422F-AF31-7DBA0CB14166}" dt="2023-12-27T03:29:47.549" v="2447" actId="478"/>
          <ac:spMkLst>
            <pc:docMk/>
            <pc:sldMk cId="1508172130" sldId="2483"/>
            <ac:spMk id="214" creationId="{37289D2A-3C61-E745-2CA0-FC6229FDC5CD}"/>
          </ac:spMkLst>
        </pc:spChg>
        <pc:spChg chg="add del mod">
          <ac:chgData name="Yousuf, Arsalan" userId="1f742cd1-60f2-4cc5-8102-e09412e517e3" providerId="ADAL" clId="{35A2B7D3-BB6C-422F-AF31-7DBA0CB14166}" dt="2023-12-27T03:29:47.549" v="2447" actId="478"/>
          <ac:spMkLst>
            <pc:docMk/>
            <pc:sldMk cId="1508172130" sldId="2483"/>
            <ac:spMk id="215" creationId="{5A554CC7-A1FA-D7E2-65DC-8EABCEF8DB32}"/>
          </ac:spMkLst>
        </pc:spChg>
        <pc:spChg chg="add mod">
          <ac:chgData name="Yousuf, Arsalan" userId="1f742cd1-60f2-4cc5-8102-e09412e517e3" providerId="ADAL" clId="{35A2B7D3-BB6C-422F-AF31-7DBA0CB14166}" dt="2023-12-27T03:29:47.837" v="2448"/>
          <ac:spMkLst>
            <pc:docMk/>
            <pc:sldMk cId="1508172130" sldId="2483"/>
            <ac:spMk id="216" creationId="{E0783483-41C0-EA3C-C261-17C3502C06B3}"/>
          </ac:spMkLst>
        </pc:spChg>
        <pc:spChg chg="mod">
          <ac:chgData name="Yousuf, Arsalan" userId="1f742cd1-60f2-4cc5-8102-e09412e517e3" providerId="ADAL" clId="{35A2B7D3-BB6C-422F-AF31-7DBA0CB14166}" dt="2023-12-27T03:29:47.837" v="2448"/>
          <ac:spMkLst>
            <pc:docMk/>
            <pc:sldMk cId="1508172130" sldId="2483"/>
            <ac:spMk id="218" creationId="{B661001D-2F45-871C-3DA1-04F0ED95D14A}"/>
          </ac:spMkLst>
        </pc:spChg>
        <pc:spChg chg="mod">
          <ac:chgData name="Yousuf, Arsalan" userId="1f742cd1-60f2-4cc5-8102-e09412e517e3" providerId="ADAL" clId="{35A2B7D3-BB6C-422F-AF31-7DBA0CB14166}" dt="2023-12-27T03:29:47.837" v="2448"/>
          <ac:spMkLst>
            <pc:docMk/>
            <pc:sldMk cId="1508172130" sldId="2483"/>
            <ac:spMk id="219" creationId="{DD3A8379-7C85-9AA8-0EAE-464F18ED6876}"/>
          </ac:spMkLst>
        </pc:spChg>
        <pc:grpChg chg="del mod">
          <ac:chgData name="Yousuf, Arsalan" userId="1f742cd1-60f2-4cc5-8102-e09412e517e3" providerId="ADAL" clId="{35A2B7D3-BB6C-422F-AF31-7DBA0CB14166}" dt="2023-12-25T22:08:43.739" v="1161" actId="165"/>
          <ac:grpSpMkLst>
            <pc:docMk/>
            <pc:sldMk cId="1508172130" sldId="2483"/>
            <ac:grpSpMk id="2" creationId="{461EB298-8261-4CC3-BD55-17B3EC8182B9}"/>
          </ac:grpSpMkLst>
        </pc:grpChg>
        <pc:grpChg chg="add del mod">
          <ac:chgData name="Yousuf, Arsalan" userId="1f742cd1-60f2-4cc5-8102-e09412e517e3" providerId="ADAL" clId="{35A2B7D3-BB6C-422F-AF31-7DBA0CB14166}" dt="2023-12-25T22:09:25.575" v="1184" actId="165"/>
          <ac:grpSpMkLst>
            <pc:docMk/>
            <pc:sldMk cId="1508172130" sldId="2483"/>
            <ac:grpSpMk id="3" creationId="{76D27A03-8EB7-BF4E-46B8-31FF793002A4}"/>
          </ac:grpSpMkLst>
        </pc:grpChg>
        <pc:grpChg chg="add del mod">
          <ac:chgData name="Yousuf, Arsalan" userId="1f742cd1-60f2-4cc5-8102-e09412e517e3" providerId="ADAL" clId="{35A2B7D3-BB6C-422F-AF31-7DBA0CB14166}" dt="2023-12-25T22:13:31.764" v="1418" actId="478"/>
          <ac:grpSpMkLst>
            <pc:docMk/>
            <pc:sldMk cId="1508172130" sldId="2483"/>
            <ac:grpSpMk id="4" creationId="{EBD53435-1E19-73E7-A0CA-F04A24102F39}"/>
          </ac:grpSpMkLst>
        </pc:grpChg>
        <pc:grpChg chg="add del mod topLvl">
          <ac:chgData name="Yousuf, Arsalan" userId="1f742cd1-60f2-4cc5-8102-e09412e517e3" providerId="ADAL" clId="{35A2B7D3-BB6C-422F-AF31-7DBA0CB14166}" dt="2023-12-25T22:12:38.141" v="1383" actId="478"/>
          <ac:grpSpMkLst>
            <pc:docMk/>
            <pc:sldMk cId="1508172130" sldId="2483"/>
            <ac:grpSpMk id="7" creationId="{4AFB1F2E-3047-4222-B035-E38F9996AB25}"/>
          </ac:grpSpMkLst>
        </pc:grpChg>
        <pc:grpChg chg="add del mod topLvl">
          <ac:chgData name="Yousuf, Arsalan" userId="1f742cd1-60f2-4cc5-8102-e09412e517e3" providerId="ADAL" clId="{35A2B7D3-BB6C-422F-AF31-7DBA0CB14166}" dt="2023-12-25T22:13:10.614" v="1415" actId="478"/>
          <ac:grpSpMkLst>
            <pc:docMk/>
            <pc:sldMk cId="1508172130" sldId="2483"/>
            <ac:grpSpMk id="34" creationId="{18405223-CCDE-4A27-BBA4-A29F0A1592A0}"/>
          </ac:grpSpMkLst>
        </pc:grpChg>
        <pc:grpChg chg="add mod">
          <ac:chgData name="Yousuf, Arsalan" userId="1f742cd1-60f2-4cc5-8102-e09412e517e3" providerId="ADAL" clId="{35A2B7D3-BB6C-422F-AF31-7DBA0CB14166}" dt="2023-12-27T03:30:03.765" v="2449" actId="1076"/>
          <ac:grpSpMkLst>
            <pc:docMk/>
            <pc:sldMk cId="1508172130" sldId="2483"/>
            <ac:grpSpMk id="45" creationId="{9060EDD5-77A7-A3CD-4A16-C90EA953165B}"/>
          </ac:grpSpMkLst>
        </pc:grpChg>
        <pc:grpChg chg="add del mod topLvl">
          <ac:chgData name="Yousuf, Arsalan" userId="1f742cd1-60f2-4cc5-8102-e09412e517e3" providerId="ADAL" clId="{35A2B7D3-BB6C-422F-AF31-7DBA0CB14166}" dt="2023-12-25T22:12:38.826" v="1384" actId="478"/>
          <ac:grpSpMkLst>
            <pc:docMk/>
            <pc:sldMk cId="1508172130" sldId="2483"/>
            <ac:grpSpMk id="48" creationId="{88420CBB-085F-4C21-84E5-78501045E0F9}"/>
          </ac:grpSpMkLst>
        </pc:grpChg>
        <pc:grpChg chg="add del mod">
          <ac:chgData name="Yousuf, Arsalan" userId="1f742cd1-60f2-4cc5-8102-e09412e517e3" providerId="ADAL" clId="{35A2B7D3-BB6C-422F-AF31-7DBA0CB14166}" dt="2023-12-25T22:26:09.272" v="1478" actId="478"/>
          <ac:grpSpMkLst>
            <pc:docMk/>
            <pc:sldMk cId="1508172130" sldId="2483"/>
            <ac:grpSpMk id="60" creationId="{CC2B133C-D801-EEEA-0EC3-C5CD9738DAFA}"/>
          </ac:grpSpMkLst>
        </pc:grpChg>
        <pc:grpChg chg="add del mod topLvl">
          <ac:chgData name="Yousuf, Arsalan" userId="1f742cd1-60f2-4cc5-8102-e09412e517e3" providerId="ADAL" clId="{35A2B7D3-BB6C-422F-AF31-7DBA0CB14166}" dt="2023-12-25T22:13:31.764" v="1418" actId="478"/>
          <ac:grpSpMkLst>
            <pc:docMk/>
            <pc:sldMk cId="1508172130" sldId="2483"/>
            <ac:grpSpMk id="61" creationId="{915FFE4F-C869-44F2-8604-74677F4B0DED}"/>
          </ac:grpSpMkLst>
        </pc:grpChg>
        <pc:grpChg chg="add del mod topLvl">
          <ac:chgData name="Yousuf, Arsalan" userId="1f742cd1-60f2-4cc5-8102-e09412e517e3" providerId="ADAL" clId="{35A2B7D3-BB6C-422F-AF31-7DBA0CB14166}" dt="2023-12-25T22:13:31.764" v="1418" actId="478"/>
          <ac:grpSpMkLst>
            <pc:docMk/>
            <pc:sldMk cId="1508172130" sldId="2483"/>
            <ac:grpSpMk id="66" creationId="{F1611AA1-1FD4-40BF-8870-EB0DE71B8F72}"/>
          </ac:grpSpMkLst>
        </pc:grpChg>
        <pc:grpChg chg="add del mod topLvl">
          <ac:chgData name="Yousuf, Arsalan" userId="1f742cd1-60f2-4cc5-8102-e09412e517e3" providerId="ADAL" clId="{35A2B7D3-BB6C-422F-AF31-7DBA0CB14166}" dt="2023-12-25T22:13:31.764" v="1418" actId="478"/>
          <ac:grpSpMkLst>
            <pc:docMk/>
            <pc:sldMk cId="1508172130" sldId="2483"/>
            <ac:grpSpMk id="79" creationId="{66BEFCB5-538A-4027-A9E3-423D46197727}"/>
          </ac:grpSpMkLst>
        </pc:grpChg>
        <pc:grpChg chg="add del mod topLvl">
          <ac:chgData name="Yousuf, Arsalan" userId="1f742cd1-60f2-4cc5-8102-e09412e517e3" providerId="ADAL" clId="{35A2B7D3-BB6C-422F-AF31-7DBA0CB14166}" dt="2023-12-25T22:11:11.119" v="1224" actId="165"/>
          <ac:grpSpMkLst>
            <pc:docMk/>
            <pc:sldMk cId="1508172130" sldId="2483"/>
            <ac:grpSpMk id="87" creationId="{DAC424D6-68BD-4C72-8ABD-EF696EA32C8F}"/>
          </ac:grpSpMkLst>
        </pc:grpChg>
        <pc:grpChg chg="add del mod">
          <ac:chgData name="Yousuf, Arsalan" userId="1f742cd1-60f2-4cc5-8102-e09412e517e3" providerId="ADAL" clId="{35A2B7D3-BB6C-422F-AF31-7DBA0CB14166}" dt="2023-12-27T03:29:43.793" v="2446" actId="478"/>
          <ac:grpSpMkLst>
            <pc:docMk/>
            <pc:sldMk cId="1508172130" sldId="2483"/>
            <ac:grpSpMk id="90" creationId="{4B9DC209-A6CF-42F0-AF7A-BD79A237BA78}"/>
          </ac:grpSpMkLst>
        </pc:grpChg>
        <pc:grpChg chg="add del mod topLvl">
          <ac:chgData name="Yousuf, Arsalan" userId="1f742cd1-60f2-4cc5-8102-e09412e517e3" providerId="ADAL" clId="{35A2B7D3-BB6C-422F-AF31-7DBA0CB14166}" dt="2023-12-25T22:13:31.764" v="1418" actId="478"/>
          <ac:grpSpMkLst>
            <pc:docMk/>
            <pc:sldMk cId="1508172130" sldId="2483"/>
            <ac:grpSpMk id="93" creationId="{718E1F60-B4BE-433D-9D3C-F0D78384E14C}"/>
          </ac:grpSpMkLst>
        </pc:grpChg>
        <pc:grpChg chg="add del mod topLvl">
          <ac:chgData name="Yousuf, Arsalan" userId="1f742cd1-60f2-4cc5-8102-e09412e517e3" providerId="ADAL" clId="{35A2B7D3-BB6C-422F-AF31-7DBA0CB14166}" dt="2023-12-25T22:13:31.764" v="1418" actId="478"/>
          <ac:grpSpMkLst>
            <pc:docMk/>
            <pc:sldMk cId="1508172130" sldId="2483"/>
            <ac:grpSpMk id="96" creationId="{94D2491B-4372-4153-998F-DD6E32B5BF18}"/>
          </ac:grpSpMkLst>
        </pc:grpChg>
        <pc:grpChg chg="add del mod topLvl">
          <ac:chgData name="Yousuf, Arsalan" userId="1f742cd1-60f2-4cc5-8102-e09412e517e3" providerId="ADAL" clId="{35A2B7D3-BB6C-422F-AF31-7DBA0CB14166}" dt="2023-12-25T22:13:31.764" v="1418" actId="478"/>
          <ac:grpSpMkLst>
            <pc:docMk/>
            <pc:sldMk cId="1508172130" sldId="2483"/>
            <ac:grpSpMk id="100" creationId="{EB70202E-88FB-49C8-BF2D-29894727C3AF}"/>
          </ac:grpSpMkLst>
        </pc:grpChg>
        <pc:grpChg chg="mod">
          <ac:chgData name="Yousuf, Arsalan" userId="1f742cd1-60f2-4cc5-8102-e09412e517e3" providerId="ADAL" clId="{35A2B7D3-BB6C-422F-AF31-7DBA0CB14166}" dt="2023-12-25T22:25:28.981" v="1434"/>
          <ac:grpSpMkLst>
            <pc:docMk/>
            <pc:sldMk cId="1508172130" sldId="2483"/>
            <ac:grpSpMk id="109" creationId="{B3A299A0-7752-2A04-BD51-9112608A1FE4}"/>
          </ac:grpSpMkLst>
        </pc:grpChg>
        <pc:grpChg chg="mod">
          <ac:chgData name="Yousuf, Arsalan" userId="1f742cd1-60f2-4cc5-8102-e09412e517e3" providerId="ADAL" clId="{35A2B7D3-BB6C-422F-AF31-7DBA0CB14166}" dt="2023-12-25T22:25:28.981" v="1434"/>
          <ac:grpSpMkLst>
            <pc:docMk/>
            <pc:sldMk cId="1508172130" sldId="2483"/>
            <ac:grpSpMk id="110" creationId="{DAF6C38F-7CE9-4529-1C89-D6FC04A60EA2}"/>
          </ac:grpSpMkLst>
        </pc:grpChg>
        <pc:grpChg chg="mod">
          <ac:chgData name="Yousuf, Arsalan" userId="1f742cd1-60f2-4cc5-8102-e09412e517e3" providerId="ADAL" clId="{35A2B7D3-BB6C-422F-AF31-7DBA0CB14166}" dt="2023-12-25T22:25:28.981" v="1434"/>
          <ac:grpSpMkLst>
            <pc:docMk/>
            <pc:sldMk cId="1508172130" sldId="2483"/>
            <ac:grpSpMk id="111" creationId="{7FE5E8EF-E547-9E42-B688-EB62AD7B4FFA}"/>
          </ac:grpSpMkLst>
        </pc:grpChg>
        <pc:grpChg chg="mod">
          <ac:chgData name="Yousuf, Arsalan" userId="1f742cd1-60f2-4cc5-8102-e09412e517e3" providerId="ADAL" clId="{35A2B7D3-BB6C-422F-AF31-7DBA0CB14166}" dt="2023-12-25T22:25:28.981" v="1434"/>
          <ac:grpSpMkLst>
            <pc:docMk/>
            <pc:sldMk cId="1508172130" sldId="2483"/>
            <ac:grpSpMk id="116" creationId="{F487E171-7BB2-F37D-5FE8-1EDA9F54A108}"/>
          </ac:grpSpMkLst>
        </pc:grpChg>
        <pc:grpChg chg="mod">
          <ac:chgData name="Yousuf, Arsalan" userId="1f742cd1-60f2-4cc5-8102-e09412e517e3" providerId="ADAL" clId="{35A2B7D3-BB6C-422F-AF31-7DBA0CB14166}" dt="2023-12-25T22:25:28.981" v="1434"/>
          <ac:grpSpMkLst>
            <pc:docMk/>
            <pc:sldMk cId="1508172130" sldId="2483"/>
            <ac:grpSpMk id="126" creationId="{BADCC973-7F8E-047B-75BB-E3913A1E14BB}"/>
          </ac:grpSpMkLst>
        </pc:grpChg>
        <pc:grpChg chg="mod">
          <ac:chgData name="Yousuf, Arsalan" userId="1f742cd1-60f2-4cc5-8102-e09412e517e3" providerId="ADAL" clId="{35A2B7D3-BB6C-422F-AF31-7DBA0CB14166}" dt="2023-12-25T22:25:28.981" v="1434"/>
          <ac:grpSpMkLst>
            <pc:docMk/>
            <pc:sldMk cId="1508172130" sldId="2483"/>
            <ac:grpSpMk id="128" creationId="{D4CE0572-BB24-C445-A5CD-ED48FA0560E6}"/>
          </ac:grpSpMkLst>
        </pc:grpChg>
        <pc:grpChg chg="mod">
          <ac:chgData name="Yousuf, Arsalan" userId="1f742cd1-60f2-4cc5-8102-e09412e517e3" providerId="ADAL" clId="{35A2B7D3-BB6C-422F-AF31-7DBA0CB14166}" dt="2023-12-25T22:25:28.981" v="1434"/>
          <ac:grpSpMkLst>
            <pc:docMk/>
            <pc:sldMk cId="1508172130" sldId="2483"/>
            <ac:grpSpMk id="133" creationId="{95D9AD80-2662-4A46-B2B1-08BDDFDDA86C}"/>
          </ac:grpSpMkLst>
        </pc:grpChg>
        <pc:grpChg chg="mod">
          <ac:chgData name="Yousuf, Arsalan" userId="1f742cd1-60f2-4cc5-8102-e09412e517e3" providerId="ADAL" clId="{35A2B7D3-BB6C-422F-AF31-7DBA0CB14166}" dt="2023-12-25T22:25:28.981" v="1434"/>
          <ac:grpSpMkLst>
            <pc:docMk/>
            <pc:sldMk cId="1508172130" sldId="2483"/>
            <ac:grpSpMk id="138" creationId="{596CAFD1-7043-9631-9C2A-00B175757DF4}"/>
          </ac:grpSpMkLst>
        </pc:grpChg>
        <pc:grpChg chg="mod">
          <ac:chgData name="Yousuf, Arsalan" userId="1f742cd1-60f2-4cc5-8102-e09412e517e3" providerId="ADAL" clId="{35A2B7D3-BB6C-422F-AF31-7DBA0CB14166}" dt="2023-12-25T22:25:28.981" v="1434"/>
          <ac:grpSpMkLst>
            <pc:docMk/>
            <pc:sldMk cId="1508172130" sldId="2483"/>
            <ac:grpSpMk id="144" creationId="{CB3FA22B-9F87-F632-37B2-99B3D1B60710}"/>
          </ac:grpSpMkLst>
        </pc:grpChg>
        <pc:grpChg chg="add del mod">
          <ac:chgData name="Yousuf, Arsalan" userId="1f742cd1-60f2-4cc5-8102-e09412e517e3" providerId="ADAL" clId="{35A2B7D3-BB6C-422F-AF31-7DBA0CB14166}" dt="2023-12-25T22:26:53.860" v="1481" actId="478"/>
          <ac:grpSpMkLst>
            <pc:docMk/>
            <pc:sldMk cId="1508172130" sldId="2483"/>
            <ac:grpSpMk id="149" creationId="{DEECD693-CFEC-4CCC-CCDA-7499C3B62E62}"/>
          </ac:grpSpMkLst>
        </pc:grpChg>
        <pc:grpChg chg="mod">
          <ac:chgData name="Yousuf, Arsalan" userId="1f742cd1-60f2-4cc5-8102-e09412e517e3" providerId="ADAL" clId="{35A2B7D3-BB6C-422F-AF31-7DBA0CB14166}" dt="2023-12-25T22:26:53.435" v="1480" actId="1076"/>
          <ac:grpSpMkLst>
            <pc:docMk/>
            <pc:sldMk cId="1508172130" sldId="2483"/>
            <ac:grpSpMk id="150" creationId="{DCEBABF4-C482-97B4-4771-C5B5E62491B1}"/>
          </ac:grpSpMkLst>
        </pc:grpChg>
        <pc:grpChg chg="mod">
          <ac:chgData name="Yousuf, Arsalan" userId="1f742cd1-60f2-4cc5-8102-e09412e517e3" providerId="ADAL" clId="{35A2B7D3-BB6C-422F-AF31-7DBA0CB14166}" dt="2023-12-25T22:26:53.435" v="1480" actId="1076"/>
          <ac:grpSpMkLst>
            <pc:docMk/>
            <pc:sldMk cId="1508172130" sldId="2483"/>
            <ac:grpSpMk id="155" creationId="{6BCE0B4B-9F93-EFC8-3BBF-94703F6DF231}"/>
          </ac:grpSpMkLst>
        </pc:grpChg>
        <pc:grpChg chg="mod">
          <ac:chgData name="Yousuf, Arsalan" userId="1f742cd1-60f2-4cc5-8102-e09412e517e3" providerId="ADAL" clId="{35A2B7D3-BB6C-422F-AF31-7DBA0CB14166}" dt="2023-12-25T22:26:53.435" v="1480" actId="1076"/>
          <ac:grpSpMkLst>
            <pc:docMk/>
            <pc:sldMk cId="1508172130" sldId="2483"/>
            <ac:grpSpMk id="158" creationId="{A238E645-2235-9B50-B802-896EA5587E16}"/>
          </ac:grpSpMkLst>
        </pc:grpChg>
        <pc:grpChg chg="add del mod">
          <ac:chgData name="Yousuf, Arsalan" userId="1f742cd1-60f2-4cc5-8102-e09412e517e3" providerId="ADAL" clId="{35A2B7D3-BB6C-422F-AF31-7DBA0CB14166}" dt="2023-12-27T03:29:18.675" v="2425" actId="1036"/>
          <ac:grpSpMkLst>
            <pc:docMk/>
            <pc:sldMk cId="1508172130" sldId="2483"/>
            <ac:grpSpMk id="180" creationId="{EFF5BF09-38A6-67AE-26EC-AB008A05694D}"/>
          </ac:grpSpMkLst>
        </pc:grpChg>
        <pc:grpChg chg="mod">
          <ac:chgData name="Yousuf, Arsalan" userId="1f742cd1-60f2-4cc5-8102-e09412e517e3" providerId="ADAL" clId="{35A2B7D3-BB6C-422F-AF31-7DBA0CB14166}" dt="2023-12-27T03:29:18.675" v="2425" actId="1036"/>
          <ac:grpSpMkLst>
            <pc:docMk/>
            <pc:sldMk cId="1508172130" sldId="2483"/>
            <ac:grpSpMk id="181" creationId="{449568E7-4DA8-18B0-2793-F7F460A43505}"/>
          </ac:grpSpMkLst>
        </pc:grpChg>
        <pc:grpChg chg="mod">
          <ac:chgData name="Yousuf, Arsalan" userId="1f742cd1-60f2-4cc5-8102-e09412e517e3" providerId="ADAL" clId="{35A2B7D3-BB6C-422F-AF31-7DBA0CB14166}" dt="2023-12-27T03:29:18.675" v="2425" actId="1036"/>
          <ac:grpSpMkLst>
            <pc:docMk/>
            <pc:sldMk cId="1508172130" sldId="2483"/>
            <ac:grpSpMk id="186" creationId="{3ED5FF6C-067F-B239-AFBD-D57EE4BD3EF4}"/>
          </ac:grpSpMkLst>
        </pc:grpChg>
        <pc:grpChg chg="mod">
          <ac:chgData name="Yousuf, Arsalan" userId="1f742cd1-60f2-4cc5-8102-e09412e517e3" providerId="ADAL" clId="{35A2B7D3-BB6C-422F-AF31-7DBA0CB14166}" dt="2023-12-27T03:29:18.675" v="2425" actId="1036"/>
          <ac:grpSpMkLst>
            <pc:docMk/>
            <pc:sldMk cId="1508172130" sldId="2483"/>
            <ac:grpSpMk id="189" creationId="{0AD65300-C789-8E39-5D8F-409DF016CCB8}"/>
          </ac:grpSpMkLst>
        </pc:grpChg>
        <pc:grpChg chg="add mod">
          <ac:chgData name="Yousuf, Arsalan" userId="1f742cd1-60f2-4cc5-8102-e09412e517e3" providerId="ADAL" clId="{35A2B7D3-BB6C-422F-AF31-7DBA0CB14166}" dt="2023-12-27T03:29:18.675" v="2425" actId="1036"/>
          <ac:grpSpMkLst>
            <pc:docMk/>
            <pc:sldMk cId="1508172130" sldId="2483"/>
            <ac:grpSpMk id="213" creationId="{8A52F878-3649-0EF9-0427-D54E930A100B}"/>
          </ac:grpSpMkLst>
        </pc:grpChg>
        <pc:grpChg chg="add mod">
          <ac:chgData name="Yousuf, Arsalan" userId="1f742cd1-60f2-4cc5-8102-e09412e517e3" providerId="ADAL" clId="{35A2B7D3-BB6C-422F-AF31-7DBA0CB14166}" dt="2023-12-27T03:29:47.837" v="2448"/>
          <ac:grpSpMkLst>
            <pc:docMk/>
            <pc:sldMk cId="1508172130" sldId="2483"/>
            <ac:grpSpMk id="217" creationId="{B91F26A5-2937-CCC3-416C-13ED84B9E920}"/>
          </ac:grpSpMkLst>
        </pc:grpChg>
        <pc:cxnChg chg="add del mod topLvl">
          <ac:chgData name="Yousuf, Arsalan" userId="1f742cd1-60f2-4cc5-8102-e09412e517e3" providerId="ADAL" clId="{35A2B7D3-BB6C-422F-AF31-7DBA0CB14166}" dt="2023-12-25T22:13:31.764" v="1418" actId="478"/>
          <ac:cxnSpMkLst>
            <pc:docMk/>
            <pc:sldMk cId="1508172130" sldId="2483"/>
            <ac:cxnSpMk id="29" creationId="{E40508BF-7F8E-4F27-8E8B-692E7BCB5B0B}"/>
          </ac:cxnSpMkLst>
        </pc:cxnChg>
        <pc:cxnChg chg="add del mod topLvl">
          <ac:chgData name="Yousuf, Arsalan" userId="1f742cd1-60f2-4cc5-8102-e09412e517e3" providerId="ADAL" clId="{35A2B7D3-BB6C-422F-AF31-7DBA0CB14166}" dt="2023-12-25T22:13:31.764" v="1418" actId="478"/>
          <ac:cxnSpMkLst>
            <pc:docMk/>
            <pc:sldMk cId="1508172130" sldId="2483"/>
            <ac:cxnSpMk id="30" creationId="{C55AD61D-533A-496E-956F-0209FEF24765}"/>
          </ac:cxnSpMkLst>
        </pc:cxnChg>
        <pc:cxnChg chg="add del mod topLvl">
          <ac:chgData name="Yousuf, Arsalan" userId="1f742cd1-60f2-4cc5-8102-e09412e517e3" providerId="ADAL" clId="{35A2B7D3-BB6C-422F-AF31-7DBA0CB14166}" dt="2023-12-25T22:13:10.614" v="1415" actId="478"/>
          <ac:cxnSpMkLst>
            <pc:docMk/>
            <pc:sldMk cId="1508172130" sldId="2483"/>
            <ac:cxnSpMk id="32" creationId="{5E0FD89D-B8E8-4A21-987F-68A96FEEB04A}"/>
          </ac:cxnSpMkLst>
        </pc:cxnChg>
        <pc:cxnChg chg="add del mod topLvl">
          <ac:chgData name="Yousuf, Arsalan" userId="1f742cd1-60f2-4cc5-8102-e09412e517e3" providerId="ADAL" clId="{35A2B7D3-BB6C-422F-AF31-7DBA0CB14166}" dt="2023-12-25T22:13:31.764" v="1418" actId="478"/>
          <ac:cxnSpMkLst>
            <pc:docMk/>
            <pc:sldMk cId="1508172130" sldId="2483"/>
            <ac:cxnSpMk id="33" creationId="{B7A90F92-EF1D-43F2-9B4B-4F1A2C0BD159}"/>
          </ac:cxnSpMkLst>
        </pc:cxnChg>
        <pc:cxnChg chg="mod">
          <ac:chgData name="Yousuf, Arsalan" userId="1f742cd1-60f2-4cc5-8102-e09412e517e3" providerId="ADAL" clId="{35A2B7D3-BB6C-422F-AF31-7DBA0CB14166}" dt="2023-12-25T22:09:25.575" v="1184" actId="165"/>
          <ac:cxnSpMkLst>
            <pc:docMk/>
            <pc:sldMk cId="1508172130" sldId="2483"/>
            <ac:cxnSpMk id="49" creationId="{779D5DEC-5E78-4D11-94A9-E0792739306B}"/>
          </ac:cxnSpMkLst>
        </pc:cxnChg>
        <pc:cxnChg chg="mod">
          <ac:chgData name="Yousuf, Arsalan" userId="1f742cd1-60f2-4cc5-8102-e09412e517e3" providerId="ADAL" clId="{35A2B7D3-BB6C-422F-AF31-7DBA0CB14166}" dt="2023-12-25T22:09:25.575" v="1184" actId="165"/>
          <ac:cxnSpMkLst>
            <pc:docMk/>
            <pc:sldMk cId="1508172130" sldId="2483"/>
            <ac:cxnSpMk id="50" creationId="{53C97F5C-A447-455E-B09F-DE8AB8288713}"/>
          </ac:cxnSpMkLst>
        </pc:cxnChg>
        <pc:cxnChg chg="mod">
          <ac:chgData name="Yousuf, Arsalan" userId="1f742cd1-60f2-4cc5-8102-e09412e517e3" providerId="ADAL" clId="{35A2B7D3-BB6C-422F-AF31-7DBA0CB14166}" dt="2023-12-25T22:09:25.575" v="1184" actId="165"/>
          <ac:cxnSpMkLst>
            <pc:docMk/>
            <pc:sldMk cId="1508172130" sldId="2483"/>
            <ac:cxnSpMk id="51" creationId="{1A6AD757-1BE4-47A3-91DC-1162C9206175}"/>
          </ac:cxnSpMkLst>
        </pc:cxnChg>
        <pc:cxnChg chg="mod">
          <ac:chgData name="Yousuf, Arsalan" userId="1f742cd1-60f2-4cc5-8102-e09412e517e3" providerId="ADAL" clId="{35A2B7D3-BB6C-422F-AF31-7DBA0CB14166}" dt="2023-12-25T22:09:25.575" v="1184" actId="165"/>
          <ac:cxnSpMkLst>
            <pc:docMk/>
            <pc:sldMk cId="1508172130" sldId="2483"/>
            <ac:cxnSpMk id="52" creationId="{6CB41644-D0F4-45A3-AE83-9582BACBDC04}"/>
          </ac:cxnSpMkLst>
        </pc:cxnChg>
        <pc:cxnChg chg="mod">
          <ac:chgData name="Yousuf, Arsalan" userId="1f742cd1-60f2-4cc5-8102-e09412e517e3" providerId="ADAL" clId="{35A2B7D3-BB6C-422F-AF31-7DBA0CB14166}" dt="2023-12-25T22:09:25.575" v="1184" actId="165"/>
          <ac:cxnSpMkLst>
            <pc:docMk/>
            <pc:sldMk cId="1508172130" sldId="2483"/>
            <ac:cxnSpMk id="53" creationId="{C82B16D9-9301-4B30-8B3C-0C71545888B8}"/>
          </ac:cxnSpMkLst>
        </pc:cxnChg>
        <pc:cxnChg chg="mod">
          <ac:chgData name="Yousuf, Arsalan" userId="1f742cd1-60f2-4cc5-8102-e09412e517e3" providerId="ADAL" clId="{35A2B7D3-BB6C-422F-AF31-7DBA0CB14166}" dt="2023-12-25T22:09:25.575" v="1184" actId="165"/>
          <ac:cxnSpMkLst>
            <pc:docMk/>
            <pc:sldMk cId="1508172130" sldId="2483"/>
            <ac:cxnSpMk id="54" creationId="{7BEE2050-A45D-4D5E-9650-B9781CAC1DB2}"/>
          </ac:cxnSpMkLst>
        </pc:cxnChg>
        <pc:cxnChg chg="mod">
          <ac:chgData name="Yousuf, Arsalan" userId="1f742cd1-60f2-4cc5-8102-e09412e517e3" providerId="ADAL" clId="{35A2B7D3-BB6C-422F-AF31-7DBA0CB14166}" dt="2023-12-25T22:09:25.575" v="1184" actId="165"/>
          <ac:cxnSpMkLst>
            <pc:docMk/>
            <pc:sldMk cId="1508172130" sldId="2483"/>
            <ac:cxnSpMk id="55" creationId="{DD3555F5-C730-4983-AF65-64A1971BCD4A}"/>
          </ac:cxnSpMkLst>
        </pc:cxnChg>
        <pc:cxnChg chg="add del mod topLvl">
          <ac:chgData name="Yousuf, Arsalan" userId="1f742cd1-60f2-4cc5-8102-e09412e517e3" providerId="ADAL" clId="{35A2B7D3-BB6C-422F-AF31-7DBA0CB14166}" dt="2023-12-25T22:13:31.764" v="1418" actId="478"/>
          <ac:cxnSpMkLst>
            <pc:docMk/>
            <pc:sldMk cId="1508172130" sldId="2483"/>
            <ac:cxnSpMk id="56" creationId="{E8864334-0F32-4587-AA69-7C4B5422A4D6}"/>
          </ac:cxnSpMkLst>
        </pc:cxnChg>
        <pc:cxnChg chg="mod">
          <ac:chgData name="Yousuf, Arsalan" userId="1f742cd1-60f2-4cc5-8102-e09412e517e3" providerId="ADAL" clId="{35A2B7D3-BB6C-422F-AF31-7DBA0CB14166}" dt="2023-12-25T22:09:25.575" v="1184" actId="165"/>
          <ac:cxnSpMkLst>
            <pc:docMk/>
            <pc:sldMk cId="1508172130" sldId="2483"/>
            <ac:cxnSpMk id="80" creationId="{64592964-3B99-4FCE-92FA-F147684963B9}"/>
          </ac:cxnSpMkLst>
        </pc:cxnChg>
        <pc:cxnChg chg="mod">
          <ac:chgData name="Yousuf, Arsalan" userId="1f742cd1-60f2-4cc5-8102-e09412e517e3" providerId="ADAL" clId="{35A2B7D3-BB6C-422F-AF31-7DBA0CB14166}" dt="2023-12-25T22:09:25.575" v="1184" actId="165"/>
          <ac:cxnSpMkLst>
            <pc:docMk/>
            <pc:sldMk cId="1508172130" sldId="2483"/>
            <ac:cxnSpMk id="81" creationId="{7FBAB05C-F4B2-423E-9383-6762EA1EA244}"/>
          </ac:cxnSpMkLst>
        </pc:cxnChg>
        <pc:cxnChg chg="add del mod topLvl">
          <ac:chgData name="Yousuf, Arsalan" userId="1f742cd1-60f2-4cc5-8102-e09412e517e3" providerId="ADAL" clId="{35A2B7D3-BB6C-422F-AF31-7DBA0CB14166}" dt="2023-12-25T22:13:12.267" v="1416" actId="478"/>
          <ac:cxnSpMkLst>
            <pc:docMk/>
            <pc:sldMk cId="1508172130" sldId="2483"/>
            <ac:cxnSpMk id="86" creationId="{251E3513-E78C-4DA1-9F5D-23FE214A2F73}"/>
          </ac:cxnSpMkLst>
        </pc:cxnChg>
        <pc:cxnChg chg="add del mod topLvl">
          <ac:chgData name="Yousuf, Arsalan" userId="1f742cd1-60f2-4cc5-8102-e09412e517e3" providerId="ADAL" clId="{35A2B7D3-BB6C-422F-AF31-7DBA0CB14166}" dt="2023-12-25T22:13:31.764" v="1418" actId="478"/>
          <ac:cxnSpMkLst>
            <pc:docMk/>
            <pc:sldMk cId="1508172130" sldId="2483"/>
            <ac:cxnSpMk id="88" creationId="{02D6A038-8D43-444C-B57C-1386327B4AB1}"/>
          </ac:cxnSpMkLst>
        </pc:cxnChg>
        <pc:cxnChg chg="add del mod topLvl">
          <ac:chgData name="Yousuf, Arsalan" userId="1f742cd1-60f2-4cc5-8102-e09412e517e3" providerId="ADAL" clId="{35A2B7D3-BB6C-422F-AF31-7DBA0CB14166}" dt="2023-12-25T22:13:31.764" v="1418" actId="478"/>
          <ac:cxnSpMkLst>
            <pc:docMk/>
            <pc:sldMk cId="1508172130" sldId="2483"/>
            <ac:cxnSpMk id="89" creationId="{F091688C-CDFF-476D-BB3C-E0D1DAAF7335}"/>
          </ac:cxnSpMkLst>
        </pc:cxnChg>
        <pc:cxnChg chg="mod">
          <ac:chgData name="Yousuf, Arsalan" userId="1f742cd1-60f2-4cc5-8102-e09412e517e3" providerId="ADAL" clId="{35A2B7D3-BB6C-422F-AF31-7DBA0CB14166}" dt="2023-12-25T22:09:25.575" v="1184" actId="165"/>
          <ac:cxnSpMkLst>
            <pc:docMk/>
            <pc:sldMk cId="1508172130" sldId="2483"/>
            <ac:cxnSpMk id="94" creationId="{CD8E1D66-2D04-41FF-A7DE-58800C7BC9A3}"/>
          </ac:cxnSpMkLst>
        </pc:cxnChg>
        <pc:cxnChg chg="mod">
          <ac:chgData name="Yousuf, Arsalan" userId="1f742cd1-60f2-4cc5-8102-e09412e517e3" providerId="ADAL" clId="{35A2B7D3-BB6C-422F-AF31-7DBA0CB14166}" dt="2023-12-25T22:09:25.575" v="1184" actId="165"/>
          <ac:cxnSpMkLst>
            <pc:docMk/>
            <pc:sldMk cId="1508172130" sldId="2483"/>
            <ac:cxnSpMk id="95" creationId="{044240F4-20D7-4A59-AE0C-F48C40BB1C1B}"/>
          </ac:cxnSpMkLst>
        </pc:cxnChg>
        <pc:cxnChg chg="mod">
          <ac:chgData name="Yousuf, Arsalan" userId="1f742cd1-60f2-4cc5-8102-e09412e517e3" providerId="ADAL" clId="{35A2B7D3-BB6C-422F-AF31-7DBA0CB14166}" dt="2023-12-25T22:09:25.575" v="1184" actId="165"/>
          <ac:cxnSpMkLst>
            <pc:docMk/>
            <pc:sldMk cId="1508172130" sldId="2483"/>
            <ac:cxnSpMk id="97" creationId="{7645D8D2-1762-42CE-869F-2D92438752CA}"/>
          </ac:cxnSpMkLst>
        </pc:cxnChg>
        <pc:cxnChg chg="mod">
          <ac:chgData name="Yousuf, Arsalan" userId="1f742cd1-60f2-4cc5-8102-e09412e517e3" providerId="ADAL" clId="{35A2B7D3-BB6C-422F-AF31-7DBA0CB14166}" dt="2023-12-25T22:09:25.575" v="1184" actId="165"/>
          <ac:cxnSpMkLst>
            <pc:docMk/>
            <pc:sldMk cId="1508172130" sldId="2483"/>
            <ac:cxnSpMk id="98" creationId="{92D42814-98B1-4AE9-9E73-697C81AF8E4D}"/>
          </ac:cxnSpMkLst>
        </pc:cxnChg>
        <pc:cxnChg chg="add del mod topLvl">
          <ac:chgData name="Yousuf, Arsalan" userId="1f742cd1-60f2-4cc5-8102-e09412e517e3" providerId="ADAL" clId="{35A2B7D3-BB6C-422F-AF31-7DBA0CB14166}" dt="2023-12-25T22:11:01.186" v="1221" actId="478"/>
          <ac:cxnSpMkLst>
            <pc:docMk/>
            <pc:sldMk cId="1508172130" sldId="2483"/>
            <ac:cxnSpMk id="113" creationId="{C1B7E552-EAC6-4D15-8010-8EED81004E14}"/>
          </ac:cxnSpMkLst>
        </pc:cxnChg>
        <pc:cxnChg chg="del mod topLvl">
          <ac:chgData name="Yousuf, Arsalan" userId="1f742cd1-60f2-4cc5-8102-e09412e517e3" providerId="ADAL" clId="{35A2B7D3-BB6C-422F-AF31-7DBA0CB14166}" dt="2023-12-25T22:12:41.039" v="1386" actId="478"/>
          <ac:cxnSpMkLst>
            <pc:docMk/>
            <pc:sldMk cId="1508172130" sldId="2483"/>
            <ac:cxnSpMk id="114" creationId="{941DC44A-DEE0-4CC3-8B09-3189670FD351}"/>
          </ac:cxnSpMkLst>
        </pc:cxnChg>
        <pc:cxnChg chg="add del mod topLvl">
          <ac:chgData name="Yousuf, Arsalan" userId="1f742cd1-60f2-4cc5-8102-e09412e517e3" providerId="ADAL" clId="{35A2B7D3-BB6C-422F-AF31-7DBA0CB14166}" dt="2023-12-25T22:12:42.729" v="1387" actId="478"/>
          <ac:cxnSpMkLst>
            <pc:docMk/>
            <pc:sldMk cId="1508172130" sldId="2483"/>
            <ac:cxnSpMk id="115" creationId="{82DD6898-5229-44CB-8D71-6EC2504C1DA0}"/>
          </ac:cxnSpMkLst>
        </pc:cxnChg>
      </pc:sldChg>
      <pc:sldChg chg="addSp delSp modSp mod">
        <pc:chgData name="Yousuf, Arsalan" userId="1f742cd1-60f2-4cc5-8102-e09412e517e3" providerId="ADAL" clId="{35A2B7D3-BB6C-422F-AF31-7DBA0CB14166}" dt="2023-12-27T03:55:21.421" v="3854"/>
        <pc:sldMkLst>
          <pc:docMk/>
          <pc:sldMk cId="732510745" sldId="2484"/>
        </pc:sldMkLst>
        <pc:spChg chg="mod topLvl">
          <ac:chgData name="Yousuf, Arsalan" userId="1f742cd1-60f2-4cc5-8102-e09412e517e3" providerId="ADAL" clId="{35A2B7D3-BB6C-422F-AF31-7DBA0CB14166}" dt="2023-12-25T22:40:51.364" v="1785" actId="164"/>
          <ac:spMkLst>
            <pc:docMk/>
            <pc:sldMk cId="732510745" sldId="2484"/>
            <ac:spMk id="3" creationId="{412F27DB-BA37-9113-4002-DE2FA716FD7D}"/>
          </ac:spMkLst>
        </pc:spChg>
        <pc:spChg chg="mod topLvl">
          <ac:chgData name="Yousuf, Arsalan" userId="1f742cd1-60f2-4cc5-8102-e09412e517e3" providerId="ADAL" clId="{35A2B7D3-BB6C-422F-AF31-7DBA0CB14166}" dt="2023-12-25T22:40:51.364" v="1785" actId="164"/>
          <ac:spMkLst>
            <pc:docMk/>
            <pc:sldMk cId="732510745" sldId="2484"/>
            <ac:spMk id="4" creationId="{21CFFACD-0675-2238-FD1D-80C068A08740}"/>
          </ac:spMkLst>
        </pc:spChg>
        <pc:spChg chg="mod">
          <ac:chgData name="Yousuf, Arsalan" userId="1f742cd1-60f2-4cc5-8102-e09412e517e3" providerId="ADAL" clId="{35A2B7D3-BB6C-422F-AF31-7DBA0CB14166}" dt="2023-12-25T22:40:29.497" v="1780" actId="165"/>
          <ac:spMkLst>
            <pc:docMk/>
            <pc:sldMk cId="732510745" sldId="2484"/>
            <ac:spMk id="42" creationId="{C8266918-0CD9-48BF-AA9D-96CA3A679078}"/>
          </ac:spMkLst>
        </pc:spChg>
        <pc:spChg chg="mod">
          <ac:chgData name="Yousuf, Arsalan" userId="1f742cd1-60f2-4cc5-8102-e09412e517e3" providerId="ADAL" clId="{35A2B7D3-BB6C-422F-AF31-7DBA0CB14166}" dt="2023-12-25T22:40:29.497" v="1780" actId="165"/>
          <ac:spMkLst>
            <pc:docMk/>
            <pc:sldMk cId="732510745" sldId="2484"/>
            <ac:spMk id="43" creationId="{6AA17156-F6DC-4C48-80EE-7414CA25649A}"/>
          </ac:spMkLst>
        </pc:spChg>
        <pc:spChg chg="mod">
          <ac:chgData name="Yousuf, Arsalan" userId="1f742cd1-60f2-4cc5-8102-e09412e517e3" providerId="ADAL" clId="{35A2B7D3-BB6C-422F-AF31-7DBA0CB14166}" dt="2023-12-26T07:26:51.057" v="2195" actId="20577"/>
          <ac:spMkLst>
            <pc:docMk/>
            <pc:sldMk cId="732510745" sldId="2484"/>
            <ac:spMk id="45" creationId="{EEA9E6B3-FC94-4919-AD0F-0B8973F6AD4A}"/>
          </ac:spMkLst>
        </pc:spChg>
        <pc:spChg chg="mod">
          <ac:chgData name="Yousuf, Arsalan" userId="1f742cd1-60f2-4cc5-8102-e09412e517e3" providerId="ADAL" clId="{35A2B7D3-BB6C-422F-AF31-7DBA0CB14166}" dt="2023-12-25T22:40:29.497" v="1780" actId="165"/>
          <ac:spMkLst>
            <pc:docMk/>
            <pc:sldMk cId="732510745" sldId="2484"/>
            <ac:spMk id="46" creationId="{DA5C5293-EB2A-44AC-AC11-075B318AF857}"/>
          </ac:spMkLst>
        </pc:spChg>
        <pc:spChg chg="mod">
          <ac:chgData name="Yousuf, Arsalan" userId="1f742cd1-60f2-4cc5-8102-e09412e517e3" providerId="ADAL" clId="{35A2B7D3-BB6C-422F-AF31-7DBA0CB14166}" dt="2023-12-25T22:40:29.497" v="1780" actId="165"/>
          <ac:spMkLst>
            <pc:docMk/>
            <pc:sldMk cId="732510745" sldId="2484"/>
            <ac:spMk id="48" creationId="{3D55EAB1-D62F-4AEB-80E9-31EDFF4F9B87}"/>
          </ac:spMkLst>
        </pc:spChg>
        <pc:spChg chg="del mod topLvl">
          <ac:chgData name="Yousuf, Arsalan" userId="1f742cd1-60f2-4cc5-8102-e09412e517e3" providerId="ADAL" clId="{35A2B7D3-BB6C-422F-AF31-7DBA0CB14166}" dt="2023-12-25T22:40:39.373" v="1782" actId="478"/>
          <ac:spMkLst>
            <pc:docMk/>
            <pc:sldMk cId="732510745" sldId="2484"/>
            <ac:spMk id="51" creationId="{12E72E93-3F22-4689-868B-C392FA0B0B70}"/>
          </ac:spMkLst>
        </pc:spChg>
        <pc:spChg chg="del mod topLvl">
          <ac:chgData name="Yousuf, Arsalan" userId="1f742cd1-60f2-4cc5-8102-e09412e517e3" providerId="ADAL" clId="{35A2B7D3-BB6C-422F-AF31-7DBA0CB14166}" dt="2023-12-25T22:40:42.274" v="1783" actId="478"/>
          <ac:spMkLst>
            <pc:docMk/>
            <pc:sldMk cId="732510745" sldId="2484"/>
            <ac:spMk id="81" creationId="{FF7D4C55-3DC8-4830-83FF-C6DD6C197048}"/>
          </ac:spMkLst>
        </pc:spChg>
        <pc:spChg chg="mod topLvl">
          <ac:chgData name="Yousuf, Arsalan" userId="1f742cd1-60f2-4cc5-8102-e09412e517e3" providerId="ADAL" clId="{35A2B7D3-BB6C-422F-AF31-7DBA0CB14166}" dt="2023-12-25T22:40:51.364" v="1785" actId="164"/>
          <ac:spMkLst>
            <pc:docMk/>
            <pc:sldMk cId="732510745" sldId="2484"/>
            <ac:spMk id="83" creationId="{CBCC81D7-50D0-4946-A88B-DDFD15EB9627}"/>
          </ac:spMkLst>
        </pc:spChg>
        <pc:spChg chg="mod topLvl">
          <ac:chgData name="Yousuf, Arsalan" userId="1f742cd1-60f2-4cc5-8102-e09412e517e3" providerId="ADAL" clId="{35A2B7D3-BB6C-422F-AF31-7DBA0CB14166}" dt="2023-12-25T22:40:51.364" v="1785" actId="164"/>
          <ac:spMkLst>
            <pc:docMk/>
            <pc:sldMk cId="732510745" sldId="2484"/>
            <ac:spMk id="84" creationId="{6870202D-0B81-45ED-877C-8D86D7814323}"/>
          </ac:spMkLst>
        </pc:spChg>
        <pc:spChg chg="mod">
          <ac:chgData name="Yousuf, Arsalan" userId="1f742cd1-60f2-4cc5-8102-e09412e517e3" providerId="ADAL" clId="{35A2B7D3-BB6C-422F-AF31-7DBA0CB14166}" dt="2023-12-25T22:40:29.497" v="1780" actId="165"/>
          <ac:spMkLst>
            <pc:docMk/>
            <pc:sldMk cId="732510745" sldId="2484"/>
            <ac:spMk id="86" creationId="{9EC39570-56DE-4EDD-89A7-17BA1E07D4C1}"/>
          </ac:spMkLst>
        </pc:spChg>
        <pc:spChg chg="mod">
          <ac:chgData name="Yousuf, Arsalan" userId="1f742cd1-60f2-4cc5-8102-e09412e517e3" providerId="ADAL" clId="{35A2B7D3-BB6C-422F-AF31-7DBA0CB14166}" dt="2023-12-25T22:40:29.497" v="1780" actId="165"/>
          <ac:spMkLst>
            <pc:docMk/>
            <pc:sldMk cId="732510745" sldId="2484"/>
            <ac:spMk id="87" creationId="{E33C1B00-9569-4B0B-91E9-8DF0D0886D44}"/>
          </ac:spMkLst>
        </pc:spChg>
        <pc:spChg chg="mod">
          <ac:chgData name="Yousuf, Arsalan" userId="1f742cd1-60f2-4cc5-8102-e09412e517e3" providerId="ADAL" clId="{35A2B7D3-BB6C-422F-AF31-7DBA0CB14166}" dt="2023-12-25T22:40:29.497" v="1780" actId="165"/>
          <ac:spMkLst>
            <pc:docMk/>
            <pc:sldMk cId="732510745" sldId="2484"/>
            <ac:spMk id="89" creationId="{C3A4A40D-1C02-4FF5-863D-393CD195E6EA}"/>
          </ac:spMkLst>
        </pc:spChg>
        <pc:spChg chg="mod">
          <ac:chgData name="Yousuf, Arsalan" userId="1f742cd1-60f2-4cc5-8102-e09412e517e3" providerId="ADAL" clId="{35A2B7D3-BB6C-422F-AF31-7DBA0CB14166}" dt="2023-12-25T22:40:29.497" v="1780" actId="165"/>
          <ac:spMkLst>
            <pc:docMk/>
            <pc:sldMk cId="732510745" sldId="2484"/>
            <ac:spMk id="90" creationId="{14FD9BFD-89C6-4B2F-88D5-7084F474FE59}"/>
          </ac:spMkLst>
        </pc:spChg>
        <pc:spChg chg="mod">
          <ac:chgData name="Yousuf, Arsalan" userId="1f742cd1-60f2-4cc5-8102-e09412e517e3" providerId="ADAL" clId="{35A2B7D3-BB6C-422F-AF31-7DBA0CB14166}" dt="2023-12-25T22:40:29.497" v="1780" actId="165"/>
          <ac:spMkLst>
            <pc:docMk/>
            <pc:sldMk cId="732510745" sldId="2484"/>
            <ac:spMk id="92" creationId="{753E97A5-A389-4FA0-A4FC-F5705AC22BC7}"/>
          </ac:spMkLst>
        </pc:spChg>
        <pc:spChg chg="mod">
          <ac:chgData name="Yousuf, Arsalan" userId="1f742cd1-60f2-4cc5-8102-e09412e517e3" providerId="ADAL" clId="{35A2B7D3-BB6C-422F-AF31-7DBA0CB14166}" dt="2023-12-25T22:40:29.497" v="1780" actId="165"/>
          <ac:spMkLst>
            <pc:docMk/>
            <pc:sldMk cId="732510745" sldId="2484"/>
            <ac:spMk id="93" creationId="{1080B22C-5CA0-4083-B004-5368395C4733}"/>
          </ac:spMkLst>
        </pc:spChg>
        <pc:spChg chg="mod topLvl">
          <ac:chgData name="Yousuf, Arsalan" userId="1f742cd1-60f2-4cc5-8102-e09412e517e3" providerId="ADAL" clId="{35A2B7D3-BB6C-422F-AF31-7DBA0CB14166}" dt="2023-12-25T22:40:51.364" v="1785" actId="164"/>
          <ac:spMkLst>
            <pc:docMk/>
            <pc:sldMk cId="732510745" sldId="2484"/>
            <ac:spMk id="96" creationId="{87B657B3-656A-4ECC-A197-80F6B6A9C22F}"/>
          </ac:spMkLst>
        </pc:spChg>
        <pc:spChg chg="mod topLvl">
          <ac:chgData name="Yousuf, Arsalan" userId="1f742cd1-60f2-4cc5-8102-e09412e517e3" providerId="ADAL" clId="{35A2B7D3-BB6C-422F-AF31-7DBA0CB14166}" dt="2023-12-25T22:40:51.364" v="1785" actId="164"/>
          <ac:spMkLst>
            <pc:docMk/>
            <pc:sldMk cId="732510745" sldId="2484"/>
            <ac:spMk id="97" creationId="{D6212378-E07D-4FA4-BEFE-0A43839A86B5}"/>
          </ac:spMkLst>
        </pc:spChg>
        <pc:spChg chg="mod topLvl">
          <ac:chgData name="Yousuf, Arsalan" userId="1f742cd1-60f2-4cc5-8102-e09412e517e3" providerId="ADAL" clId="{35A2B7D3-BB6C-422F-AF31-7DBA0CB14166}" dt="2023-12-27T03:55:21.421" v="3854"/>
          <ac:spMkLst>
            <pc:docMk/>
            <pc:sldMk cId="732510745" sldId="2484"/>
            <ac:spMk id="98" creationId="{E5BD5462-7035-42B7-B120-E0F1626F2CA6}"/>
          </ac:spMkLst>
        </pc:spChg>
        <pc:spChg chg="mod topLvl">
          <ac:chgData name="Yousuf, Arsalan" userId="1f742cd1-60f2-4cc5-8102-e09412e517e3" providerId="ADAL" clId="{35A2B7D3-BB6C-422F-AF31-7DBA0CB14166}" dt="2023-12-25T22:40:51.364" v="1785" actId="164"/>
          <ac:spMkLst>
            <pc:docMk/>
            <pc:sldMk cId="732510745" sldId="2484"/>
            <ac:spMk id="99" creationId="{679B885D-EA34-490F-856D-3ACBA8798435}"/>
          </ac:spMkLst>
        </pc:spChg>
        <pc:spChg chg="del mod topLvl">
          <ac:chgData name="Yousuf, Arsalan" userId="1f742cd1-60f2-4cc5-8102-e09412e517e3" providerId="ADAL" clId="{35A2B7D3-BB6C-422F-AF31-7DBA0CB14166}" dt="2023-12-25T22:40:43.863" v="1784" actId="478"/>
          <ac:spMkLst>
            <pc:docMk/>
            <pc:sldMk cId="732510745" sldId="2484"/>
            <ac:spMk id="100" creationId="{19AF347F-C53D-4162-8342-BB79006640E1}"/>
          </ac:spMkLst>
        </pc:spChg>
        <pc:spChg chg="mod topLvl">
          <ac:chgData name="Yousuf, Arsalan" userId="1f742cd1-60f2-4cc5-8102-e09412e517e3" providerId="ADAL" clId="{35A2B7D3-BB6C-422F-AF31-7DBA0CB14166}" dt="2023-12-27T03:27:56.656" v="2359" actId="14100"/>
          <ac:spMkLst>
            <pc:docMk/>
            <pc:sldMk cId="732510745" sldId="2484"/>
            <ac:spMk id="103" creationId="{908AD09F-2E91-4C52-B098-C2F966BED120}"/>
          </ac:spMkLst>
        </pc:spChg>
        <pc:spChg chg="mod topLvl">
          <ac:chgData name="Yousuf, Arsalan" userId="1f742cd1-60f2-4cc5-8102-e09412e517e3" providerId="ADAL" clId="{35A2B7D3-BB6C-422F-AF31-7DBA0CB14166}" dt="2023-12-25T23:04:52.645" v="2115" actId="6549"/>
          <ac:spMkLst>
            <pc:docMk/>
            <pc:sldMk cId="732510745" sldId="2484"/>
            <ac:spMk id="105" creationId="{AE92AFC7-F2B7-4E68-86C0-8353325F879E}"/>
          </ac:spMkLst>
        </pc:spChg>
        <pc:spChg chg="mod topLvl">
          <ac:chgData name="Yousuf, Arsalan" userId="1f742cd1-60f2-4cc5-8102-e09412e517e3" providerId="ADAL" clId="{35A2B7D3-BB6C-422F-AF31-7DBA0CB14166}" dt="2023-12-27T03:27:50.701" v="2355" actId="14100"/>
          <ac:spMkLst>
            <pc:docMk/>
            <pc:sldMk cId="732510745" sldId="2484"/>
            <ac:spMk id="107" creationId="{7A051625-F03F-4159-B6E0-1A436AE3DCB2}"/>
          </ac:spMkLst>
        </pc:spChg>
        <pc:spChg chg="del mod topLvl">
          <ac:chgData name="Yousuf, Arsalan" userId="1f742cd1-60f2-4cc5-8102-e09412e517e3" providerId="ADAL" clId="{35A2B7D3-BB6C-422F-AF31-7DBA0CB14166}" dt="2023-12-25T22:40:39.373" v="1782" actId="478"/>
          <ac:spMkLst>
            <pc:docMk/>
            <pc:sldMk cId="732510745" sldId="2484"/>
            <ac:spMk id="108" creationId="{5AEBEB3A-8910-46E9-88F5-70AEDF7523AE}"/>
          </ac:spMkLst>
        </pc:spChg>
        <pc:spChg chg="mod topLvl">
          <ac:chgData name="Yousuf, Arsalan" userId="1f742cd1-60f2-4cc5-8102-e09412e517e3" providerId="ADAL" clId="{35A2B7D3-BB6C-422F-AF31-7DBA0CB14166}" dt="2023-12-25T23:02:04.883" v="2022" actId="14100"/>
          <ac:spMkLst>
            <pc:docMk/>
            <pc:sldMk cId="732510745" sldId="2484"/>
            <ac:spMk id="110" creationId="{5DBEAD0E-4EB0-40E5-89B8-38B2449B0C9D}"/>
          </ac:spMkLst>
        </pc:spChg>
        <pc:spChg chg="add del mod">
          <ac:chgData name="Yousuf, Arsalan" userId="1f742cd1-60f2-4cc5-8102-e09412e517e3" providerId="ADAL" clId="{35A2B7D3-BB6C-422F-AF31-7DBA0CB14166}" dt="2023-12-27T03:48:52.562" v="3609" actId="478"/>
          <ac:spMkLst>
            <pc:docMk/>
            <pc:sldMk cId="732510745" sldId="2484"/>
            <ac:spMk id="113" creationId="{1D587191-3549-4BCB-BEB1-2455D382EFB1}"/>
          </ac:spMkLst>
        </pc:spChg>
        <pc:grpChg chg="add del mod">
          <ac:chgData name="Yousuf, Arsalan" userId="1f742cd1-60f2-4cc5-8102-e09412e517e3" providerId="ADAL" clId="{35A2B7D3-BB6C-422F-AF31-7DBA0CB14166}" dt="2023-12-27T03:48:52.562" v="3609" actId="478"/>
          <ac:grpSpMkLst>
            <pc:docMk/>
            <pc:sldMk cId="732510745" sldId="2484"/>
            <ac:grpSpMk id="2" creationId="{E6E288E8-4585-8ABE-6301-8E31C75FDB02}"/>
          </ac:grpSpMkLst>
        </pc:grpChg>
        <pc:grpChg chg="del">
          <ac:chgData name="Yousuf, Arsalan" userId="1f742cd1-60f2-4cc5-8102-e09412e517e3" providerId="ADAL" clId="{35A2B7D3-BB6C-422F-AF31-7DBA0CB14166}" dt="2023-12-25T22:40:27.099" v="1779" actId="165"/>
          <ac:grpSpMkLst>
            <pc:docMk/>
            <pc:sldMk cId="732510745" sldId="2484"/>
            <ac:grpSpMk id="5" creationId="{BDC946F8-2184-0EBA-F869-592C58E57792}"/>
          </ac:grpSpMkLst>
        </pc:grpChg>
        <pc:grpChg chg="mod">
          <ac:chgData name="Yousuf, Arsalan" userId="1f742cd1-60f2-4cc5-8102-e09412e517e3" providerId="ADAL" clId="{35A2B7D3-BB6C-422F-AF31-7DBA0CB14166}" dt="2023-12-25T22:40:29.497" v="1780" actId="165"/>
          <ac:grpSpMkLst>
            <pc:docMk/>
            <pc:sldMk cId="732510745" sldId="2484"/>
            <ac:grpSpMk id="12" creationId="{CC025C6A-A6ED-4F0B-B3E9-C9487BCC7586}"/>
          </ac:grpSpMkLst>
        </pc:grpChg>
        <pc:grpChg chg="del mod topLvl">
          <ac:chgData name="Yousuf, Arsalan" userId="1f742cd1-60f2-4cc5-8102-e09412e517e3" providerId="ADAL" clId="{35A2B7D3-BB6C-422F-AF31-7DBA0CB14166}" dt="2023-12-25T22:40:35.600" v="1781" actId="478"/>
          <ac:grpSpMkLst>
            <pc:docMk/>
            <pc:sldMk cId="732510745" sldId="2484"/>
            <ac:grpSpMk id="13" creationId="{8521EDE1-0B9E-4115-AC94-AC7F574AB48A}"/>
          </ac:grpSpMkLst>
        </pc:grpChg>
        <pc:grpChg chg="del mod topLvl">
          <ac:chgData name="Yousuf, Arsalan" userId="1f742cd1-60f2-4cc5-8102-e09412e517e3" providerId="ADAL" clId="{35A2B7D3-BB6C-422F-AF31-7DBA0CB14166}" dt="2023-12-25T22:40:29.497" v="1780" actId="165"/>
          <ac:grpSpMkLst>
            <pc:docMk/>
            <pc:sldMk cId="732510745" sldId="2484"/>
            <ac:grpSpMk id="15" creationId="{6E6A4D5B-AA82-4BE6-8367-8F9D0D3CECF6}"/>
          </ac:grpSpMkLst>
        </pc:grpChg>
        <pc:grpChg chg="mod topLvl">
          <ac:chgData name="Yousuf, Arsalan" userId="1f742cd1-60f2-4cc5-8102-e09412e517e3" providerId="ADAL" clId="{35A2B7D3-BB6C-422F-AF31-7DBA0CB14166}" dt="2023-12-25T22:40:51.364" v="1785" actId="164"/>
          <ac:grpSpMkLst>
            <pc:docMk/>
            <pc:sldMk cId="732510745" sldId="2484"/>
            <ac:grpSpMk id="85" creationId="{67E72080-07AE-44D5-8D66-7DDF2C6C1518}"/>
          </ac:grpSpMkLst>
        </pc:grpChg>
        <pc:grpChg chg="mod topLvl">
          <ac:chgData name="Yousuf, Arsalan" userId="1f742cd1-60f2-4cc5-8102-e09412e517e3" providerId="ADAL" clId="{35A2B7D3-BB6C-422F-AF31-7DBA0CB14166}" dt="2023-12-25T22:40:51.364" v="1785" actId="164"/>
          <ac:grpSpMkLst>
            <pc:docMk/>
            <pc:sldMk cId="732510745" sldId="2484"/>
            <ac:grpSpMk id="88" creationId="{36007EA4-425A-40DE-B961-6E356507F3EF}"/>
          </ac:grpSpMkLst>
        </pc:grpChg>
        <pc:grpChg chg="mod topLvl">
          <ac:chgData name="Yousuf, Arsalan" userId="1f742cd1-60f2-4cc5-8102-e09412e517e3" providerId="ADAL" clId="{35A2B7D3-BB6C-422F-AF31-7DBA0CB14166}" dt="2023-12-25T22:40:51.364" v="1785" actId="164"/>
          <ac:grpSpMkLst>
            <pc:docMk/>
            <pc:sldMk cId="732510745" sldId="2484"/>
            <ac:grpSpMk id="91" creationId="{E60BA110-FEBB-454F-B7E2-6ADE7D257A9B}"/>
          </ac:grpSpMkLst>
        </pc:grpChg>
        <pc:cxnChg chg="mod">
          <ac:chgData name="Yousuf, Arsalan" userId="1f742cd1-60f2-4cc5-8102-e09412e517e3" providerId="ADAL" clId="{35A2B7D3-BB6C-422F-AF31-7DBA0CB14166}" dt="2023-12-25T22:40:35.600" v="1781" actId="478"/>
          <ac:cxnSpMkLst>
            <pc:docMk/>
            <pc:sldMk cId="732510745" sldId="2484"/>
            <ac:cxnSpMk id="47" creationId="{A5DDCA09-C77B-4423-88FB-A60280EDF8C1}"/>
          </ac:cxnSpMkLst>
        </pc:cxnChg>
        <pc:cxnChg chg="mod topLvl">
          <ac:chgData name="Yousuf, Arsalan" userId="1f742cd1-60f2-4cc5-8102-e09412e517e3" providerId="ADAL" clId="{35A2B7D3-BB6C-422F-AF31-7DBA0CB14166}" dt="2023-12-27T03:48:52.562" v="3609" actId="478"/>
          <ac:cxnSpMkLst>
            <pc:docMk/>
            <pc:sldMk cId="732510745" sldId="2484"/>
            <ac:cxnSpMk id="101" creationId="{74841969-7CA8-4BE5-965F-776B6ABDEAD1}"/>
          </ac:cxnSpMkLst>
        </pc:cxnChg>
        <pc:cxnChg chg="mod topLvl">
          <ac:chgData name="Yousuf, Arsalan" userId="1f742cd1-60f2-4cc5-8102-e09412e517e3" providerId="ADAL" clId="{35A2B7D3-BB6C-422F-AF31-7DBA0CB14166}" dt="2023-12-27T03:48:52.562" v="3609" actId="478"/>
          <ac:cxnSpMkLst>
            <pc:docMk/>
            <pc:sldMk cId="732510745" sldId="2484"/>
            <ac:cxnSpMk id="102" creationId="{6891CF2F-9BE6-477D-ACA5-C73FC9E8346F}"/>
          </ac:cxnSpMkLst>
        </pc:cxnChg>
        <pc:cxnChg chg="mod topLvl">
          <ac:chgData name="Yousuf, Arsalan" userId="1f742cd1-60f2-4cc5-8102-e09412e517e3" providerId="ADAL" clId="{35A2B7D3-BB6C-422F-AF31-7DBA0CB14166}" dt="2023-12-27T03:48:52.562" v="3609" actId="478"/>
          <ac:cxnSpMkLst>
            <pc:docMk/>
            <pc:sldMk cId="732510745" sldId="2484"/>
            <ac:cxnSpMk id="104" creationId="{BBB506E9-1D89-4EEF-9BCF-FADBBB88FED9}"/>
          </ac:cxnSpMkLst>
        </pc:cxnChg>
        <pc:cxnChg chg="mod topLvl">
          <ac:chgData name="Yousuf, Arsalan" userId="1f742cd1-60f2-4cc5-8102-e09412e517e3" providerId="ADAL" clId="{35A2B7D3-BB6C-422F-AF31-7DBA0CB14166}" dt="2023-12-27T03:48:52.562" v="3609" actId="478"/>
          <ac:cxnSpMkLst>
            <pc:docMk/>
            <pc:sldMk cId="732510745" sldId="2484"/>
            <ac:cxnSpMk id="106" creationId="{AE0F3D2C-24DC-4D62-A4E9-AC295E321237}"/>
          </ac:cxnSpMkLst>
        </pc:cxnChg>
        <pc:cxnChg chg="del mod topLvl">
          <ac:chgData name="Yousuf, Arsalan" userId="1f742cd1-60f2-4cc5-8102-e09412e517e3" providerId="ADAL" clId="{35A2B7D3-BB6C-422F-AF31-7DBA0CB14166}" dt="2023-12-25T22:40:42.274" v="1783" actId="478"/>
          <ac:cxnSpMkLst>
            <pc:docMk/>
            <pc:sldMk cId="732510745" sldId="2484"/>
            <ac:cxnSpMk id="109" creationId="{DAE6AD9E-9EA2-405F-ADFB-280F94835A55}"/>
          </ac:cxnSpMkLst>
        </pc:cxnChg>
      </pc:sldChg>
      <pc:sldChg chg="addSp delSp modSp del mod">
        <pc:chgData name="Yousuf, Arsalan" userId="1f742cd1-60f2-4cc5-8102-e09412e517e3" providerId="ADAL" clId="{35A2B7D3-BB6C-422F-AF31-7DBA0CB14166}" dt="2023-12-27T15:37:06.628" v="10133" actId="47"/>
        <pc:sldMkLst>
          <pc:docMk/>
          <pc:sldMk cId="385271220" sldId="2485"/>
        </pc:sldMkLst>
        <pc:spChg chg="add del mod">
          <ac:chgData name="Yousuf, Arsalan" userId="1f742cd1-60f2-4cc5-8102-e09412e517e3" providerId="ADAL" clId="{35A2B7D3-BB6C-422F-AF31-7DBA0CB14166}" dt="2023-12-27T07:29:10.334" v="6878" actId="478"/>
          <ac:spMkLst>
            <pc:docMk/>
            <pc:sldMk cId="385271220" sldId="2485"/>
            <ac:spMk id="2" creationId="{8D681624-362F-FC94-2F6E-9DC518EC6AA5}"/>
          </ac:spMkLst>
        </pc:spChg>
        <pc:spChg chg="add mod">
          <ac:chgData name="Yousuf, Arsalan" userId="1f742cd1-60f2-4cc5-8102-e09412e517e3" providerId="ADAL" clId="{35A2B7D3-BB6C-422F-AF31-7DBA0CB14166}" dt="2023-12-27T07:35:57.082" v="6935" actId="6549"/>
          <ac:spMkLst>
            <pc:docMk/>
            <pc:sldMk cId="385271220" sldId="2485"/>
            <ac:spMk id="4" creationId="{B3928E79-EB55-E9A5-76ED-9DA7F349C186}"/>
          </ac:spMkLst>
        </pc:spChg>
        <pc:spChg chg="mod">
          <ac:chgData name="Yousuf, Arsalan" userId="1f742cd1-60f2-4cc5-8102-e09412e517e3" providerId="ADAL" clId="{35A2B7D3-BB6C-422F-AF31-7DBA0CB14166}" dt="2023-12-27T07:28:29.341" v="6876" actId="1036"/>
          <ac:spMkLst>
            <pc:docMk/>
            <pc:sldMk cId="385271220" sldId="2485"/>
            <ac:spMk id="21" creationId="{00000000-0000-0000-0000-000000000000}"/>
          </ac:spMkLst>
        </pc:spChg>
        <pc:graphicFrameChg chg="mod modGraphic">
          <ac:chgData name="Yousuf, Arsalan" userId="1f742cd1-60f2-4cc5-8102-e09412e517e3" providerId="ADAL" clId="{35A2B7D3-BB6C-422F-AF31-7DBA0CB14166}" dt="2023-12-27T06:33:00.082" v="6856" actId="207"/>
          <ac:graphicFrameMkLst>
            <pc:docMk/>
            <pc:sldMk cId="385271220" sldId="2485"/>
            <ac:graphicFrameMk id="10" creationId="{3451D527-DC03-4CF5-AE58-5272F74AE57E}"/>
          </ac:graphicFrameMkLst>
        </pc:graphicFrameChg>
      </pc:sldChg>
      <pc:sldChg chg="addSp delSp modSp del mod">
        <pc:chgData name="Yousuf, Arsalan" userId="1f742cd1-60f2-4cc5-8102-e09412e517e3" providerId="ADAL" clId="{35A2B7D3-BB6C-422F-AF31-7DBA0CB14166}" dt="2023-12-30T18:03:16.137" v="13250" actId="47"/>
        <pc:sldMkLst>
          <pc:docMk/>
          <pc:sldMk cId="917815344" sldId="2486"/>
        </pc:sldMkLst>
        <pc:spChg chg="add del mod">
          <ac:chgData name="Yousuf, Arsalan" userId="1f742cd1-60f2-4cc5-8102-e09412e517e3" providerId="ADAL" clId="{35A2B7D3-BB6C-422F-AF31-7DBA0CB14166}" dt="2023-12-29T16:17:50.895" v="11213" actId="478"/>
          <ac:spMkLst>
            <pc:docMk/>
            <pc:sldMk cId="917815344" sldId="2486"/>
            <ac:spMk id="2" creationId="{231B4E31-64FE-26F3-95E0-D6F52A5A32C4}"/>
          </ac:spMkLst>
        </pc:spChg>
        <pc:spChg chg="mod">
          <ac:chgData name="Yousuf, Arsalan" userId="1f742cd1-60f2-4cc5-8102-e09412e517e3" providerId="ADAL" clId="{35A2B7D3-BB6C-422F-AF31-7DBA0CB14166}" dt="2023-12-29T16:18:40.918" v="11290" actId="20577"/>
          <ac:spMkLst>
            <pc:docMk/>
            <pc:sldMk cId="917815344" sldId="2486"/>
            <ac:spMk id="8" creationId="{74BFDF9E-9076-4DFB-943B-238165B44C0C}"/>
          </ac:spMkLst>
        </pc:spChg>
      </pc:sldChg>
      <pc:sldChg chg="addSp delSp modSp add mod">
        <pc:chgData name="Yousuf, Arsalan" userId="1f742cd1-60f2-4cc5-8102-e09412e517e3" providerId="ADAL" clId="{35A2B7D3-BB6C-422F-AF31-7DBA0CB14166}" dt="2023-12-28T07:41:43.489" v="11202" actId="207"/>
        <pc:sldMkLst>
          <pc:docMk/>
          <pc:sldMk cId="3511026069" sldId="2487"/>
        </pc:sldMkLst>
        <pc:spChg chg="add del">
          <ac:chgData name="Yousuf, Arsalan" userId="1f742cd1-60f2-4cc5-8102-e09412e517e3" providerId="ADAL" clId="{35A2B7D3-BB6C-422F-AF31-7DBA0CB14166}" dt="2023-12-27T15:36:31.858" v="10097" actId="22"/>
          <ac:spMkLst>
            <pc:docMk/>
            <pc:sldMk cId="3511026069" sldId="2487"/>
            <ac:spMk id="3" creationId="{24716545-E1E2-EC18-1D63-AFE515D4AB1D}"/>
          </ac:spMkLst>
        </pc:spChg>
        <pc:spChg chg="del">
          <ac:chgData name="Yousuf, Arsalan" userId="1f742cd1-60f2-4cc5-8102-e09412e517e3" providerId="ADAL" clId="{35A2B7D3-BB6C-422F-AF31-7DBA0CB14166}" dt="2023-12-27T15:36:38.737" v="10099" actId="478"/>
          <ac:spMkLst>
            <pc:docMk/>
            <pc:sldMk cId="3511026069" sldId="2487"/>
            <ac:spMk id="4" creationId="{B3928E79-EB55-E9A5-76ED-9DA7F349C186}"/>
          </ac:spMkLst>
        </pc:spChg>
        <pc:spChg chg="add mod">
          <ac:chgData name="Yousuf, Arsalan" userId="1f742cd1-60f2-4cc5-8102-e09412e517e3" providerId="ADAL" clId="{35A2B7D3-BB6C-422F-AF31-7DBA0CB14166}" dt="2023-12-27T15:36:42.503" v="10100"/>
          <ac:spMkLst>
            <pc:docMk/>
            <pc:sldMk cId="3511026069" sldId="2487"/>
            <ac:spMk id="5" creationId="{4C4A3F2B-1B0F-8081-16F7-FA88F3D8A0BD}"/>
          </ac:spMkLst>
        </pc:spChg>
        <pc:graphicFrameChg chg="mod modGraphic">
          <ac:chgData name="Yousuf, Arsalan" userId="1f742cd1-60f2-4cc5-8102-e09412e517e3" providerId="ADAL" clId="{35A2B7D3-BB6C-422F-AF31-7DBA0CB14166}" dt="2023-12-28T07:41:43.489" v="11202" actId="207"/>
          <ac:graphicFrameMkLst>
            <pc:docMk/>
            <pc:sldMk cId="3511026069" sldId="2487"/>
            <ac:graphicFrameMk id="10" creationId="{3451D527-DC03-4CF5-AE58-5272F74AE57E}"/>
          </ac:graphicFrameMkLst>
        </pc:graphicFrameChg>
      </pc:sldChg>
      <pc:sldChg chg="del">
        <pc:chgData name="Yousuf, Arsalan" userId="1f742cd1-60f2-4cc5-8102-e09412e517e3" providerId="ADAL" clId="{35A2B7D3-BB6C-422F-AF31-7DBA0CB14166}" dt="2023-12-27T03:50:02.856" v="3626" actId="47"/>
        <pc:sldMkLst>
          <pc:docMk/>
          <pc:sldMk cId="2538862631" sldId="2488"/>
        </pc:sldMkLst>
      </pc:sldChg>
      <pc:sldChg chg="addSp delSp modSp mod">
        <pc:chgData name="Yousuf, Arsalan" userId="1f742cd1-60f2-4cc5-8102-e09412e517e3" providerId="ADAL" clId="{35A2B7D3-BB6C-422F-AF31-7DBA0CB14166}" dt="2023-12-30T18:05:02.234" v="13256" actId="5793"/>
        <pc:sldMkLst>
          <pc:docMk/>
          <pc:sldMk cId="898348701" sldId="2491"/>
        </pc:sldMkLst>
        <pc:spChg chg="mod">
          <ac:chgData name="Yousuf, Arsalan" userId="1f742cd1-60f2-4cc5-8102-e09412e517e3" providerId="ADAL" clId="{35A2B7D3-BB6C-422F-AF31-7DBA0CB14166}" dt="2023-12-25T21:28:52.348" v="405" actId="20577"/>
          <ac:spMkLst>
            <pc:docMk/>
            <pc:sldMk cId="898348701" sldId="2491"/>
            <ac:spMk id="13" creationId="{6D0E63B3-BAB8-A7A7-9C0D-02487EB52407}"/>
          </ac:spMkLst>
        </pc:spChg>
        <pc:spChg chg="mod">
          <ac:chgData name="Yousuf, Arsalan" userId="1f742cd1-60f2-4cc5-8102-e09412e517e3" providerId="ADAL" clId="{35A2B7D3-BB6C-422F-AF31-7DBA0CB14166}" dt="2023-12-30T18:05:02.234" v="13256" actId="5793"/>
          <ac:spMkLst>
            <pc:docMk/>
            <pc:sldMk cId="898348701" sldId="2491"/>
            <ac:spMk id="15" creationId="{7446B9AC-B94F-3A8A-B012-3020CAAEF1F5}"/>
          </ac:spMkLst>
        </pc:spChg>
        <pc:spChg chg="mod">
          <ac:chgData name="Yousuf, Arsalan" userId="1f742cd1-60f2-4cc5-8102-e09412e517e3" providerId="ADAL" clId="{35A2B7D3-BB6C-422F-AF31-7DBA0CB14166}" dt="2023-12-25T21:23:30.579" v="274" actId="1036"/>
          <ac:spMkLst>
            <pc:docMk/>
            <pc:sldMk cId="898348701" sldId="2491"/>
            <ac:spMk id="16" creationId="{E714DE90-2E57-4528-CF84-CFF56EACE46B}"/>
          </ac:spMkLst>
        </pc:spChg>
        <pc:picChg chg="del">
          <ac:chgData name="Yousuf, Arsalan" userId="1f742cd1-60f2-4cc5-8102-e09412e517e3" providerId="ADAL" clId="{35A2B7D3-BB6C-422F-AF31-7DBA0CB14166}" dt="2023-12-25T21:20:21.328" v="20" actId="478"/>
          <ac:picMkLst>
            <pc:docMk/>
            <pc:sldMk cId="898348701" sldId="2491"/>
            <ac:picMk id="17" creationId="{C8944322-4483-4FDF-3448-B86BEDD00234}"/>
          </ac:picMkLst>
        </pc:picChg>
        <pc:picChg chg="add del mod">
          <ac:chgData name="Yousuf, Arsalan" userId="1f742cd1-60f2-4cc5-8102-e09412e517e3" providerId="ADAL" clId="{35A2B7D3-BB6C-422F-AF31-7DBA0CB14166}" dt="2023-12-25T21:21:15.794" v="70" actId="478"/>
          <ac:picMkLst>
            <pc:docMk/>
            <pc:sldMk cId="898348701" sldId="2491"/>
            <ac:picMk id="19" creationId="{CD166906-381A-EFAD-66ED-6B15EF86B2B7}"/>
          </ac:picMkLst>
        </pc:picChg>
        <pc:picChg chg="add del mod">
          <ac:chgData name="Yousuf, Arsalan" userId="1f742cd1-60f2-4cc5-8102-e09412e517e3" providerId="ADAL" clId="{35A2B7D3-BB6C-422F-AF31-7DBA0CB14166}" dt="2023-12-25T21:21:15.452" v="69" actId="478"/>
          <ac:picMkLst>
            <pc:docMk/>
            <pc:sldMk cId="898348701" sldId="2491"/>
            <ac:picMk id="20" creationId="{4C83A859-27DF-11C6-3356-DD676ADABA42}"/>
          </ac:picMkLst>
        </pc:picChg>
        <pc:picChg chg="add del mod">
          <ac:chgData name="Yousuf, Arsalan" userId="1f742cd1-60f2-4cc5-8102-e09412e517e3" providerId="ADAL" clId="{35A2B7D3-BB6C-422F-AF31-7DBA0CB14166}" dt="2023-12-25T21:29:48.186" v="429" actId="478"/>
          <ac:picMkLst>
            <pc:docMk/>
            <pc:sldMk cId="898348701" sldId="2491"/>
            <ac:picMk id="21" creationId="{50FF4062-8125-E6FD-B9B8-63144839D78B}"/>
          </ac:picMkLst>
        </pc:picChg>
        <pc:picChg chg="add del mod">
          <ac:chgData name="Yousuf, Arsalan" userId="1f742cd1-60f2-4cc5-8102-e09412e517e3" providerId="ADAL" clId="{35A2B7D3-BB6C-422F-AF31-7DBA0CB14166}" dt="2023-12-25T21:29:47.856" v="428" actId="478"/>
          <ac:picMkLst>
            <pc:docMk/>
            <pc:sldMk cId="898348701" sldId="2491"/>
            <ac:picMk id="22" creationId="{563300DE-73B5-55F7-2893-355F2F918AF2}"/>
          </ac:picMkLst>
        </pc:picChg>
        <pc:picChg chg="add del mod">
          <ac:chgData name="Yousuf, Arsalan" userId="1f742cd1-60f2-4cc5-8102-e09412e517e3" providerId="ADAL" clId="{35A2B7D3-BB6C-422F-AF31-7DBA0CB14166}" dt="2023-12-25T21:33:22.714" v="475" actId="478"/>
          <ac:picMkLst>
            <pc:docMk/>
            <pc:sldMk cId="898348701" sldId="2491"/>
            <ac:picMk id="23" creationId="{5755B201-6A82-77E7-961F-9178BD249969}"/>
          </ac:picMkLst>
        </pc:picChg>
        <pc:picChg chg="add del mod">
          <ac:chgData name="Yousuf, Arsalan" userId="1f742cd1-60f2-4cc5-8102-e09412e517e3" providerId="ADAL" clId="{35A2B7D3-BB6C-422F-AF31-7DBA0CB14166}" dt="2023-12-25T21:33:22.714" v="475" actId="478"/>
          <ac:picMkLst>
            <pc:docMk/>
            <pc:sldMk cId="898348701" sldId="2491"/>
            <ac:picMk id="24" creationId="{A2EA31CF-E16D-0BAC-4C14-8D8CC34F1D67}"/>
          </ac:picMkLst>
        </pc:picChg>
        <pc:picChg chg="add mod">
          <ac:chgData name="Yousuf, Arsalan" userId="1f742cd1-60f2-4cc5-8102-e09412e517e3" providerId="ADAL" clId="{35A2B7D3-BB6C-422F-AF31-7DBA0CB14166}" dt="2023-12-25T21:33:28.765" v="477" actId="1076"/>
          <ac:picMkLst>
            <pc:docMk/>
            <pc:sldMk cId="898348701" sldId="2491"/>
            <ac:picMk id="25" creationId="{914E8034-D74E-540D-9731-FD4CA7F38305}"/>
          </ac:picMkLst>
        </pc:picChg>
        <pc:picChg chg="add del">
          <ac:chgData name="Yousuf, Arsalan" userId="1f742cd1-60f2-4cc5-8102-e09412e517e3" providerId="ADAL" clId="{35A2B7D3-BB6C-422F-AF31-7DBA0CB14166}" dt="2023-12-25T21:32:47.837" v="434"/>
          <ac:picMkLst>
            <pc:docMk/>
            <pc:sldMk cId="898348701" sldId="2491"/>
            <ac:picMk id="1026" creationId="{C7E0D7AD-8805-53A7-9882-7EA6373E3A15}"/>
          </ac:picMkLst>
        </pc:picChg>
      </pc:sldChg>
      <pc:sldChg chg="modSp add del mod">
        <pc:chgData name="Yousuf, Arsalan" userId="1f742cd1-60f2-4cc5-8102-e09412e517e3" providerId="ADAL" clId="{35A2B7D3-BB6C-422F-AF31-7DBA0CB14166}" dt="2023-12-27T06:28:59.266" v="6762" actId="20577"/>
        <pc:sldMkLst>
          <pc:docMk/>
          <pc:sldMk cId="3871089695" sldId="2492"/>
        </pc:sldMkLst>
        <pc:spChg chg="mod">
          <ac:chgData name="Yousuf, Arsalan" userId="1f742cd1-60f2-4cc5-8102-e09412e517e3" providerId="ADAL" clId="{35A2B7D3-BB6C-422F-AF31-7DBA0CB14166}" dt="2023-12-27T04:50:55.190" v="5456" actId="20577"/>
          <ac:spMkLst>
            <pc:docMk/>
            <pc:sldMk cId="3871089695" sldId="2492"/>
            <ac:spMk id="2" creationId="{00000000-0000-0000-0000-000000000000}"/>
          </ac:spMkLst>
        </pc:spChg>
        <pc:spChg chg="mod">
          <ac:chgData name="Yousuf, Arsalan" userId="1f742cd1-60f2-4cc5-8102-e09412e517e3" providerId="ADAL" clId="{35A2B7D3-BB6C-422F-AF31-7DBA0CB14166}" dt="2023-12-27T06:28:59.266" v="6762" actId="20577"/>
          <ac:spMkLst>
            <pc:docMk/>
            <pc:sldMk cId="3871089695" sldId="2492"/>
            <ac:spMk id="56" creationId="{C2BEA3DA-28CA-45CE-84AC-50290D3831B6}"/>
          </ac:spMkLst>
        </pc:spChg>
        <pc:spChg chg="mod">
          <ac:chgData name="Yousuf, Arsalan" userId="1f742cd1-60f2-4cc5-8102-e09412e517e3" providerId="ADAL" clId="{35A2B7D3-BB6C-422F-AF31-7DBA0CB14166}" dt="2023-12-27T04:51:00.756" v="5465" actId="20577"/>
          <ac:spMkLst>
            <pc:docMk/>
            <pc:sldMk cId="3871089695" sldId="2492"/>
            <ac:spMk id="103" creationId="{00000000-0000-0000-0000-000000000000}"/>
          </ac:spMkLst>
        </pc:spChg>
      </pc:sldChg>
      <pc:sldChg chg="modSp mod">
        <pc:chgData name="Yousuf, Arsalan" userId="1f742cd1-60f2-4cc5-8102-e09412e517e3" providerId="ADAL" clId="{35A2B7D3-BB6C-422F-AF31-7DBA0CB14166}" dt="2023-12-27T06:28:55.903" v="6761" actId="20577"/>
        <pc:sldMkLst>
          <pc:docMk/>
          <pc:sldMk cId="2862692228" sldId="2493"/>
        </pc:sldMkLst>
        <pc:spChg chg="mod">
          <ac:chgData name="Yousuf, Arsalan" userId="1f742cd1-60f2-4cc5-8102-e09412e517e3" providerId="ADAL" clId="{35A2B7D3-BB6C-422F-AF31-7DBA0CB14166}" dt="2023-12-27T05:55:29.010" v="5872" actId="14100"/>
          <ac:spMkLst>
            <pc:docMk/>
            <pc:sldMk cId="2862692228" sldId="2493"/>
            <ac:spMk id="2" creationId="{00000000-0000-0000-0000-000000000000}"/>
          </ac:spMkLst>
        </pc:spChg>
        <pc:spChg chg="mod">
          <ac:chgData name="Yousuf, Arsalan" userId="1f742cd1-60f2-4cc5-8102-e09412e517e3" providerId="ADAL" clId="{35A2B7D3-BB6C-422F-AF31-7DBA0CB14166}" dt="2023-12-27T06:28:55.903" v="6761" actId="20577"/>
          <ac:spMkLst>
            <pc:docMk/>
            <pc:sldMk cId="2862692228" sldId="2493"/>
            <ac:spMk id="56" creationId="{C2BEA3DA-28CA-45CE-84AC-50290D3831B6}"/>
          </ac:spMkLst>
        </pc:spChg>
        <pc:spChg chg="mod">
          <ac:chgData name="Yousuf, Arsalan" userId="1f742cd1-60f2-4cc5-8102-e09412e517e3" providerId="ADAL" clId="{35A2B7D3-BB6C-422F-AF31-7DBA0CB14166}" dt="2023-12-27T05:55:40.276" v="5886" actId="1035"/>
          <ac:spMkLst>
            <pc:docMk/>
            <pc:sldMk cId="2862692228" sldId="2493"/>
            <ac:spMk id="98" creationId="{00000000-0000-0000-0000-000000000000}"/>
          </ac:spMkLst>
        </pc:spChg>
        <pc:spChg chg="mod">
          <ac:chgData name="Yousuf, Arsalan" userId="1f742cd1-60f2-4cc5-8102-e09412e517e3" providerId="ADAL" clId="{35A2B7D3-BB6C-422F-AF31-7DBA0CB14166}" dt="2023-12-27T05:55:36.340" v="5882" actId="14100"/>
          <ac:spMkLst>
            <pc:docMk/>
            <pc:sldMk cId="2862692228" sldId="2493"/>
            <ac:spMk id="102" creationId="{00000000-0000-0000-0000-000000000000}"/>
          </ac:spMkLst>
        </pc:spChg>
        <pc:grpChg chg="mod">
          <ac:chgData name="Yousuf, Arsalan" userId="1f742cd1-60f2-4cc5-8102-e09412e517e3" providerId="ADAL" clId="{35A2B7D3-BB6C-422F-AF31-7DBA0CB14166}" dt="2023-12-27T05:55:40.276" v="5886" actId="1035"/>
          <ac:grpSpMkLst>
            <pc:docMk/>
            <pc:sldMk cId="2862692228" sldId="2493"/>
            <ac:grpSpMk id="3" creationId="{00000000-0000-0000-0000-000000000000}"/>
          </ac:grpSpMkLst>
        </pc:grpChg>
      </pc:sldChg>
      <pc:sldChg chg="modSp mod ord">
        <pc:chgData name="Yousuf, Arsalan" userId="1f742cd1-60f2-4cc5-8102-e09412e517e3" providerId="ADAL" clId="{35A2B7D3-BB6C-422F-AF31-7DBA0CB14166}" dt="2023-12-27T21:32:03.264" v="10915"/>
        <pc:sldMkLst>
          <pc:docMk/>
          <pc:sldMk cId="2712492487" sldId="2617"/>
        </pc:sldMkLst>
        <pc:spChg chg="mod">
          <ac:chgData name="Yousuf, Arsalan" userId="1f742cd1-60f2-4cc5-8102-e09412e517e3" providerId="ADAL" clId="{35A2B7D3-BB6C-422F-AF31-7DBA0CB14166}" dt="2023-12-27T21:08:00.097" v="10874" actId="1036"/>
          <ac:spMkLst>
            <pc:docMk/>
            <pc:sldMk cId="2712492487" sldId="2617"/>
            <ac:spMk id="13" creationId="{00000000-0000-0000-0000-000000000000}"/>
          </ac:spMkLst>
        </pc:spChg>
        <pc:spChg chg="mod">
          <ac:chgData name="Yousuf, Arsalan" userId="1f742cd1-60f2-4cc5-8102-e09412e517e3" providerId="ADAL" clId="{35A2B7D3-BB6C-422F-AF31-7DBA0CB14166}" dt="2023-12-27T21:07:52.300" v="10868" actId="20577"/>
          <ac:spMkLst>
            <pc:docMk/>
            <pc:sldMk cId="2712492487" sldId="2617"/>
            <ac:spMk id="16" creationId="{00000000-0000-0000-0000-000000000000}"/>
          </ac:spMkLst>
        </pc:spChg>
      </pc:sldChg>
      <pc:sldChg chg="add del">
        <pc:chgData name="Yousuf, Arsalan" userId="1f742cd1-60f2-4cc5-8102-e09412e517e3" providerId="ADAL" clId="{35A2B7D3-BB6C-422F-AF31-7DBA0CB14166}" dt="2023-12-27T19:37:20.160" v="10640" actId="47"/>
        <pc:sldMkLst>
          <pc:docMk/>
          <pc:sldMk cId="2002452110" sldId="2618"/>
        </pc:sldMkLst>
      </pc:sldChg>
      <pc:sldChg chg="modSp add mod">
        <pc:chgData name="Yousuf, Arsalan" userId="1f742cd1-60f2-4cc5-8102-e09412e517e3" providerId="ADAL" clId="{35A2B7D3-BB6C-422F-AF31-7DBA0CB14166}" dt="2023-12-27T21:31:27.900" v="10886" actId="20577"/>
        <pc:sldMkLst>
          <pc:docMk/>
          <pc:sldMk cId="3533804214" sldId="2620"/>
        </pc:sldMkLst>
        <pc:spChg chg="mod">
          <ac:chgData name="Yousuf, Arsalan" userId="1f742cd1-60f2-4cc5-8102-e09412e517e3" providerId="ADAL" clId="{35A2B7D3-BB6C-422F-AF31-7DBA0CB14166}" dt="2023-12-27T21:31:27.900" v="10886" actId="20577"/>
          <ac:spMkLst>
            <pc:docMk/>
            <pc:sldMk cId="3533804214" sldId="2620"/>
            <ac:spMk id="10" creationId="{00000000-0000-0000-0000-000000000000}"/>
          </ac:spMkLst>
        </pc:spChg>
      </pc:sldChg>
      <pc:sldChg chg="modSp add mod">
        <pc:chgData name="Yousuf, Arsalan" userId="1f742cd1-60f2-4cc5-8102-e09412e517e3" providerId="ADAL" clId="{35A2B7D3-BB6C-422F-AF31-7DBA0CB14166}" dt="2023-12-27T21:32:31.820" v="10921" actId="1076"/>
        <pc:sldMkLst>
          <pc:docMk/>
          <pc:sldMk cId="75941249" sldId="2621"/>
        </pc:sldMkLst>
        <pc:picChg chg="mod">
          <ac:chgData name="Yousuf, Arsalan" userId="1f742cd1-60f2-4cc5-8102-e09412e517e3" providerId="ADAL" clId="{35A2B7D3-BB6C-422F-AF31-7DBA0CB14166}" dt="2023-12-27T21:32:31.820" v="10921" actId="1076"/>
          <ac:picMkLst>
            <pc:docMk/>
            <pc:sldMk cId="75941249" sldId="2621"/>
            <ac:picMk id="5" creationId="{A2CF6FEE-4A41-72EC-5E36-DDB44B8CA410}"/>
          </ac:picMkLst>
        </pc:picChg>
      </pc:sldChg>
      <pc:sldChg chg="modSp add mod">
        <pc:chgData name="Yousuf, Arsalan" userId="1f742cd1-60f2-4cc5-8102-e09412e517e3" providerId="ADAL" clId="{35A2B7D3-BB6C-422F-AF31-7DBA0CB14166}" dt="2023-12-27T21:31:56.107" v="10911" actId="20577"/>
        <pc:sldMkLst>
          <pc:docMk/>
          <pc:sldMk cId="2404830776" sldId="2622"/>
        </pc:sldMkLst>
        <pc:spChg chg="mod">
          <ac:chgData name="Yousuf, Arsalan" userId="1f742cd1-60f2-4cc5-8102-e09412e517e3" providerId="ADAL" clId="{35A2B7D3-BB6C-422F-AF31-7DBA0CB14166}" dt="2023-12-27T21:31:56.107" v="10911" actId="20577"/>
          <ac:spMkLst>
            <pc:docMk/>
            <pc:sldMk cId="2404830776" sldId="2622"/>
            <ac:spMk id="2" creationId="{F38C859F-33A0-4C76-6550-7820598F674B}"/>
          </ac:spMkLst>
        </pc:spChg>
      </pc:sldChg>
      <pc:sldChg chg="addSp delSp modSp add mod">
        <pc:chgData name="Yousuf, Arsalan" userId="1f742cd1-60f2-4cc5-8102-e09412e517e3" providerId="ADAL" clId="{35A2B7D3-BB6C-422F-AF31-7DBA0CB14166}" dt="2023-12-27T21:32:00.842" v="10913"/>
        <pc:sldMkLst>
          <pc:docMk/>
          <pc:sldMk cId="1075514824" sldId="2623"/>
        </pc:sldMkLst>
        <pc:spChg chg="del">
          <ac:chgData name="Yousuf, Arsalan" userId="1f742cd1-60f2-4cc5-8102-e09412e517e3" providerId="ADAL" clId="{35A2B7D3-BB6C-422F-AF31-7DBA0CB14166}" dt="2023-12-27T21:32:00.498" v="10912" actId="478"/>
          <ac:spMkLst>
            <pc:docMk/>
            <pc:sldMk cId="1075514824" sldId="2623"/>
            <ac:spMk id="2" creationId="{F38C859F-33A0-4C76-6550-7820598F674B}"/>
          </ac:spMkLst>
        </pc:spChg>
        <pc:spChg chg="add mod">
          <ac:chgData name="Yousuf, Arsalan" userId="1f742cd1-60f2-4cc5-8102-e09412e517e3" providerId="ADAL" clId="{35A2B7D3-BB6C-422F-AF31-7DBA0CB14166}" dt="2023-12-27T21:32:00.842" v="10913"/>
          <ac:spMkLst>
            <pc:docMk/>
            <pc:sldMk cId="1075514824" sldId="2623"/>
            <ac:spMk id="3" creationId="{9BD74E6F-8283-291E-4BCC-3939EC162EB9}"/>
          </ac:spMkLst>
        </pc:spChg>
      </pc:sldChg>
      <pc:sldChg chg="del">
        <pc:chgData name="Yousuf, Arsalan" userId="1f742cd1-60f2-4cc5-8102-e09412e517e3" providerId="ADAL" clId="{35A2B7D3-BB6C-422F-AF31-7DBA0CB14166}" dt="2023-12-27T19:36:19.101" v="10627" actId="47"/>
        <pc:sldMkLst>
          <pc:docMk/>
          <pc:sldMk cId="3243084515" sldId="2625"/>
        </pc:sldMkLst>
      </pc:sldChg>
      <pc:sldChg chg="del">
        <pc:chgData name="Yousuf, Arsalan" userId="1f742cd1-60f2-4cc5-8102-e09412e517e3" providerId="ADAL" clId="{35A2B7D3-BB6C-422F-AF31-7DBA0CB14166}" dt="2023-12-27T19:36:18.341" v="10626" actId="47"/>
        <pc:sldMkLst>
          <pc:docMk/>
          <pc:sldMk cId="2013710206" sldId="2626"/>
        </pc:sldMkLst>
      </pc:sldChg>
      <pc:sldChg chg="add del">
        <pc:chgData name="Yousuf, Arsalan" userId="1f742cd1-60f2-4cc5-8102-e09412e517e3" providerId="ADAL" clId="{35A2B7D3-BB6C-422F-AF31-7DBA0CB14166}" dt="2023-12-27T19:37:45.345" v="10667" actId="47"/>
        <pc:sldMkLst>
          <pc:docMk/>
          <pc:sldMk cId="23248219" sldId="2629"/>
        </pc:sldMkLst>
      </pc:sldChg>
      <pc:sldChg chg="modSp mod">
        <pc:chgData name="Yousuf, Arsalan" userId="1f742cd1-60f2-4cc5-8102-e09412e517e3" providerId="ADAL" clId="{35A2B7D3-BB6C-422F-AF31-7DBA0CB14166}" dt="2023-12-28T07:37:47.596" v="11140" actId="20577"/>
        <pc:sldMkLst>
          <pc:docMk/>
          <pc:sldMk cId="2569604946" sldId="2631"/>
        </pc:sldMkLst>
        <pc:spChg chg="mod">
          <ac:chgData name="Yousuf, Arsalan" userId="1f742cd1-60f2-4cc5-8102-e09412e517e3" providerId="ADAL" clId="{35A2B7D3-BB6C-422F-AF31-7DBA0CB14166}" dt="2023-12-28T07:37:47.596" v="11140" actId="20577"/>
          <ac:spMkLst>
            <pc:docMk/>
            <pc:sldMk cId="2569604946" sldId="2631"/>
            <ac:spMk id="13" creationId="{98780B7D-6F43-437B-BBC9-3767D1D6EEE2}"/>
          </ac:spMkLst>
        </pc:spChg>
      </pc:sldChg>
      <pc:sldChg chg="del">
        <pc:chgData name="Yousuf, Arsalan" userId="1f742cd1-60f2-4cc5-8102-e09412e517e3" providerId="ADAL" clId="{35A2B7D3-BB6C-422F-AF31-7DBA0CB14166}" dt="2023-12-27T03:32:33.437" v="2454" actId="47"/>
        <pc:sldMkLst>
          <pc:docMk/>
          <pc:sldMk cId="2642891345" sldId="2656"/>
        </pc:sldMkLst>
      </pc:sldChg>
      <pc:sldChg chg="del">
        <pc:chgData name="Yousuf, Arsalan" userId="1f742cd1-60f2-4cc5-8102-e09412e517e3" providerId="ADAL" clId="{35A2B7D3-BB6C-422F-AF31-7DBA0CB14166}" dt="2023-12-27T03:49:58.945" v="3624" actId="47"/>
        <pc:sldMkLst>
          <pc:docMk/>
          <pc:sldMk cId="3880349500" sldId="2659"/>
        </pc:sldMkLst>
      </pc:sldChg>
      <pc:sldChg chg="addSp delSp modSp mod">
        <pc:chgData name="Yousuf, Arsalan" userId="1f742cd1-60f2-4cc5-8102-e09412e517e3" providerId="ADAL" clId="{35A2B7D3-BB6C-422F-AF31-7DBA0CB14166}" dt="2023-12-27T03:38:28.610" v="2487" actId="20577"/>
        <pc:sldMkLst>
          <pc:docMk/>
          <pc:sldMk cId="2225346609" sldId="2663"/>
        </pc:sldMkLst>
        <pc:spChg chg="add mod">
          <ac:chgData name="Yousuf, Arsalan" userId="1f742cd1-60f2-4cc5-8102-e09412e517e3" providerId="ADAL" clId="{35A2B7D3-BB6C-422F-AF31-7DBA0CB14166}" dt="2023-12-27T03:38:22.410" v="2480"/>
          <ac:spMkLst>
            <pc:docMk/>
            <pc:sldMk cId="2225346609" sldId="2663"/>
            <ac:spMk id="3" creationId="{515B8183-8352-4EDD-41CF-CE7DA8F65E1E}"/>
          </ac:spMkLst>
        </pc:spChg>
        <pc:spChg chg="mod">
          <ac:chgData name="Yousuf, Arsalan" userId="1f742cd1-60f2-4cc5-8102-e09412e517e3" providerId="ADAL" clId="{35A2B7D3-BB6C-422F-AF31-7DBA0CB14166}" dt="2023-12-27T03:38:28.610" v="2487" actId="20577"/>
          <ac:spMkLst>
            <pc:docMk/>
            <pc:sldMk cId="2225346609" sldId="2663"/>
            <ac:spMk id="27" creationId="{4EF18C66-F89F-48F3-B118-6885B7F66618}"/>
          </ac:spMkLst>
        </pc:spChg>
        <pc:spChg chg="del">
          <ac:chgData name="Yousuf, Arsalan" userId="1f742cd1-60f2-4cc5-8102-e09412e517e3" providerId="ADAL" clId="{35A2B7D3-BB6C-422F-AF31-7DBA0CB14166}" dt="2023-12-27T03:38:22.124" v="2479" actId="478"/>
          <ac:spMkLst>
            <pc:docMk/>
            <pc:sldMk cId="2225346609" sldId="2663"/>
            <ac:spMk id="29" creationId="{622CF946-3CE0-4A64-B3C2-2FAC843C8935}"/>
          </ac:spMkLst>
        </pc:spChg>
        <pc:picChg chg="add mod">
          <ac:chgData name="Yousuf, Arsalan" userId="1f742cd1-60f2-4cc5-8102-e09412e517e3" providerId="ADAL" clId="{35A2B7D3-BB6C-422F-AF31-7DBA0CB14166}" dt="2023-12-27T03:38:22.410" v="2480"/>
          <ac:picMkLst>
            <pc:docMk/>
            <pc:sldMk cId="2225346609" sldId="2663"/>
            <ac:picMk id="4" creationId="{EDA93DBD-6626-4BA5-4CE2-9A2AA7FB389C}"/>
          </ac:picMkLst>
        </pc:picChg>
        <pc:picChg chg="del">
          <ac:chgData name="Yousuf, Arsalan" userId="1f742cd1-60f2-4cc5-8102-e09412e517e3" providerId="ADAL" clId="{35A2B7D3-BB6C-422F-AF31-7DBA0CB14166}" dt="2023-12-27T03:38:22.124" v="2479" actId="478"/>
          <ac:picMkLst>
            <pc:docMk/>
            <pc:sldMk cId="2225346609" sldId="2663"/>
            <ac:picMk id="34" creationId="{A2A22F1D-C25B-9295-4601-83E5E984129F}"/>
          </ac:picMkLst>
        </pc:picChg>
      </pc:sldChg>
      <pc:sldChg chg="del">
        <pc:chgData name="Yousuf, Arsalan" userId="1f742cd1-60f2-4cc5-8102-e09412e517e3" providerId="ADAL" clId="{35A2B7D3-BB6C-422F-AF31-7DBA0CB14166}" dt="2023-12-27T03:32:33.437" v="2454" actId="47"/>
        <pc:sldMkLst>
          <pc:docMk/>
          <pc:sldMk cId="436925060" sldId="2665"/>
        </pc:sldMkLst>
      </pc:sldChg>
      <pc:sldChg chg="del">
        <pc:chgData name="Yousuf, Arsalan" userId="1f742cd1-60f2-4cc5-8102-e09412e517e3" providerId="ADAL" clId="{35A2B7D3-BB6C-422F-AF31-7DBA0CB14166}" dt="2023-12-27T03:32:33.437" v="2454" actId="47"/>
        <pc:sldMkLst>
          <pc:docMk/>
          <pc:sldMk cId="4147936687" sldId="2666"/>
        </pc:sldMkLst>
      </pc:sldChg>
      <pc:sldChg chg="addSp delSp modSp mod ord">
        <pc:chgData name="Yousuf, Arsalan" userId="1f742cd1-60f2-4cc5-8102-e09412e517e3" providerId="ADAL" clId="{35A2B7D3-BB6C-422F-AF31-7DBA0CB14166}" dt="2023-12-27T03:53:40.973" v="3792" actId="20577"/>
        <pc:sldMkLst>
          <pc:docMk/>
          <pc:sldMk cId="1898465707" sldId="2668"/>
        </pc:sldMkLst>
        <pc:spChg chg="add mod">
          <ac:chgData name="Yousuf, Arsalan" userId="1f742cd1-60f2-4cc5-8102-e09412e517e3" providerId="ADAL" clId="{35A2B7D3-BB6C-422F-AF31-7DBA0CB14166}" dt="2023-12-27T03:50:38.886" v="3640" actId="20577"/>
          <ac:spMkLst>
            <pc:docMk/>
            <pc:sldMk cId="1898465707" sldId="2668"/>
            <ac:spMk id="2" creationId="{944ECC0F-09E2-7313-036E-4E6B7E5FDAD5}"/>
          </ac:spMkLst>
        </pc:spChg>
        <pc:spChg chg="mod">
          <ac:chgData name="Yousuf, Arsalan" userId="1f742cd1-60f2-4cc5-8102-e09412e517e3" providerId="ADAL" clId="{35A2B7D3-BB6C-422F-AF31-7DBA0CB14166}" dt="2023-12-27T03:53:40.973" v="3792" actId="20577"/>
          <ac:spMkLst>
            <pc:docMk/>
            <pc:sldMk cId="1898465707" sldId="2668"/>
            <ac:spMk id="10" creationId="{4DA347BF-E82C-8655-8FE7-A27E4387282A}"/>
          </ac:spMkLst>
        </pc:spChg>
        <pc:spChg chg="del">
          <ac:chgData name="Yousuf, Arsalan" userId="1f742cd1-60f2-4cc5-8102-e09412e517e3" providerId="ADAL" clId="{35A2B7D3-BB6C-422F-AF31-7DBA0CB14166}" dt="2023-12-27T03:50:36.015" v="3637" actId="478"/>
          <ac:spMkLst>
            <pc:docMk/>
            <pc:sldMk cId="1898465707" sldId="2668"/>
            <ac:spMk id="56" creationId="{C2BEA3DA-28CA-45CE-84AC-50290D3831B6}"/>
          </ac:spMkLst>
        </pc:spChg>
      </pc:sldChg>
      <pc:sldChg chg="add">
        <pc:chgData name="Yousuf, Arsalan" userId="1f742cd1-60f2-4cc5-8102-e09412e517e3" providerId="ADAL" clId="{35A2B7D3-BB6C-422F-AF31-7DBA0CB14166}" dt="2023-12-27T03:38:32.561" v="2488" actId="2890"/>
        <pc:sldMkLst>
          <pc:docMk/>
          <pc:sldMk cId="2516011053" sldId="2669"/>
        </pc:sldMkLst>
      </pc:sldChg>
      <pc:sldChg chg="add del">
        <pc:chgData name="Yousuf, Arsalan" userId="1f742cd1-60f2-4cc5-8102-e09412e517e3" providerId="ADAL" clId="{35A2B7D3-BB6C-422F-AF31-7DBA0CB14166}" dt="2023-12-25T22:35:27.645" v="1731" actId="47"/>
        <pc:sldMkLst>
          <pc:docMk/>
          <pc:sldMk cId="3827669900" sldId="2669"/>
        </pc:sldMkLst>
      </pc:sldChg>
      <pc:sldChg chg="addSp delSp modSp add mod">
        <pc:chgData name="Yousuf, Arsalan" userId="1f742cd1-60f2-4cc5-8102-e09412e517e3" providerId="ADAL" clId="{35A2B7D3-BB6C-422F-AF31-7DBA0CB14166}" dt="2023-12-27T06:28:52.914" v="6760" actId="20577"/>
        <pc:sldMkLst>
          <pc:docMk/>
          <pc:sldMk cId="2528561281" sldId="2670"/>
        </pc:sldMkLst>
        <pc:spChg chg="mod">
          <ac:chgData name="Yousuf, Arsalan" userId="1f742cd1-60f2-4cc5-8102-e09412e517e3" providerId="ADAL" clId="{35A2B7D3-BB6C-422F-AF31-7DBA0CB14166}" dt="2023-12-27T06:27:57.146" v="6746" actId="14100"/>
          <ac:spMkLst>
            <pc:docMk/>
            <pc:sldMk cId="2528561281" sldId="2670"/>
            <ac:spMk id="2" creationId="{00000000-0000-0000-0000-000000000000}"/>
          </ac:spMkLst>
        </pc:spChg>
        <pc:spChg chg="mod">
          <ac:chgData name="Yousuf, Arsalan" userId="1f742cd1-60f2-4cc5-8102-e09412e517e3" providerId="ADAL" clId="{35A2B7D3-BB6C-422F-AF31-7DBA0CB14166}" dt="2023-12-27T06:28:14.910" v="6748"/>
          <ac:spMkLst>
            <pc:docMk/>
            <pc:sldMk cId="2528561281" sldId="2670"/>
            <ac:spMk id="8" creationId="{6CC884FD-AB13-D951-0791-1DACDB92EBC7}"/>
          </ac:spMkLst>
        </pc:spChg>
        <pc:spChg chg="mod">
          <ac:chgData name="Yousuf, Arsalan" userId="1f742cd1-60f2-4cc5-8102-e09412e517e3" providerId="ADAL" clId="{35A2B7D3-BB6C-422F-AF31-7DBA0CB14166}" dt="2023-12-27T06:28:14.910" v="6748"/>
          <ac:spMkLst>
            <pc:docMk/>
            <pc:sldMk cId="2528561281" sldId="2670"/>
            <ac:spMk id="10" creationId="{90A1A7AF-1653-B038-B618-EA5D0989780B}"/>
          </ac:spMkLst>
        </pc:spChg>
        <pc:spChg chg="mod ord">
          <ac:chgData name="Yousuf, Arsalan" userId="1f742cd1-60f2-4cc5-8102-e09412e517e3" providerId="ADAL" clId="{35A2B7D3-BB6C-422F-AF31-7DBA0CB14166}" dt="2023-12-27T06:28:41.840" v="6756" actId="1076"/>
          <ac:spMkLst>
            <pc:docMk/>
            <pc:sldMk cId="2528561281" sldId="2670"/>
            <ac:spMk id="29" creationId="{00000000-0000-0000-0000-000000000000}"/>
          </ac:spMkLst>
        </pc:spChg>
        <pc:spChg chg="mod">
          <ac:chgData name="Yousuf, Arsalan" userId="1f742cd1-60f2-4cc5-8102-e09412e517e3" providerId="ADAL" clId="{35A2B7D3-BB6C-422F-AF31-7DBA0CB14166}" dt="2023-12-27T06:28:52.914" v="6760" actId="20577"/>
          <ac:spMkLst>
            <pc:docMk/>
            <pc:sldMk cId="2528561281" sldId="2670"/>
            <ac:spMk id="56" creationId="{C2BEA3DA-28CA-45CE-84AC-50290D3831B6}"/>
          </ac:spMkLst>
        </pc:spChg>
        <pc:spChg chg="mod">
          <ac:chgData name="Yousuf, Arsalan" userId="1f742cd1-60f2-4cc5-8102-e09412e517e3" providerId="ADAL" clId="{35A2B7D3-BB6C-422F-AF31-7DBA0CB14166}" dt="2023-12-27T06:26:22.777" v="6725" actId="1036"/>
          <ac:spMkLst>
            <pc:docMk/>
            <pc:sldMk cId="2528561281" sldId="2670"/>
            <ac:spMk id="98" creationId="{00000000-0000-0000-0000-000000000000}"/>
          </ac:spMkLst>
        </pc:spChg>
        <pc:spChg chg="mod">
          <ac:chgData name="Yousuf, Arsalan" userId="1f742cd1-60f2-4cc5-8102-e09412e517e3" providerId="ADAL" clId="{35A2B7D3-BB6C-422F-AF31-7DBA0CB14166}" dt="2023-12-27T06:26:15.600" v="6695" actId="1036"/>
          <ac:spMkLst>
            <pc:docMk/>
            <pc:sldMk cId="2528561281" sldId="2670"/>
            <ac:spMk id="102" creationId="{00000000-0000-0000-0000-000000000000}"/>
          </ac:spMkLst>
        </pc:spChg>
        <pc:grpChg chg="mod">
          <ac:chgData name="Yousuf, Arsalan" userId="1f742cd1-60f2-4cc5-8102-e09412e517e3" providerId="ADAL" clId="{35A2B7D3-BB6C-422F-AF31-7DBA0CB14166}" dt="2023-12-27T06:26:22.777" v="6725" actId="1036"/>
          <ac:grpSpMkLst>
            <pc:docMk/>
            <pc:sldMk cId="2528561281" sldId="2670"/>
            <ac:grpSpMk id="3" creationId="{00000000-0000-0000-0000-000000000000}"/>
          </ac:grpSpMkLst>
        </pc:grpChg>
        <pc:grpChg chg="add mod">
          <ac:chgData name="Yousuf, Arsalan" userId="1f742cd1-60f2-4cc5-8102-e09412e517e3" providerId="ADAL" clId="{35A2B7D3-BB6C-422F-AF31-7DBA0CB14166}" dt="2023-12-27T06:28:34.254" v="6753" actId="1076"/>
          <ac:grpSpMkLst>
            <pc:docMk/>
            <pc:sldMk cId="2528561281" sldId="2670"/>
            <ac:grpSpMk id="7" creationId="{F38F7358-4215-D0FA-1103-77CFF6B11C45}"/>
          </ac:grpSpMkLst>
        </pc:grpChg>
        <pc:picChg chg="add mod">
          <ac:chgData name="Yousuf, Arsalan" userId="1f742cd1-60f2-4cc5-8102-e09412e517e3" providerId="ADAL" clId="{35A2B7D3-BB6C-422F-AF31-7DBA0CB14166}" dt="2023-12-27T06:28:20.332" v="6750" actId="1076"/>
          <ac:picMkLst>
            <pc:docMk/>
            <pc:sldMk cId="2528561281" sldId="2670"/>
            <ac:picMk id="5" creationId="{66A58566-E51D-C37A-8422-F80BEF604F1E}"/>
          </ac:picMkLst>
        </pc:picChg>
        <pc:picChg chg="add mod">
          <ac:chgData name="Yousuf, Arsalan" userId="1f742cd1-60f2-4cc5-8102-e09412e517e3" providerId="ADAL" clId="{35A2B7D3-BB6C-422F-AF31-7DBA0CB14166}" dt="2023-12-27T06:28:35.414" v="6754" actId="1076"/>
          <ac:picMkLst>
            <pc:docMk/>
            <pc:sldMk cId="2528561281" sldId="2670"/>
            <ac:picMk id="6" creationId="{CF7AB2A0-A1D1-F26F-B6C6-F1C80C24236B}"/>
          </ac:picMkLst>
        </pc:picChg>
        <pc:picChg chg="mod">
          <ac:chgData name="Yousuf, Arsalan" userId="1f742cd1-60f2-4cc5-8102-e09412e517e3" providerId="ADAL" clId="{35A2B7D3-BB6C-422F-AF31-7DBA0CB14166}" dt="2023-12-27T06:28:14.910" v="6748"/>
          <ac:picMkLst>
            <pc:docMk/>
            <pc:sldMk cId="2528561281" sldId="2670"/>
            <ac:picMk id="9" creationId="{B367047E-116E-F1FB-1E89-6A157180D2E8}"/>
          </ac:picMkLst>
        </pc:picChg>
        <pc:picChg chg="add mod">
          <ac:chgData name="Yousuf, Arsalan" userId="1f742cd1-60f2-4cc5-8102-e09412e517e3" providerId="ADAL" clId="{35A2B7D3-BB6C-422F-AF31-7DBA0CB14166}" dt="2023-12-27T06:28:32.799" v="6752" actId="1076"/>
          <ac:picMkLst>
            <pc:docMk/>
            <pc:sldMk cId="2528561281" sldId="2670"/>
            <ac:picMk id="11" creationId="{4FA33FB4-A750-5019-11A1-256B224C1824}"/>
          </ac:picMkLst>
        </pc:picChg>
        <pc:picChg chg="del">
          <ac:chgData name="Yousuf, Arsalan" userId="1f742cd1-60f2-4cc5-8102-e09412e517e3" providerId="ADAL" clId="{35A2B7D3-BB6C-422F-AF31-7DBA0CB14166}" dt="2023-12-27T06:28:12.824" v="6747" actId="478"/>
          <ac:picMkLst>
            <pc:docMk/>
            <pc:sldMk cId="2528561281" sldId="2670"/>
            <ac:picMk id="25" creationId="{00000000-0000-0000-0000-000000000000}"/>
          </ac:picMkLst>
        </pc:picChg>
        <pc:picChg chg="del">
          <ac:chgData name="Yousuf, Arsalan" userId="1f742cd1-60f2-4cc5-8102-e09412e517e3" providerId="ADAL" clId="{35A2B7D3-BB6C-422F-AF31-7DBA0CB14166}" dt="2023-12-27T06:28:12.824" v="6747" actId="478"/>
          <ac:picMkLst>
            <pc:docMk/>
            <pc:sldMk cId="2528561281" sldId="2670"/>
            <ac:picMk id="26" creationId="{00000000-0000-0000-0000-000000000000}"/>
          </ac:picMkLst>
        </pc:picChg>
      </pc:sldChg>
      <pc:sldChg chg="addSp delSp modSp add mod">
        <pc:chgData name="Yousuf, Arsalan" userId="1f742cd1-60f2-4cc5-8102-e09412e517e3" providerId="ADAL" clId="{35A2B7D3-BB6C-422F-AF31-7DBA0CB14166}" dt="2023-12-27T06:29:21.357" v="6764"/>
        <pc:sldMkLst>
          <pc:docMk/>
          <pc:sldMk cId="639410691" sldId="2671"/>
        </pc:sldMkLst>
        <pc:spChg chg="del">
          <ac:chgData name="Yousuf, Arsalan" userId="1f742cd1-60f2-4cc5-8102-e09412e517e3" providerId="ADAL" clId="{35A2B7D3-BB6C-422F-AF31-7DBA0CB14166}" dt="2023-12-27T06:29:04.264" v="6763" actId="478"/>
          <ac:spMkLst>
            <pc:docMk/>
            <pc:sldMk cId="639410691" sldId="2671"/>
            <ac:spMk id="2" creationId="{00000000-0000-0000-0000-000000000000}"/>
          </ac:spMkLst>
        </pc:spChg>
        <pc:spChg chg="add mod">
          <ac:chgData name="Yousuf, Arsalan" userId="1f742cd1-60f2-4cc5-8102-e09412e517e3" providerId="ADAL" clId="{35A2B7D3-BB6C-422F-AF31-7DBA0CB14166}" dt="2023-12-27T06:29:21.357" v="6764"/>
          <ac:spMkLst>
            <pc:docMk/>
            <pc:sldMk cId="639410691" sldId="2671"/>
            <ac:spMk id="16" creationId="{1078E867-FAF2-15C8-A92B-C5131624D779}"/>
          </ac:spMkLst>
        </pc:spChg>
        <pc:spChg chg="add mod">
          <ac:chgData name="Yousuf, Arsalan" userId="1f742cd1-60f2-4cc5-8102-e09412e517e3" providerId="ADAL" clId="{35A2B7D3-BB6C-422F-AF31-7DBA0CB14166}" dt="2023-12-27T06:29:21.357" v="6764"/>
          <ac:spMkLst>
            <pc:docMk/>
            <pc:sldMk cId="639410691" sldId="2671"/>
            <ac:spMk id="17" creationId="{82385809-7555-5BCF-1E56-31D25C4B306A}"/>
          </ac:spMkLst>
        </pc:spChg>
        <pc:spChg chg="add mod">
          <ac:chgData name="Yousuf, Arsalan" userId="1f742cd1-60f2-4cc5-8102-e09412e517e3" providerId="ADAL" clId="{35A2B7D3-BB6C-422F-AF31-7DBA0CB14166}" dt="2023-12-27T06:29:21.357" v="6764"/>
          <ac:spMkLst>
            <pc:docMk/>
            <pc:sldMk cId="639410691" sldId="2671"/>
            <ac:spMk id="18" creationId="{00CDB8FE-A487-865E-6028-906E3AEE24AF}"/>
          </ac:spMkLst>
        </pc:spChg>
        <pc:spChg chg="mod">
          <ac:chgData name="Yousuf, Arsalan" userId="1f742cd1-60f2-4cc5-8102-e09412e517e3" providerId="ADAL" clId="{35A2B7D3-BB6C-422F-AF31-7DBA0CB14166}" dt="2023-12-27T06:29:21.357" v="6764"/>
          <ac:spMkLst>
            <pc:docMk/>
            <pc:sldMk cId="639410691" sldId="2671"/>
            <ac:spMk id="21" creationId="{6794CB10-705F-A25C-806C-5090646B0F9C}"/>
          </ac:spMkLst>
        </pc:spChg>
        <pc:spChg chg="mod">
          <ac:chgData name="Yousuf, Arsalan" userId="1f742cd1-60f2-4cc5-8102-e09412e517e3" providerId="ADAL" clId="{35A2B7D3-BB6C-422F-AF31-7DBA0CB14166}" dt="2023-12-27T06:29:21.357" v="6764"/>
          <ac:spMkLst>
            <pc:docMk/>
            <pc:sldMk cId="639410691" sldId="2671"/>
            <ac:spMk id="22" creationId="{384CC926-BD5D-A8D8-57AD-F615101C505B}"/>
          </ac:spMkLst>
        </pc:spChg>
        <pc:spChg chg="mod">
          <ac:chgData name="Yousuf, Arsalan" userId="1f742cd1-60f2-4cc5-8102-e09412e517e3" providerId="ADAL" clId="{35A2B7D3-BB6C-422F-AF31-7DBA0CB14166}" dt="2023-12-27T06:29:21.357" v="6764"/>
          <ac:spMkLst>
            <pc:docMk/>
            <pc:sldMk cId="639410691" sldId="2671"/>
            <ac:spMk id="23" creationId="{95FC2D6E-ECC0-413F-5072-905A43BE257A}"/>
          </ac:spMkLst>
        </pc:spChg>
        <pc:spChg chg="mod">
          <ac:chgData name="Yousuf, Arsalan" userId="1f742cd1-60f2-4cc5-8102-e09412e517e3" providerId="ADAL" clId="{35A2B7D3-BB6C-422F-AF31-7DBA0CB14166}" dt="2023-12-27T06:29:21.357" v="6764"/>
          <ac:spMkLst>
            <pc:docMk/>
            <pc:sldMk cId="639410691" sldId="2671"/>
            <ac:spMk id="24" creationId="{4E99C2F6-94D6-3465-FEDF-5F71F10C2E88}"/>
          </ac:spMkLst>
        </pc:spChg>
        <pc:spChg chg="mod">
          <ac:chgData name="Yousuf, Arsalan" userId="1f742cd1-60f2-4cc5-8102-e09412e517e3" providerId="ADAL" clId="{35A2B7D3-BB6C-422F-AF31-7DBA0CB14166}" dt="2023-12-27T06:29:21.357" v="6764"/>
          <ac:spMkLst>
            <pc:docMk/>
            <pc:sldMk cId="639410691" sldId="2671"/>
            <ac:spMk id="25" creationId="{DC92B7B3-7C2C-94B4-A614-AB4A529936A4}"/>
          </ac:spMkLst>
        </pc:spChg>
        <pc:spChg chg="mod">
          <ac:chgData name="Yousuf, Arsalan" userId="1f742cd1-60f2-4cc5-8102-e09412e517e3" providerId="ADAL" clId="{35A2B7D3-BB6C-422F-AF31-7DBA0CB14166}" dt="2023-12-27T06:29:21.357" v="6764"/>
          <ac:spMkLst>
            <pc:docMk/>
            <pc:sldMk cId="639410691" sldId="2671"/>
            <ac:spMk id="26" creationId="{624C9B90-A911-F9DF-AF22-3CA32A0EB753}"/>
          </ac:spMkLst>
        </pc:spChg>
        <pc:spChg chg="mod">
          <ac:chgData name="Yousuf, Arsalan" userId="1f742cd1-60f2-4cc5-8102-e09412e517e3" providerId="ADAL" clId="{35A2B7D3-BB6C-422F-AF31-7DBA0CB14166}" dt="2023-12-27T06:29:21.357" v="6764"/>
          <ac:spMkLst>
            <pc:docMk/>
            <pc:sldMk cId="639410691" sldId="2671"/>
            <ac:spMk id="27" creationId="{DA910CEE-2481-AA6C-1711-B15B592EBDA0}"/>
          </ac:spMkLst>
        </pc:spChg>
        <pc:spChg chg="del">
          <ac:chgData name="Yousuf, Arsalan" userId="1f742cd1-60f2-4cc5-8102-e09412e517e3" providerId="ADAL" clId="{35A2B7D3-BB6C-422F-AF31-7DBA0CB14166}" dt="2023-12-27T06:29:04.264" v="6763" actId="478"/>
          <ac:spMkLst>
            <pc:docMk/>
            <pc:sldMk cId="639410691" sldId="2671"/>
            <ac:spMk id="29" creationId="{00000000-0000-0000-0000-000000000000}"/>
          </ac:spMkLst>
        </pc:spChg>
        <pc:spChg chg="mod">
          <ac:chgData name="Yousuf, Arsalan" userId="1f742cd1-60f2-4cc5-8102-e09412e517e3" providerId="ADAL" clId="{35A2B7D3-BB6C-422F-AF31-7DBA0CB14166}" dt="2023-12-27T06:29:21.357" v="6764"/>
          <ac:spMkLst>
            <pc:docMk/>
            <pc:sldMk cId="639410691" sldId="2671"/>
            <ac:spMk id="30" creationId="{12F44A60-9356-BBE2-73F3-6B1FFA41A1E8}"/>
          </ac:spMkLst>
        </pc:spChg>
        <pc:spChg chg="mod">
          <ac:chgData name="Yousuf, Arsalan" userId="1f742cd1-60f2-4cc5-8102-e09412e517e3" providerId="ADAL" clId="{35A2B7D3-BB6C-422F-AF31-7DBA0CB14166}" dt="2023-12-27T06:29:21.357" v="6764"/>
          <ac:spMkLst>
            <pc:docMk/>
            <pc:sldMk cId="639410691" sldId="2671"/>
            <ac:spMk id="31" creationId="{6D1E5E81-3268-BCA0-B6EE-445CD1C081E9}"/>
          </ac:spMkLst>
        </pc:spChg>
        <pc:spChg chg="mod">
          <ac:chgData name="Yousuf, Arsalan" userId="1f742cd1-60f2-4cc5-8102-e09412e517e3" providerId="ADAL" clId="{35A2B7D3-BB6C-422F-AF31-7DBA0CB14166}" dt="2023-12-27T06:29:21.357" v="6764"/>
          <ac:spMkLst>
            <pc:docMk/>
            <pc:sldMk cId="639410691" sldId="2671"/>
            <ac:spMk id="32" creationId="{66491A86-0139-37A6-A0FB-5121DDE0DB3F}"/>
          </ac:spMkLst>
        </pc:spChg>
        <pc:spChg chg="add mod">
          <ac:chgData name="Yousuf, Arsalan" userId="1f742cd1-60f2-4cc5-8102-e09412e517e3" providerId="ADAL" clId="{35A2B7D3-BB6C-422F-AF31-7DBA0CB14166}" dt="2023-12-27T06:29:21.357" v="6764"/>
          <ac:spMkLst>
            <pc:docMk/>
            <pc:sldMk cId="639410691" sldId="2671"/>
            <ac:spMk id="33" creationId="{C2E442CB-BC7D-92D9-22AD-1F5FB067C233}"/>
          </ac:spMkLst>
        </pc:spChg>
        <pc:spChg chg="mod">
          <ac:chgData name="Yousuf, Arsalan" userId="1f742cd1-60f2-4cc5-8102-e09412e517e3" providerId="ADAL" clId="{35A2B7D3-BB6C-422F-AF31-7DBA0CB14166}" dt="2023-12-27T06:28:50.082" v="6759" actId="20577"/>
          <ac:spMkLst>
            <pc:docMk/>
            <pc:sldMk cId="639410691" sldId="2671"/>
            <ac:spMk id="56" creationId="{C2BEA3DA-28CA-45CE-84AC-50290D3831B6}"/>
          </ac:spMkLst>
        </pc:spChg>
        <pc:spChg chg="del">
          <ac:chgData name="Yousuf, Arsalan" userId="1f742cd1-60f2-4cc5-8102-e09412e517e3" providerId="ADAL" clId="{35A2B7D3-BB6C-422F-AF31-7DBA0CB14166}" dt="2023-12-27T06:29:04.264" v="6763" actId="478"/>
          <ac:spMkLst>
            <pc:docMk/>
            <pc:sldMk cId="639410691" sldId="2671"/>
            <ac:spMk id="94" creationId="{00000000-0000-0000-0000-000000000000}"/>
          </ac:spMkLst>
        </pc:spChg>
        <pc:spChg chg="del">
          <ac:chgData name="Yousuf, Arsalan" userId="1f742cd1-60f2-4cc5-8102-e09412e517e3" providerId="ADAL" clId="{35A2B7D3-BB6C-422F-AF31-7DBA0CB14166}" dt="2023-12-27T06:29:04.264" v="6763" actId="478"/>
          <ac:spMkLst>
            <pc:docMk/>
            <pc:sldMk cId="639410691" sldId="2671"/>
            <ac:spMk id="98" creationId="{00000000-0000-0000-0000-000000000000}"/>
          </ac:spMkLst>
        </pc:spChg>
        <pc:spChg chg="del">
          <ac:chgData name="Yousuf, Arsalan" userId="1f742cd1-60f2-4cc5-8102-e09412e517e3" providerId="ADAL" clId="{35A2B7D3-BB6C-422F-AF31-7DBA0CB14166}" dt="2023-12-27T06:29:04.264" v="6763" actId="478"/>
          <ac:spMkLst>
            <pc:docMk/>
            <pc:sldMk cId="639410691" sldId="2671"/>
            <ac:spMk id="102" creationId="{00000000-0000-0000-0000-000000000000}"/>
          </ac:spMkLst>
        </pc:spChg>
        <pc:spChg chg="del">
          <ac:chgData name="Yousuf, Arsalan" userId="1f742cd1-60f2-4cc5-8102-e09412e517e3" providerId="ADAL" clId="{35A2B7D3-BB6C-422F-AF31-7DBA0CB14166}" dt="2023-12-27T06:29:04.264" v="6763" actId="478"/>
          <ac:spMkLst>
            <pc:docMk/>
            <pc:sldMk cId="639410691" sldId="2671"/>
            <ac:spMk id="179" creationId="{00000000-0000-0000-0000-000000000000}"/>
          </ac:spMkLst>
        </pc:spChg>
        <pc:grpChg chg="del">
          <ac:chgData name="Yousuf, Arsalan" userId="1f742cd1-60f2-4cc5-8102-e09412e517e3" providerId="ADAL" clId="{35A2B7D3-BB6C-422F-AF31-7DBA0CB14166}" dt="2023-12-27T06:29:04.264" v="6763" actId="478"/>
          <ac:grpSpMkLst>
            <pc:docMk/>
            <pc:sldMk cId="639410691" sldId="2671"/>
            <ac:grpSpMk id="3" creationId="{00000000-0000-0000-0000-000000000000}"/>
          </ac:grpSpMkLst>
        </pc:grpChg>
        <pc:grpChg chg="del">
          <ac:chgData name="Yousuf, Arsalan" userId="1f742cd1-60f2-4cc5-8102-e09412e517e3" providerId="ADAL" clId="{35A2B7D3-BB6C-422F-AF31-7DBA0CB14166}" dt="2023-12-27T06:29:04.264" v="6763" actId="478"/>
          <ac:grpSpMkLst>
            <pc:docMk/>
            <pc:sldMk cId="639410691" sldId="2671"/>
            <ac:grpSpMk id="7" creationId="{F38F7358-4215-D0FA-1103-77CFF6B11C45}"/>
          </ac:grpSpMkLst>
        </pc:grpChg>
        <pc:grpChg chg="add mod">
          <ac:chgData name="Yousuf, Arsalan" userId="1f742cd1-60f2-4cc5-8102-e09412e517e3" providerId="ADAL" clId="{35A2B7D3-BB6C-422F-AF31-7DBA0CB14166}" dt="2023-12-27T06:29:21.357" v="6764"/>
          <ac:grpSpMkLst>
            <pc:docMk/>
            <pc:sldMk cId="639410691" sldId="2671"/>
            <ac:grpSpMk id="12" creationId="{45655F21-0AD6-CE3C-6B9C-A2A2361D55CB}"/>
          </ac:grpSpMkLst>
        </pc:grpChg>
        <pc:grpChg chg="add mod">
          <ac:chgData name="Yousuf, Arsalan" userId="1f742cd1-60f2-4cc5-8102-e09412e517e3" providerId="ADAL" clId="{35A2B7D3-BB6C-422F-AF31-7DBA0CB14166}" dt="2023-12-27T06:29:21.357" v="6764"/>
          <ac:grpSpMkLst>
            <pc:docMk/>
            <pc:sldMk cId="639410691" sldId="2671"/>
            <ac:grpSpMk id="19" creationId="{A4EFCB73-4CF4-1FA4-E66F-EC195FFDC9BD}"/>
          </ac:grpSpMkLst>
        </pc:grpChg>
        <pc:grpChg chg="mod">
          <ac:chgData name="Yousuf, Arsalan" userId="1f742cd1-60f2-4cc5-8102-e09412e517e3" providerId="ADAL" clId="{35A2B7D3-BB6C-422F-AF31-7DBA0CB14166}" dt="2023-12-27T06:29:21.357" v="6764"/>
          <ac:grpSpMkLst>
            <pc:docMk/>
            <pc:sldMk cId="639410691" sldId="2671"/>
            <ac:grpSpMk id="20" creationId="{BD368854-CC35-24ED-C436-AD8FFC5502AD}"/>
          </ac:grpSpMkLst>
        </pc:grpChg>
        <pc:grpChg chg="del">
          <ac:chgData name="Yousuf, Arsalan" userId="1f742cd1-60f2-4cc5-8102-e09412e517e3" providerId="ADAL" clId="{35A2B7D3-BB6C-422F-AF31-7DBA0CB14166}" dt="2023-12-27T06:29:04.264" v="6763" actId="478"/>
          <ac:grpSpMkLst>
            <pc:docMk/>
            <pc:sldMk cId="639410691" sldId="2671"/>
            <ac:grpSpMk id="95" creationId="{00000000-0000-0000-0000-000000000000}"/>
          </ac:grpSpMkLst>
        </pc:grpChg>
        <pc:grpChg chg="del">
          <ac:chgData name="Yousuf, Arsalan" userId="1f742cd1-60f2-4cc5-8102-e09412e517e3" providerId="ADAL" clId="{35A2B7D3-BB6C-422F-AF31-7DBA0CB14166}" dt="2023-12-27T06:29:04.264" v="6763" actId="478"/>
          <ac:grpSpMkLst>
            <pc:docMk/>
            <pc:sldMk cId="639410691" sldId="2671"/>
            <ac:grpSpMk id="142" creationId="{00000000-0000-0000-0000-000000000000}"/>
          </ac:grpSpMkLst>
        </pc:grpChg>
        <pc:picChg chg="del">
          <ac:chgData name="Yousuf, Arsalan" userId="1f742cd1-60f2-4cc5-8102-e09412e517e3" providerId="ADAL" clId="{35A2B7D3-BB6C-422F-AF31-7DBA0CB14166}" dt="2023-12-27T06:29:04.264" v="6763" actId="478"/>
          <ac:picMkLst>
            <pc:docMk/>
            <pc:sldMk cId="639410691" sldId="2671"/>
            <ac:picMk id="5" creationId="{66A58566-E51D-C37A-8422-F80BEF604F1E}"/>
          </ac:picMkLst>
        </pc:picChg>
        <pc:picChg chg="del">
          <ac:chgData name="Yousuf, Arsalan" userId="1f742cd1-60f2-4cc5-8102-e09412e517e3" providerId="ADAL" clId="{35A2B7D3-BB6C-422F-AF31-7DBA0CB14166}" dt="2023-12-27T06:29:04.264" v="6763" actId="478"/>
          <ac:picMkLst>
            <pc:docMk/>
            <pc:sldMk cId="639410691" sldId="2671"/>
            <ac:picMk id="6" creationId="{CF7AB2A0-A1D1-F26F-B6C6-F1C80C24236B}"/>
          </ac:picMkLst>
        </pc:picChg>
        <pc:picChg chg="del">
          <ac:chgData name="Yousuf, Arsalan" userId="1f742cd1-60f2-4cc5-8102-e09412e517e3" providerId="ADAL" clId="{35A2B7D3-BB6C-422F-AF31-7DBA0CB14166}" dt="2023-12-27T06:29:04.264" v="6763" actId="478"/>
          <ac:picMkLst>
            <pc:docMk/>
            <pc:sldMk cId="639410691" sldId="2671"/>
            <ac:picMk id="11" creationId="{4FA33FB4-A750-5019-11A1-256B224C1824}"/>
          </ac:picMkLst>
        </pc:picChg>
        <pc:picChg chg="mod">
          <ac:chgData name="Yousuf, Arsalan" userId="1f742cd1-60f2-4cc5-8102-e09412e517e3" providerId="ADAL" clId="{35A2B7D3-BB6C-422F-AF31-7DBA0CB14166}" dt="2023-12-27T06:29:21.357" v="6764"/>
          <ac:picMkLst>
            <pc:docMk/>
            <pc:sldMk cId="639410691" sldId="2671"/>
            <ac:picMk id="13" creationId="{2523939D-4D0C-5813-B1FC-B3046F281D87}"/>
          </ac:picMkLst>
        </pc:picChg>
        <pc:picChg chg="mod">
          <ac:chgData name="Yousuf, Arsalan" userId="1f742cd1-60f2-4cc5-8102-e09412e517e3" providerId="ADAL" clId="{35A2B7D3-BB6C-422F-AF31-7DBA0CB14166}" dt="2023-12-27T06:29:21.357" v="6764"/>
          <ac:picMkLst>
            <pc:docMk/>
            <pc:sldMk cId="639410691" sldId="2671"/>
            <ac:picMk id="14" creationId="{5B8EA78D-64C2-3F82-0C63-4F06A02F6C8F}"/>
          </ac:picMkLst>
        </pc:picChg>
        <pc:picChg chg="mod">
          <ac:chgData name="Yousuf, Arsalan" userId="1f742cd1-60f2-4cc5-8102-e09412e517e3" providerId="ADAL" clId="{35A2B7D3-BB6C-422F-AF31-7DBA0CB14166}" dt="2023-12-27T06:29:21.357" v="6764"/>
          <ac:picMkLst>
            <pc:docMk/>
            <pc:sldMk cId="639410691" sldId="2671"/>
            <ac:picMk id="15" creationId="{F59D0D28-5205-33BD-4B4C-6B1595B9F5F2}"/>
          </ac:picMkLst>
        </pc:picChg>
      </pc:sldChg>
      <pc:sldChg chg="addSp delSp modSp add mod">
        <pc:chgData name="Yousuf, Arsalan" userId="1f742cd1-60f2-4cc5-8102-e09412e517e3" providerId="ADAL" clId="{35A2B7D3-BB6C-422F-AF31-7DBA0CB14166}" dt="2023-12-27T13:28:44.382" v="10070" actId="20577"/>
        <pc:sldMkLst>
          <pc:docMk/>
          <pc:sldMk cId="3479607621" sldId="2672"/>
        </pc:sldMkLst>
        <pc:spChg chg="mod">
          <ac:chgData name="Yousuf, Arsalan" userId="1f742cd1-60f2-4cc5-8102-e09412e517e3" providerId="ADAL" clId="{35A2B7D3-BB6C-422F-AF31-7DBA0CB14166}" dt="2023-12-27T07:36:15.762" v="6963" actId="20577"/>
          <ac:spMkLst>
            <pc:docMk/>
            <pc:sldMk cId="3479607621" sldId="2672"/>
            <ac:spMk id="45" creationId="{EEA9E6B3-FC94-4919-AD0F-0B8973F6AD4A}"/>
          </ac:spMkLst>
        </pc:spChg>
        <pc:spChg chg="add del mod">
          <ac:chgData name="Yousuf, Arsalan" userId="1f742cd1-60f2-4cc5-8102-e09412e517e3" providerId="ADAL" clId="{35A2B7D3-BB6C-422F-AF31-7DBA0CB14166}" dt="2023-12-27T08:05:52.560" v="9551" actId="20577"/>
          <ac:spMkLst>
            <pc:docMk/>
            <pc:sldMk cId="3479607621" sldId="2672"/>
            <ac:spMk id="113" creationId="{1D587191-3549-4BCB-BEB1-2455D382EFB1}"/>
          </ac:spMkLst>
        </pc:spChg>
        <pc:grpChg chg="del">
          <ac:chgData name="Yousuf, Arsalan" userId="1f742cd1-60f2-4cc5-8102-e09412e517e3" providerId="ADAL" clId="{35A2B7D3-BB6C-422F-AF31-7DBA0CB14166}" dt="2023-12-27T07:36:07.808" v="6937" actId="478"/>
          <ac:grpSpMkLst>
            <pc:docMk/>
            <pc:sldMk cId="3479607621" sldId="2672"/>
            <ac:grpSpMk id="2" creationId="{E6E288E8-4585-8ABE-6301-8E31C75FDB02}"/>
          </ac:grpSpMkLst>
        </pc:grpChg>
        <pc:graphicFrameChg chg="add del mod modGraphic">
          <ac:chgData name="Yousuf, Arsalan" userId="1f742cd1-60f2-4cc5-8102-e09412e517e3" providerId="ADAL" clId="{35A2B7D3-BB6C-422F-AF31-7DBA0CB14166}" dt="2023-12-27T08:04:25.195" v="9473" actId="478"/>
          <ac:graphicFrameMkLst>
            <pc:docMk/>
            <pc:sldMk cId="3479607621" sldId="2672"/>
            <ac:graphicFrameMk id="5" creationId="{A7736F5D-55FF-EC9C-C878-CC8FFAAFFFD2}"/>
          </ac:graphicFrameMkLst>
        </pc:graphicFrameChg>
        <pc:graphicFrameChg chg="add mod modGraphic">
          <ac:chgData name="Yousuf, Arsalan" userId="1f742cd1-60f2-4cc5-8102-e09412e517e3" providerId="ADAL" clId="{35A2B7D3-BB6C-422F-AF31-7DBA0CB14166}" dt="2023-12-27T13:28:44.382" v="10070" actId="20577"/>
          <ac:graphicFrameMkLst>
            <pc:docMk/>
            <pc:sldMk cId="3479607621" sldId="2672"/>
            <ac:graphicFrameMk id="6" creationId="{1DA7F5BB-0CB1-3A03-0507-3A388A586990}"/>
          </ac:graphicFrameMkLst>
        </pc:graphicFrameChg>
        <pc:cxnChg chg="mod">
          <ac:chgData name="Yousuf, Arsalan" userId="1f742cd1-60f2-4cc5-8102-e09412e517e3" providerId="ADAL" clId="{35A2B7D3-BB6C-422F-AF31-7DBA0CB14166}" dt="2023-12-27T07:36:07.808" v="6937" actId="478"/>
          <ac:cxnSpMkLst>
            <pc:docMk/>
            <pc:sldMk cId="3479607621" sldId="2672"/>
            <ac:cxnSpMk id="101" creationId="{74841969-7CA8-4BE5-965F-776B6ABDEAD1}"/>
          </ac:cxnSpMkLst>
        </pc:cxnChg>
        <pc:cxnChg chg="mod">
          <ac:chgData name="Yousuf, Arsalan" userId="1f742cd1-60f2-4cc5-8102-e09412e517e3" providerId="ADAL" clId="{35A2B7D3-BB6C-422F-AF31-7DBA0CB14166}" dt="2023-12-27T07:36:07.808" v="6937" actId="478"/>
          <ac:cxnSpMkLst>
            <pc:docMk/>
            <pc:sldMk cId="3479607621" sldId="2672"/>
            <ac:cxnSpMk id="102" creationId="{6891CF2F-9BE6-477D-ACA5-C73FC9E8346F}"/>
          </ac:cxnSpMkLst>
        </pc:cxnChg>
        <pc:cxnChg chg="mod">
          <ac:chgData name="Yousuf, Arsalan" userId="1f742cd1-60f2-4cc5-8102-e09412e517e3" providerId="ADAL" clId="{35A2B7D3-BB6C-422F-AF31-7DBA0CB14166}" dt="2023-12-27T07:36:07.808" v="6937" actId="478"/>
          <ac:cxnSpMkLst>
            <pc:docMk/>
            <pc:sldMk cId="3479607621" sldId="2672"/>
            <ac:cxnSpMk id="104" creationId="{BBB506E9-1D89-4EEF-9BCF-FADBBB88FED9}"/>
          </ac:cxnSpMkLst>
        </pc:cxnChg>
        <pc:cxnChg chg="mod">
          <ac:chgData name="Yousuf, Arsalan" userId="1f742cd1-60f2-4cc5-8102-e09412e517e3" providerId="ADAL" clId="{35A2B7D3-BB6C-422F-AF31-7DBA0CB14166}" dt="2023-12-27T07:36:07.808" v="6937" actId="478"/>
          <ac:cxnSpMkLst>
            <pc:docMk/>
            <pc:sldMk cId="3479607621" sldId="2672"/>
            <ac:cxnSpMk id="106" creationId="{AE0F3D2C-24DC-4D62-A4E9-AC295E321237}"/>
          </ac:cxnSpMkLst>
        </pc:cxnChg>
      </pc:sldChg>
      <pc:sldChg chg="modSp add mod">
        <pc:chgData name="Yousuf, Arsalan" userId="1f742cd1-60f2-4cc5-8102-e09412e517e3" providerId="ADAL" clId="{35A2B7D3-BB6C-422F-AF31-7DBA0CB14166}" dt="2023-12-27T13:28:23.155" v="10069" actId="6549"/>
        <pc:sldMkLst>
          <pc:docMk/>
          <pc:sldMk cId="1472123710" sldId="2673"/>
        </pc:sldMkLst>
        <pc:graphicFrameChg chg="mod modGraphic">
          <ac:chgData name="Yousuf, Arsalan" userId="1f742cd1-60f2-4cc5-8102-e09412e517e3" providerId="ADAL" clId="{35A2B7D3-BB6C-422F-AF31-7DBA0CB14166}" dt="2023-12-27T13:28:23.155" v="10069" actId="6549"/>
          <ac:graphicFrameMkLst>
            <pc:docMk/>
            <pc:sldMk cId="1472123710" sldId="2673"/>
            <ac:graphicFrameMk id="5" creationId="{A7736F5D-55FF-EC9C-C878-CC8FFAAFFFD2}"/>
          </ac:graphicFrameMkLst>
        </pc:graphicFrameChg>
      </pc:sldChg>
      <pc:sldChg chg="addSp delSp modSp add mod">
        <pc:chgData name="Yousuf, Arsalan" userId="1f742cd1-60f2-4cc5-8102-e09412e517e3" providerId="ADAL" clId="{35A2B7D3-BB6C-422F-AF31-7DBA0CB14166}" dt="2023-12-27T15:37:02.293" v="10132" actId="1035"/>
        <pc:sldMkLst>
          <pc:docMk/>
          <pc:sldMk cId="1166754518" sldId="2674"/>
        </pc:sldMkLst>
        <pc:spChg chg="add mod">
          <ac:chgData name="Yousuf, Arsalan" userId="1f742cd1-60f2-4cc5-8102-e09412e517e3" providerId="ADAL" clId="{35A2B7D3-BB6C-422F-AF31-7DBA0CB14166}" dt="2023-12-27T15:36:17.613" v="10078"/>
          <ac:spMkLst>
            <pc:docMk/>
            <pc:sldMk cId="1166754518" sldId="2674"/>
            <ac:spMk id="2" creationId="{854B9BEF-CFBC-93EB-2B85-6E43A6D134BF}"/>
          </ac:spMkLst>
        </pc:spChg>
        <pc:spChg chg="del mod">
          <ac:chgData name="Yousuf, Arsalan" userId="1f742cd1-60f2-4cc5-8102-e09412e517e3" providerId="ADAL" clId="{35A2B7D3-BB6C-422F-AF31-7DBA0CB14166}" dt="2023-12-27T15:36:19.391" v="10079" actId="478"/>
          <ac:spMkLst>
            <pc:docMk/>
            <pc:sldMk cId="1166754518" sldId="2674"/>
            <ac:spMk id="4" creationId="{B3928E79-EB55-E9A5-76ED-9DA7F349C186}"/>
          </ac:spMkLst>
        </pc:spChg>
        <pc:graphicFrameChg chg="mod">
          <ac:chgData name="Yousuf, Arsalan" userId="1f742cd1-60f2-4cc5-8102-e09412e517e3" providerId="ADAL" clId="{35A2B7D3-BB6C-422F-AF31-7DBA0CB14166}" dt="2023-12-27T15:37:02.293" v="10132" actId="1035"/>
          <ac:graphicFrameMkLst>
            <pc:docMk/>
            <pc:sldMk cId="1166754518" sldId="2674"/>
            <ac:graphicFrameMk id="10" creationId="{3451D527-DC03-4CF5-AE58-5272F74AE57E}"/>
          </ac:graphicFrameMkLst>
        </pc:graphicFrameChg>
      </pc:sldChg>
      <pc:sldChg chg="addSp delSp modSp add mod">
        <pc:chgData name="Yousuf, Arsalan" userId="1f742cd1-60f2-4cc5-8102-e09412e517e3" providerId="ADAL" clId="{35A2B7D3-BB6C-422F-AF31-7DBA0CB14166}" dt="2023-12-27T21:06:50.812" v="10772" actId="20577"/>
        <pc:sldMkLst>
          <pc:docMk/>
          <pc:sldMk cId="93467874" sldId="2675"/>
        </pc:sldMkLst>
        <pc:spChg chg="del">
          <ac:chgData name="Yousuf, Arsalan" userId="1f742cd1-60f2-4cc5-8102-e09412e517e3" providerId="ADAL" clId="{35A2B7D3-BB6C-422F-AF31-7DBA0CB14166}" dt="2023-12-27T21:05:07.230" v="10670" actId="478"/>
          <ac:spMkLst>
            <pc:docMk/>
            <pc:sldMk cId="93467874" sldId="2675"/>
            <ac:spMk id="2" creationId="{F38C859F-33A0-4C76-6550-7820598F674B}"/>
          </ac:spMkLst>
        </pc:spChg>
        <pc:spChg chg="add mod">
          <ac:chgData name="Yousuf, Arsalan" userId="1f742cd1-60f2-4cc5-8102-e09412e517e3" providerId="ADAL" clId="{35A2B7D3-BB6C-422F-AF31-7DBA0CB14166}" dt="2023-12-27T21:05:12.671" v="10671"/>
          <ac:spMkLst>
            <pc:docMk/>
            <pc:sldMk cId="93467874" sldId="2675"/>
            <ac:spMk id="3" creationId="{9B04537C-1566-AE89-6C90-2F3BEAE1B50A}"/>
          </ac:spMkLst>
        </pc:spChg>
        <pc:spChg chg="add mod">
          <ac:chgData name="Yousuf, Arsalan" userId="1f742cd1-60f2-4cc5-8102-e09412e517e3" providerId="ADAL" clId="{35A2B7D3-BB6C-422F-AF31-7DBA0CB14166}" dt="2023-12-27T21:05:40.734" v="10701" actId="20577"/>
          <ac:spMkLst>
            <pc:docMk/>
            <pc:sldMk cId="93467874" sldId="2675"/>
            <ac:spMk id="4" creationId="{77A95162-F37E-748E-F7FD-967C8874B51A}"/>
          </ac:spMkLst>
        </pc:spChg>
        <pc:spChg chg="add del mod">
          <ac:chgData name="Yousuf, Arsalan" userId="1f742cd1-60f2-4cc5-8102-e09412e517e3" providerId="ADAL" clId="{35A2B7D3-BB6C-422F-AF31-7DBA0CB14166}" dt="2023-12-27T21:05:30.411" v="10672" actId="478"/>
          <ac:spMkLst>
            <pc:docMk/>
            <pc:sldMk cId="93467874" sldId="2675"/>
            <ac:spMk id="5" creationId="{0E5F8E7F-FCFB-033F-7FDB-9E2A81E1B5BC}"/>
          </ac:spMkLst>
        </pc:spChg>
        <pc:spChg chg="add mod">
          <ac:chgData name="Yousuf, Arsalan" userId="1f742cd1-60f2-4cc5-8102-e09412e517e3" providerId="ADAL" clId="{35A2B7D3-BB6C-422F-AF31-7DBA0CB14166}" dt="2023-12-27T21:05:44.637" v="10708" actId="20577"/>
          <ac:spMkLst>
            <pc:docMk/>
            <pc:sldMk cId="93467874" sldId="2675"/>
            <ac:spMk id="6" creationId="{17BFE7F7-5BF0-69D2-BEC6-574DA552DE46}"/>
          </ac:spMkLst>
        </pc:spChg>
        <pc:spChg chg="add mod">
          <ac:chgData name="Yousuf, Arsalan" userId="1f742cd1-60f2-4cc5-8102-e09412e517e3" providerId="ADAL" clId="{35A2B7D3-BB6C-422F-AF31-7DBA0CB14166}" dt="2023-12-27T21:05:12.671" v="10671"/>
          <ac:spMkLst>
            <pc:docMk/>
            <pc:sldMk cId="93467874" sldId="2675"/>
            <ac:spMk id="7" creationId="{8A005666-B5B6-D654-4190-98BDD95D3001}"/>
          </ac:spMkLst>
        </pc:spChg>
        <pc:spChg chg="add mod">
          <ac:chgData name="Yousuf, Arsalan" userId="1f742cd1-60f2-4cc5-8102-e09412e517e3" providerId="ADAL" clId="{35A2B7D3-BB6C-422F-AF31-7DBA0CB14166}" dt="2023-12-27T21:06:50.812" v="10772" actId="20577"/>
          <ac:spMkLst>
            <pc:docMk/>
            <pc:sldMk cId="93467874" sldId="2675"/>
            <ac:spMk id="9" creationId="{641EC4A9-EDBE-D9D6-8374-E91D9595BC10}"/>
          </ac:spMkLst>
        </pc:spChg>
        <pc:spChg chg="del">
          <ac:chgData name="Yousuf, Arsalan" userId="1f742cd1-60f2-4cc5-8102-e09412e517e3" providerId="ADAL" clId="{35A2B7D3-BB6C-422F-AF31-7DBA0CB14166}" dt="2023-12-27T21:05:07.230" v="10670" actId="478"/>
          <ac:spMkLst>
            <pc:docMk/>
            <pc:sldMk cId="93467874" sldId="2675"/>
            <ac:spMk id="10" creationId="{00000000-0000-0000-0000-000000000000}"/>
          </ac:spMkLst>
        </pc:spChg>
        <pc:spChg chg="add mod">
          <ac:chgData name="Yousuf, Arsalan" userId="1f742cd1-60f2-4cc5-8102-e09412e517e3" providerId="ADAL" clId="{35A2B7D3-BB6C-422F-AF31-7DBA0CB14166}" dt="2023-12-27T21:05:12.671" v="10671"/>
          <ac:spMkLst>
            <pc:docMk/>
            <pc:sldMk cId="93467874" sldId="2675"/>
            <ac:spMk id="12" creationId="{244ECBD7-32A1-708E-9B2C-291DDC0C160D}"/>
          </ac:spMkLst>
        </pc:spChg>
        <pc:spChg chg="del">
          <ac:chgData name="Yousuf, Arsalan" userId="1f742cd1-60f2-4cc5-8102-e09412e517e3" providerId="ADAL" clId="{35A2B7D3-BB6C-422F-AF31-7DBA0CB14166}" dt="2023-12-27T21:05:07.230" v="10670" actId="478"/>
          <ac:spMkLst>
            <pc:docMk/>
            <pc:sldMk cId="93467874" sldId="2675"/>
            <ac:spMk id="13" creationId="{00000000-0000-0000-0000-000000000000}"/>
          </ac:spMkLst>
        </pc:spChg>
        <pc:spChg chg="del">
          <ac:chgData name="Yousuf, Arsalan" userId="1f742cd1-60f2-4cc5-8102-e09412e517e3" providerId="ADAL" clId="{35A2B7D3-BB6C-422F-AF31-7DBA0CB14166}" dt="2023-12-27T21:05:07.230" v="10670" actId="478"/>
          <ac:spMkLst>
            <pc:docMk/>
            <pc:sldMk cId="93467874" sldId="2675"/>
            <ac:spMk id="14" creationId="{66048279-5441-4339-9FF0-1C0CA45A877E}"/>
          </ac:spMkLst>
        </pc:spChg>
        <pc:spChg chg="del">
          <ac:chgData name="Yousuf, Arsalan" userId="1f742cd1-60f2-4cc5-8102-e09412e517e3" providerId="ADAL" clId="{35A2B7D3-BB6C-422F-AF31-7DBA0CB14166}" dt="2023-12-27T21:05:07.230" v="10670" actId="478"/>
          <ac:spMkLst>
            <pc:docMk/>
            <pc:sldMk cId="93467874" sldId="2675"/>
            <ac:spMk id="16" creationId="{00000000-0000-0000-0000-000000000000}"/>
          </ac:spMkLst>
        </pc:spChg>
        <pc:spChg chg="add mod">
          <ac:chgData name="Yousuf, Arsalan" userId="1f742cd1-60f2-4cc5-8102-e09412e517e3" providerId="ADAL" clId="{35A2B7D3-BB6C-422F-AF31-7DBA0CB14166}" dt="2023-12-27T21:05:37.761" v="10694" actId="20577"/>
          <ac:spMkLst>
            <pc:docMk/>
            <pc:sldMk cId="93467874" sldId="2675"/>
            <ac:spMk id="17" creationId="{34C03439-0577-6FEF-5A17-971DE4CA51DC}"/>
          </ac:spMkLst>
        </pc:spChg>
        <pc:spChg chg="del">
          <ac:chgData name="Yousuf, Arsalan" userId="1f742cd1-60f2-4cc5-8102-e09412e517e3" providerId="ADAL" clId="{35A2B7D3-BB6C-422F-AF31-7DBA0CB14166}" dt="2023-12-27T21:05:07.230" v="10670" actId="478"/>
          <ac:spMkLst>
            <pc:docMk/>
            <pc:sldMk cId="93467874" sldId="2675"/>
            <ac:spMk id="18" creationId="{FB87900A-F1D0-42E5-B0CC-17D3F88FA4EE}"/>
          </ac:spMkLst>
        </pc:spChg>
        <pc:spChg chg="del">
          <ac:chgData name="Yousuf, Arsalan" userId="1f742cd1-60f2-4cc5-8102-e09412e517e3" providerId="ADAL" clId="{35A2B7D3-BB6C-422F-AF31-7DBA0CB14166}" dt="2023-12-27T21:05:07.230" v="10670" actId="478"/>
          <ac:spMkLst>
            <pc:docMk/>
            <pc:sldMk cId="93467874" sldId="2675"/>
            <ac:spMk id="19" creationId="{00000000-0000-0000-0000-000000000000}"/>
          </ac:spMkLst>
        </pc:spChg>
        <pc:graphicFrameChg chg="add mod modGraphic">
          <ac:chgData name="Yousuf, Arsalan" userId="1f742cd1-60f2-4cc5-8102-e09412e517e3" providerId="ADAL" clId="{35A2B7D3-BB6C-422F-AF31-7DBA0CB14166}" dt="2023-12-27T21:06:25.562" v="10767" actId="20577"/>
          <ac:graphicFrameMkLst>
            <pc:docMk/>
            <pc:sldMk cId="93467874" sldId="2675"/>
            <ac:graphicFrameMk id="8" creationId="{48EE397C-CD90-9EBE-B994-424CE4C7DBAA}"/>
          </ac:graphicFrameMkLst>
        </pc:graphicFrameChg>
        <pc:graphicFrameChg chg="del">
          <ac:chgData name="Yousuf, Arsalan" userId="1f742cd1-60f2-4cc5-8102-e09412e517e3" providerId="ADAL" clId="{35A2B7D3-BB6C-422F-AF31-7DBA0CB14166}" dt="2023-12-27T21:05:07.230" v="10670" actId="478"/>
          <ac:graphicFrameMkLst>
            <pc:docMk/>
            <pc:sldMk cId="93467874" sldId="2675"/>
            <ac:graphicFrameMk id="15" creationId="{00000000-0000-0000-0000-000000000000}"/>
          </ac:graphicFrameMkLst>
        </pc:graphicFrameChg>
        <pc:picChg chg="add mod">
          <ac:chgData name="Yousuf, Arsalan" userId="1f742cd1-60f2-4cc5-8102-e09412e517e3" providerId="ADAL" clId="{35A2B7D3-BB6C-422F-AF31-7DBA0CB14166}" dt="2023-12-27T21:05:12.671" v="10671"/>
          <ac:picMkLst>
            <pc:docMk/>
            <pc:sldMk cId="93467874" sldId="2675"/>
            <ac:picMk id="11" creationId="{C24B1E00-8B69-444E-C77E-288899A03303}"/>
          </ac:picMkLst>
        </pc:picChg>
        <pc:picChg chg="del">
          <ac:chgData name="Yousuf, Arsalan" userId="1f742cd1-60f2-4cc5-8102-e09412e517e3" providerId="ADAL" clId="{35A2B7D3-BB6C-422F-AF31-7DBA0CB14166}" dt="2023-12-27T21:05:07.230" v="10670" actId="478"/>
          <ac:picMkLst>
            <pc:docMk/>
            <pc:sldMk cId="93467874" sldId="2675"/>
            <ac:picMk id="20" creationId="{C50339BC-AC31-4651-8D58-F5BB9526DAE5}"/>
          </ac:picMkLst>
        </pc:picChg>
      </pc:sldChg>
      <pc:sldChg chg="add">
        <pc:chgData name="Yousuf, Arsalan" userId="1f742cd1-60f2-4cc5-8102-e09412e517e3" providerId="ADAL" clId="{35A2B7D3-BB6C-422F-AF31-7DBA0CB14166}" dt="2023-12-27T21:31:05.751" v="10876"/>
        <pc:sldMkLst>
          <pc:docMk/>
          <pc:sldMk cId="2270788105" sldId="2676"/>
        </pc:sldMkLst>
      </pc:sldChg>
      <pc:sldChg chg="addSp delSp modSp add mod">
        <pc:chgData name="Yousuf, Arsalan" userId="1f742cd1-60f2-4cc5-8102-e09412e517e3" providerId="ADAL" clId="{35A2B7D3-BB6C-422F-AF31-7DBA0CB14166}" dt="2023-12-27T21:32:48.314" v="10923"/>
        <pc:sldMkLst>
          <pc:docMk/>
          <pc:sldMk cId="1153413151" sldId="2677"/>
        </pc:sldMkLst>
        <pc:spChg chg="del">
          <ac:chgData name="Yousuf, Arsalan" userId="1f742cd1-60f2-4cc5-8102-e09412e517e3" providerId="ADAL" clId="{35A2B7D3-BB6C-422F-AF31-7DBA0CB14166}" dt="2023-12-27T21:32:47.940" v="10922" actId="478"/>
          <ac:spMkLst>
            <pc:docMk/>
            <pc:sldMk cId="1153413151" sldId="2677"/>
            <ac:spMk id="2" creationId="{F38C859F-33A0-4C76-6550-7820598F674B}"/>
          </ac:spMkLst>
        </pc:spChg>
        <pc:spChg chg="add mod">
          <ac:chgData name="Yousuf, Arsalan" userId="1f742cd1-60f2-4cc5-8102-e09412e517e3" providerId="ADAL" clId="{35A2B7D3-BB6C-422F-AF31-7DBA0CB14166}" dt="2023-12-27T21:32:48.314" v="10923"/>
          <ac:spMkLst>
            <pc:docMk/>
            <pc:sldMk cId="1153413151" sldId="2677"/>
            <ac:spMk id="3" creationId="{CA2D6626-D3F8-E497-7503-CA221AEF935E}"/>
          </ac:spMkLst>
        </pc:spChg>
      </pc:sldChg>
      <pc:sldChg chg="modSp add mod">
        <pc:chgData name="Yousuf, Arsalan" userId="1f742cd1-60f2-4cc5-8102-e09412e517e3" providerId="ADAL" clId="{35A2B7D3-BB6C-422F-AF31-7DBA0CB14166}" dt="2023-12-28T07:34:10.166" v="10945" actId="20577"/>
        <pc:sldMkLst>
          <pc:docMk/>
          <pc:sldMk cId="499467419" sldId="2678"/>
        </pc:sldMkLst>
        <pc:spChg chg="mod">
          <ac:chgData name="Yousuf, Arsalan" userId="1f742cd1-60f2-4cc5-8102-e09412e517e3" providerId="ADAL" clId="{35A2B7D3-BB6C-422F-AF31-7DBA0CB14166}" dt="2023-12-28T07:34:10.166" v="10945" actId="20577"/>
          <ac:spMkLst>
            <pc:docMk/>
            <pc:sldMk cId="499467419" sldId="2678"/>
            <ac:spMk id="16" creationId="{00000000-0000-0000-0000-000000000000}"/>
          </ac:spMkLst>
        </pc:spChg>
        <pc:picChg chg="mod">
          <ac:chgData name="Yousuf, Arsalan" userId="1f742cd1-60f2-4cc5-8102-e09412e517e3" providerId="ADAL" clId="{35A2B7D3-BB6C-422F-AF31-7DBA0CB14166}" dt="2023-12-28T07:33:57.145" v="10929" actId="2085"/>
          <ac:picMkLst>
            <pc:docMk/>
            <pc:sldMk cId="499467419" sldId="2678"/>
            <ac:picMk id="4" creationId="{43FFD6BC-40B9-54A5-2D57-27A22C419499}"/>
          </ac:picMkLst>
        </pc:picChg>
      </pc:sldChg>
      <pc:sldChg chg="addSp delSp modSp add mod">
        <pc:chgData name="Yousuf, Arsalan" userId="1f742cd1-60f2-4cc5-8102-e09412e517e3" providerId="ADAL" clId="{35A2B7D3-BB6C-422F-AF31-7DBA0CB14166}" dt="2023-12-30T16:45:54.602" v="13056" actId="20577"/>
        <pc:sldMkLst>
          <pc:docMk/>
          <pc:sldMk cId="4244941993" sldId="2679"/>
        </pc:sldMkLst>
        <pc:spChg chg="add mod">
          <ac:chgData name="Yousuf, Arsalan" userId="1f742cd1-60f2-4cc5-8102-e09412e517e3" providerId="ADAL" clId="{35A2B7D3-BB6C-422F-AF31-7DBA0CB14166}" dt="2023-12-30T16:45:54.602" v="13056" actId="20577"/>
          <ac:spMkLst>
            <pc:docMk/>
            <pc:sldMk cId="4244941993" sldId="2679"/>
            <ac:spMk id="2" creationId="{590F3B04-C224-A176-FD5D-C9F6EB4CF4FB}"/>
          </ac:spMkLst>
        </pc:spChg>
        <pc:spChg chg="add del mod">
          <ac:chgData name="Yousuf, Arsalan" userId="1f742cd1-60f2-4cc5-8102-e09412e517e3" providerId="ADAL" clId="{35A2B7D3-BB6C-422F-AF31-7DBA0CB14166}" dt="2023-12-30T16:42:47.291" v="12793" actId="478"/>
          <ac:spMkLst>
            <pc:docMk/>
            <pc:sldMk cId="4244941993" sldId="2679"/>
            <ac:spMk id="3" creationId="{DD7C4E3F-C6F1-B4C0-46EB-AE87E30BE6B9}"/>
          </ac:spMkLst>
        </pc:spChg>
        <pc:spChg chg="del">
          <ac:chgData name="Yousuf, Arsalan" userId="1f742cd1-60f2-4cc5-8102-e09412e517e3" providerId="ADAL" clId="{35A2B7D3-BB6C-422F-AF31-7DBA0CB14166}" dt="2023-12-30T15:44:29.156" v="11292" actId="478"/>
          <ac:spMkLst>
            <pc:docMk/>
            <pc:sldMk cId="4244941993" sldId="2679"/>
            <ac:spMk id="8" creationId="{74BFDF9E-9076-4DFB-943B-238165B44C0C}"/>
          </ac:spMkLst>
        </pc:spChg>
        <pc:spChg chg="del">
          <ac:chgData name="Yousuf, Arsalan" userId="1f742cd1-60f2-4cc5-8102-e09412e517e3" providerId="ADAL" clId="{35A2B7D3-BB6C-422F-AF31-7DBA0CB14166}" dt="2023-12-30T15:44:29.156" v="11292" actId="478"/>
          <ac:spMkLst>
            <pc:docMk/>
            <pc:sldMk cId="4244941993" sldId="2679"/>
            <ac:spMk id="15" creationId="{10457AC8-7360-4FFD-BF80-F0B5869FCBBC}"/>
          </ac:spMkLst>
        </pc:spChg>
      </pc:sldChg>
      <pc:sldChg chg="delSp modSp add mod">
        <pc:chgData name="Yousuf, Arsalan" userId="1f742cd1-60f2-4cc5-8102-e09412e517e3" providerId="ADAL" clId="{35A2B7D3-BB6C-422F-AF31-7DBA0CB14166}" dt="2023-12-30T16:49:44.446" v="13249" actId="20577"/>
        <pc:sldMkLst>
          <pc:docMk/>
          <pc:sldMk cId="3538802403" sldId="2680"/>
        </pc:sldMkLst>
        <pc:spChg chg="del">
          <ac:chgData name="Yousuf, Arsalan" userId="1f742cd1-60f2-4cc5-8102-e09412e517e3" providerId="ADAL" clId="{35A2B7D3-BB6C-422F-AF31-7DBA0CB14166}" dt="2023-12-30T16:43:02.502" v="12795" actId="478"/>
          <ac:spMkLst>
            <pc:docMk/>
            <pc:sldMk cId="3538802403" sldId="2680"/>
            <ac:spMk id="2" creationId="{590F3B04-C224-A176-FD5D-C9F6EB4CF4FB}"/>
          </ac:spMkLst>
        </pc:spChg>
        <pc:spChg chg="mod">
          <ac:chgData name="Yousuf, Arsalan" userId="1f742cd1-60f2-4cc5-8102-e09412e517e3" providerId="ADAL" clId="{35A2B7D3-BB6C-422F-AF31-7DBA0CB14166}" dt="2023-12-30T16:49:44.446" v="13249" actId="20577"/>
          <ac:spMkLst>
            <pc:docMk/>
            <pc:sldMk cId="3538802403" sldId="2680"/>
            <ac:spMk id="3" creationId="{DD7C4E3F-C6F1-B4C0-46EB-AE87E30BE6B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B88C3E-8292-49F0-BF74-7D8B309C804C}" type="datetimeFigureOut">
              <a:rPr lang="en-US" smtClean="0"/>
              <a:t>12/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F48A05-08EB-42B5-9A4C-D3B9C400E7A8}" type="slidenum">
              <a:rPr lang="en-US" smtClean="0"/>
              <a:t>‹#›</a:t>
            </a:fld>
            <a:endParaRPr lang="en-US" dirty="0"/>
          </a:p>
        </p:txBody>
      </p:sp>
    </p:spTree>
    <p:extLst>
      <p:ext uri="{BB962C8B-B14F-4D97-AF65-F5344CB8AC3E}">
        <p14:creationId xmlns:p14="http://schemas.microsoft.com/office/powerpoint/2010/main" val="588330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1</a:t>
            </a:fld>
            <a:endParaRPr lang="en-US" dirty="0"/>
          </a:p>
        </p:txBody>
      </p:sp>
    </p:spTree>
    <p:extLst>
      <p:ext uri="{BB962C8B-B14F-4D97-AF65-F5344CB8AC3E}">
        <p14:creationId xmlns:p14="http://schemas.microsoft.com/office/powerpoint/2010/main" val="1213801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27</a:t>
            </a:fld>
            <a:endParaRPr lang="en-US" dirty="0"/>
          </a:p>
        </p:txBody>
      </p:sp>
    </p:spTree>
    <p:extLst>
      <p:ext uri="{BB962C8B-B14F-4D97-AF65-F5344CB8AC3E}">
        <p14:creationId xmlns:p14="http://schemas.microsoft.com/office/powerpoint/2010/main" val="17249624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42</a:t>
            </a:fld>
            <a:endParaRPr lang="en-US" dirty="0"/>
          </a:p>
        </p:txBody>
      </p:sp>
    </p:spTree>
    <p:extLst>
      <p:ext uri="{BB962C8B-B14F-4D97-AF65-F5344CB8AC3E}">
        <p14:creationId xmlns:p14="http://schemas.microsoft.com/office/powerpoint/2010/main" val="3947116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43</a:t>
            </a:fld>
            <a:endParaRPr lang="en-US" dirty="0"/>
          </a:p>
        </p:txBody>
      </p:sp>
    </p:spTree>
    <p:extLst>
      <p:ext uri="{BB962C8B-B14F-4D97-AF65-F5344CB8AC3E}">
        <p14:creationId xmlns:p14="http://schemas.microsoft.com/office/powerpoint/2010/main" val="32882542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58</a:t>
            </a:fld>
            <a:endParaRPr lang="en-US" dirty="0"/>
          </a:p>
        </p:txBody>
      </p:sp>
    </p:spTree>
    <p:extLst>
      <p:ext uri="{BB962C8B-B14F-4D97-AF65-F5344CB8AC3E}">
        <p14:creationId xmlns:p14="http://schemas.microsoft.com/office/powerpoint/2010/main" val="1930535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274495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6</a:t>
            </a:fld>
            <a:endParaRPr lang="en-US" dirty="0"/>
          </a:p>
        </p:txBody>
      </p:sp>
    </p:spTree>
    <p:extLst>
      <p:ext uri="{BB962C8B-B14F-4D97-AF65-F5344CB8AC3E}">
        <p14:creationId xmlns:p14="http://schemas.microsoft.com/office/powerpoint/2010/main" val="1250868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7</a:t>
            </a:fld>
            <a:endParaRPr lang="en-US" dirty="0"/>
          </a:p>
        </p:txBody>
      </p:sp>
    </p:spTree>
    <p:extLst>
      <p:ext uri="{BB962C8B-B14F-4D97-AF65-F5344CB8AC3E}">
        <p14:creationId xmlns:p14="http://schemas.microsoft.com/office/powerpoint/2010/main" val="2799465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8</a:t>
            </a:fld>
            <a:endParaRPr lang="en-US" dirty="0"/>
          </a:p>
        </p:txBody>
      </p:sp>
    </p:spTree>
    <p:extLst>
      <p:ext uri="{BB962C8B-B14F-4D97-AF65-F5344CB8AC3E}">
        <p14:creationId xmlns:p14="http://schemas.microsoft.com/office/powerpoint/2010/main" val="4109014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9</a:t>
            </a:fld>
            <a:endParaRPr lang="en-US" dirty="0"/>
          </a:p>
        </p:txBody>
      </p:sp>
    </p:spTree>
    <p:extLst>
      <p:ext uri="{BB962C8B-B14F-4D97-AF65-F5344CB8AC3E}">
        <p14:creationId xmlns:p14="http://schemas.microsoft.com/office/powerpoint/2010/main" val="2852905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20</a:t>
            </a:fld>
            <a:endParaRPr lang="en-US" dirty="0"/>
          </a:p>
        </p:txBody>
      </p:sp>
    </p:spTree>
    <p:extLst>
      <p:ext uri="{BB962C8B-B14F-4D97-AF65-F5344CB8AC3E}">
        <p14:creationId xmlns:p14="http://schemas.microsoft.com/office/powerpoint/2010/main" val="3001030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22</a:t>
            </a:fld>
            <a:endParaRPr lang="en-US" dirty="0"/>
          </a:p>
        </p:txBody>
      </p:sp>
    </p:spTree>
    <p:extLst>
      <p:ext uri="{BB962C8B-B14F-4D97-AF65-F5344CB8AC3E}">
        <p14:creationId xmlns:p14="http://schemas.microsoft.com/office/powerpoint/2010/main" val="39535105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F48A05-08EB-42B5-9A4C-D3B9C400E7A8}" type="slidenum">
              <a:rPr lang="en-US" smtClean="0"/>
              <a:t>25</a:t>
            </a:fld>
            <a:endParaRPr lang="en-US" dirty="0"/>
          </a:p>
        </p:txBody>
      </p:sp>
    </p:spTree>
    <p:extLst>
      <p:ext uri="{BB962C8B-B14F-4D97-AF65-F5344CB8AC3E}">
        <p14:creationId xmlns:p14="http://schemas.microsoft.com/office/powerpoint/2010/main" val="41479155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hyperlink" Target="http://www.deloitte.com/" TargetMode="Externa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 Target="../slides/slide2.xml"/><Relationship Id="rId3" Type="http://schemas.openxmlformats.org/officeDocument/2006/relationships/slide" Target="../slides/slide60.xml"/><Relationship Id="rId7" Type="http://schemas.microsoft.com/office/2007/relationships/hdphoto" Target="../media/hdphoto2.wdp"/><Relationship Id="rId2" Type="http://schemas.openxmlformats.org/officeDocument/2006/relationships/slide" Target="../slides/slide62.xml"/><Relationship Id="rId1" Type="http://schemas.openxmlformats.org/officeDocument/2006/relationships/slideMaster" Target="../slideMasters/slideMaster1.xml"/><Relationship Id="rId6" Type="http://schemas.openxmlformats.org/officeDocument/2006/relationships/image" Target="../media/image2.png"/><Relationship Id="rId5" Type="http://schemas.microsoft.com/office/2007/relationships/hdphoto" Target="../media/hdphoto1.wdp"/><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 Target="../slides/slide11.xml"/><Relationship Id="rId7" Type="http://schemas.openxmlformats.org/officeDocument/2006/relationships/slide" Target="../slides/slide2.xml"/><Relationship Id="rId2" Type="http://schemas.openxmlformats.org/officeDocument/2006/relationships/slide" Target="../slides/slide3.xml"/><Relationship Id="rId1" Type="http://schemas.openxmlformats.org/officeDocument/2006/relationships/slideMaster" Target="../slideMasters/slideMaster1.xml"/><Relationship Id="rId6" Type="http://schemas.openxmlformats.org/officeDocument/2006/relationships/slide" Target="../slides/slide34.xml"/><Relationship Id="rId5" Type="http://schemas.openxmlformats.org/officeDocument/2006/relationships/slide" Target="../slides/slide62.xml"/><Relationship Id="rId4" Type="http://schemas.openxmlformats.org/officeDocument/2006/relationships/slide" Target="../slides/slide60.xml"/></Relationships>
</file>

<file path=ppt/slideLayouts/_rels/slideLayout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 Target="../slides/slide62.xml"/><Relationship Id="rId7" Type="http://schemas.openxmlformats.org/officeDocument/2006/relationships/image" Target="../media/image2.png"/><Relationship Id="rId2" Type="http://schemas.openxmlformats.org/officeDocument/2006/relationships/slide" Target="../slides/slide2.xml"/><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slide" Target="../slides/slide60.xml"/></Relationships>
</file>

<file path=ppt/slideLayouts/_rels/slideLayout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 Target="../slides/slide62.xml"/><Relationship Id="rId7" Type="http://schemas.openxmlformats.org/officeDocument/2006/relationships/image" Target="../media/image2.png"/><Relationship Id="rId2" Type="http://schemas.openxmlformats.org/officeDocument/2006/relationships/slide" Target="../slides/slide2.xml"/><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slide" Target="../slides/slide6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9" y="5845198"/>
            <a:ext cx="5592011" cy="505645"/>
          </a:xfrm>
          <a:prstGeom prst="rect">
            <a:avLst/>
          </a:prstGeom>
        </p:spPr>
        <p:txBody>
          <a:bodyPr lIns="0" tIns="0" rIns="0" bIns="0" anchor="b" anchorCtr="0">
            <a:noAutofit/>
          </a:bodyPr>
          <a:lstStyle>
            <a:lvl1pPr marL="0" indent="0" algn="l">
              <a:lnSpc>
                <a:spcPct val="100000"/>
              </a:lnSpc>
              <a:spcAft>
                <a:spcPts val="0"/>
              </a:spcAft>
              <a:buNone/>
              <a:defRPr sz="1782" b="1">
                <a:solidFill>
                  <a:schemeClr val="tx1"/>
                </a:solidFill>
              </a:defRPr>
            </a:lvl1pPr>
            <a:lvl2pPr marL="0" indent="0" algn="l">
              <a:buNone/>
              <a:defRPr sz="1582" b="0">
                <a:solidFill>
                  <a:schemeClr val="bg1"/>
                </a:solidFill>
              </a:defRPr>
            </a:lvl2pPr>
            <a:lvl3pPr marL="1208241" indent="0" algn="ctr">
              <a:buNone/>
              <a:defRPr sz="2382"/>
            </a:lvl3pPr>
            <a:lvl4pPr marL="1812361" indent="0" algn="ctr">
              <a:buNone/>
              <a:defRPr sz="2115"/>
            </a:lvl4pPr>
            <a:lvl5pPr marL="2416482" indent="0" algn="ctr">
              <a:buNone/>
              <a:defRPr sz="2115"/>
            </a:lvl5pPr>
            <a:lvl6pPr marL="3020600" indent="0" algn="ctr">
              <a:buNone/>
              <a:defRPr sz="2115"/>
            </a:lvl6pPr>
            <a:lvl7pPr marL="3624722" indent="0" algn="ctr">
              <a:buNone/>
              <a:defRPr sz="2115"/>
            </a:lvl7pPr>
            <a:lvl8pPr marL="4228842" indent="0" algn="ctr">
              <a:buNone/>
              <a:defRPr sz="2115"/>
            </a:lvl8pPr>
            <a:lvl9pPr marL="4832963" indent="0" algn="ctr">
              <a:buNone/>
              <a:defRPr sz="2115"/>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9" y="6362717"/>
            <a:ext cx="5594349" cy="298451"/>
          </a:xfrm>
          <a:prstGeom prst="rect">
            <a:avLst/>
          </a:prstGeom>
        </p:spPr>
        <p:txBody>
          <a:bodyPr/>
          <a:lstStyle>
            <a:lvl1pPr>
              <a:spcAft>
                <a:spcPts val="0"/>
              </a:spcAft>
              <a:defRPr sz="104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grpSp>
        <p:nvGrpSpPr>
          <p:cNvPr id="16" name="Group 15">
            <a:extLst>
              <a:ext uri="{FF2B5EF4-FFF2-40B4-BE49-F238E27FC236}">
                <a16:creationId xmlns:a16="http://schemas.microsoft.com/office/drawing/2014/main" id="{00B35CEE-C8A3-457C-B581-7F6BA863FA51}"/>
              </a:ext>
            </a:extLst>
          </p:cNvPr>
          <p:cNvGrpSpPr>
            <a:grpSpLocks noChangeAspect="1"/>
          </p:cNvGrpSpPr>
          <p:nvPr userDrawn="1"/>
        </p:nvGrpSpPr>
        <p:grpSpPr>
          <a:xfrm>
            <a:off x="631451" y="486368"/>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9E2AF63A-870F-42B4-9CE7-67D35771C1F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8" name="Freeform 6">
              <a:extLst>
                <a:ext uri="{FF2B5EF4-FFF2-40B4-BE49-F238E27FC236}">
                  <a16:creationId xmlns:a16="http://schemas.microsoft.com/office/drawing/2014/main" id="{DDF61E9A-D45C-44A3-8816-2CE1639F4E4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9" name="Rectangle 7">
              <a:extLst>
                <a:ext uri="{FF2B5EF4-FFF2-40B4-BE49-F238E27FC236}">
                  <a16:creationId xmlns:a16="http://schemas.microsoft.com/office/drawing/2014/main" id="{2C034CF7-36DC-4B3F-98A1-29E8E3797A2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0" name="Freeform 8">
              <a:extLst>
                <a:ext uri="{FF2B5EF4-FFF2-40B4-BE49-F238E27FC236}">
                  <a16:creationId xmlns:a16="http://schemas.microsoft.com/office/drawing/2014/main" id="{E770F5F4-ED77-47F1-8F9D-5259619A722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1" name="Rectangle 9">
              <a:extLst>
                <a:ext uri="{FF2B5EF4-FFF2-40B4-BE49-F238E27FC236}">
                  <a16:creationId xmlns:a16="http://schemas.microsoft.com/office/drawing/2014/main" id="{692BEB8C-80DB-4CC5-A1C7-E3A8DC0AD0F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4" name="Rectangle 10">
              <a:extLst>
                <a:ext uri="{FF2B5EF4-FFF2-40B4-BE49-F238E27FC236}">
                  <a16:creationId xmlns:a16="http://schemas.microsoft.com/office/drawing/2014/main" id="{B7DB81D0-22EF-4346-AB9B-16EB616E172F}"/>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5" name="Freeform 11">
              <a:extLst>
                <a:ext uri="{FF2B5EF4-FFF2-40B4-BE49-F238E27FC236}">
                  <a16:creationId xmlns:a16="http://schemas.microsoft.com/office/drawing/2014/main" id="{CA56AA9D-744E-4D9D-AA8E-7E3C06E3D9C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6" name="Freeform 12">
              <a:extLst>
                <a:ext uri="{FF2B5EF4-FFF2-40B4-BE49-F238E27FC236}">
                  <a16:creationId xmlns:a16="http://schemas.microsoft.com/office/drawing/2014/main" id="{1196EC99-8D37-4026-84DD-F4949E7181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7" name="Freeform 13">
              <a:extLst>
                <a:ext uri="{FF2B5EF4-FFF2-40B4-BE49-F238E27FC236}">
                  <a16:creationId xmlns:a16="http://schemas.microsoft.com/office/drawing/2014/main" id="{26D9B451-1E79-42AD-AED2-8D41E56976C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8" name="Freeform 14">
              <a:extLst>
                <a:ext uri="{FF2B5EF4-FFF2-40B4-BE49-F238E27FC236}">
                  <a16:creationId xmlns:a16="http://schemas.microsoft.com/office/drawing/2014/main" id="{865AF981-BAD2-4121-BEFE-4F097D45353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9647814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9" y="1665291"/>
            <a:ext cx="9348787" cy="4633910"/>
          </a:xfrm>
          <a:prstGeom prst="rect">
            <a:avLst/>
          </a:prstGeom>
        </p:spPr>
        <p:txBody>
          <a:bodyPr/>
          <a:lstStyle>
            <a:lvl1pPr>
              <a:tabLst>
                <a:tab pos="8891898" algn="r"/>
              </a:tabLst>
              <a:defRPr/>
            </a:lvl1pPr>
            <a:lvl2pPr>
              <a:tabLst>
                <a:tab pos="8891898" algn="r"/>
              </a:tabLst>
              <a:defRPr/>
            </a:lvl2pPr>
            <a:lvl3pPr>
              <a:tabLst>
                <a:tab pos="8891898" algn="r"/>
              </a:tabLst>
              <a:defRPr/>
            </a:lvl3pPr>
            <a:lvl4pPr>
              <a:tabLst>
                <a:tab pos="8891898" algn="r"/>
              </a:tabLst>
              <a:defRPr/>
            </a:lvl4pPr>
            <a:lvl5pPr>
              <a:tabLst>
                <a:tab pos="6645324" algn="r"/>
              </a:tabLst>
              <a:defRPr baseline="0"/>
            </a:lvl5pPr>
            <a:lvl6pPr>
              <a:tabLst>
                <a:tab pos="8891898" algn="r"/>
              </a:tabLst>
              <a:defRPr/>
            </a:lvl6pPr>
            <a:lvl7pPr>
              <a:tabLst>
                <a:tab pos="8891898" algn="r"/>
              </a:tabLst>
              <a:defRPr/>
            </a:lvl7pPr>
            <a:lvl8pPr>
              <a:tabLst>
                <a:tab pos="8891898" algn="r"/>
              </a:tabLst>
              <a:defRPr/>
            </a:lvl8pPr>
            <a:lvl9pPr>
              <a:tabLst>
                <a:tab pos="8891898"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16346603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6"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9" y="1665290"/>
            <a:ext cx="4333663" cy="4633911"/>
          </a:xfrm>
          <a:prstGeom prst="rect">
            <a:avLst/>
          </a:prstGeom>
        </p:spPr>
        <p:txBody>
          <a:bodyPr/>
          <a:lstStyle>
            <a:lvl1pPr>
              <a:tabLst>
                <a:tab pos="6645324" algn="r"/>
              </a:tabLst>
              <a:defRPr/>
            </a:lvl1pPr>
            <a:lvl2pPr>
              <a:tabLst>
                <a:tab pos="6645324" algn="r"/>
              </a:tabLst>
              <a:defRPr/>
            </a:lvl2pPr>
            <a:lvl3pPr>
              <a:tabLst>
                <a:tab pos="6645324" algn="r"/>
              </a:tabLst>
              <a:defRPr/>
            </a:lvl3pPr>
            <a:lvl4pPr>
              <a:tabLst>
                <a:tab pos="6645324" algn="r"/>
              </a:tabLst>
              <a:defRPr/>
            </a:lvl4pPr>
            <a:lvl5pPr>
              <a:tabLst>
                <a:tab pos="664532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9490933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9"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982" b="0">
                <a:solidFill>
                  <a:srgbClr val="575757"/>
                </a:solidFill>
              </a:defRPr>
            </a:lvl1pPr>
          </a:lstStyle>
          <a:p>
            <a:pPr lvl="0"/>
            <a:r>
              <a:rPr lang="en-US" dirty="0"/>
              <a:t>Click to add subtitle</a:t>
            </a:r>
          </a:p>
        </p:txBody>
      </p:sp>
      <p:sp>
        <p:nvSpPr>
          <p:cNvPr id="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1604440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dirty="0"/>
              <a:t>Click to edit Master title style</a:t>
            </a:r>
          </a:p>
        </p:txBody>
      </p:sp>
      <p:sp>
        <p:nvSpPr>
          <p:cNvPr id="8" name="Text Placeholder 18"/>
          <p:cNvSpPr>
            <a:spLocks noGrp="1"/>
          </p:cNvSpPr>
          <p:nvPr>
            <p:ph idx="1"/>
          </p:nvPr>
        </p:nvSpPr>
        <p:spPr>
          <a:xfrm>
            <a:off x="469909" y="1665818"/>
            <a:ext cx="11252200" cy="4633383"/>
          </a:xfrm>
          <a:prstGeom prst="rect">
            <a:avLst/>
          </a:prstGeom>
        </p:spPr>
        <p:txBody>
          <a:bodyPr vert="horz" lIns="0" tIns="0" rIns="0" bIns="0" rtlCol="0">
            <a:noAutofit/>
          </a:bodyPr>
          <a:lstStyle>
            <a:lvl1pPr marL="0" indent="0" algn="l">
              <a:buFontTx/>
              <a:buNone/>
              <a:defRPr/>
            </a:lvl1pPr>
            <a:lvl2pPr marL="125862" indent="-125862" algn="l">
              <a:buClrTx/>
              <a:buSzPct val="100000"/>
              <a:buFont typeface="Arial" panose="020B0604020202020204" pitchFamily="34" charset="0"/>
              <a:buChar char="•"/>
              <a:defRPr/>
            </a:lvl2pPr>
            <a:lvl3pPr marL="276896" indent="-125862" algn="l">
              <a:buClrTx/>
              <a:buSzPct val="100000"/>
              <a:buFont typeface="Arial" panose="020B0604020202020204" pitchFamily="34" charset="0"/>
              <a:buChar char="−"/>
              <a:defRPr/>
            </a:lvl3pPr>
            <a:lvl4pPr marL="427929" indent="-125862" algn="l">
              <a:buClrTx/>
              <a:buSzPct val="100000"/>
              <a:buFont typeface="Arial" panose="020B0604020202020204" pitchFamily="34" charset="0"/>
              <a:buChar char="◦"/>
              <a:defRPr/>
            </a:lvl4pPr>
            <a:lvl5pPr marL="578963" indent="-125862"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581913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9" y="1676404"/>
            <a:ext cx="11252200" cy="4622799"/>
          </a:xfrm>
          <a:prstGeom prst="rect">
            <a:avLst/>
          </a:prstGeom>
        </p:spPr>
        <p:txBody>
          <a:bodyPr vert="horz" lIns="0" tIns="0" rIns="0" bIns="0" rtlCol="0">
            <a:noAutofit/>
          </a:bodyPr>
          <a:lstStyle>
            <a:lvl1pPr>
              <a:defRPr sz="1582"/>
            </a:lvl1pPr>
            <a:lvl2pPr>
              <a:defRPr sz="1582"/>
            </a:lvl2pPr>
            <a:lvl3pPr>
              <a:defRPr sz="1582"/>
            </a:lvl3pPr>
            <a:lvl4pPr>
              <a:defRPr sz="1582"/>
            </a:lvl4pPr>
            <a:lvl5pPr>
              <a:defRPr sz="1582"/>
            </a:lvl5pPr>
            <a:lvl6pPr>
              <a:defRPr sz="2115"/>
            </a:lvl6pPr>
            <a:lvl7pPr>
              <a:defRPr sz="2115"/>
            </a:lvl7pPr>
            <a:lvl8pPr>
              <a:defRPr sz="2115"/>
            </a:lvl8pPr>
            <a:lvl9pPr>
              <a:defRPr sz="2115"/>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141119186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9" y="2054585"/>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9"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327413770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5"/>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5"/>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5"/>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9" y="402604"/>
            <a:ext cx="11252200" cy="334101"/>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54814071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4"/>
            <a:ext cx="5328000" cy="4622507"/>
          </a:xfrm>
          <a:prstGeom prst="rect">
            <a:avLst/>
          </a:prstGeom>
        </p:spPr>
        <p:txBody>
          <a:bodyPr/>
          <a:lstStyle>
            <a:lvl1pPr>
              <a:tabLst>
                <a:tab pos="6645324" algn="r"/>
              </a:tabLst>
              <a:defRPr/>
            </a:lvl1pPr>
            <a:lvl2pPr>
              <a:tabLst>
                <a:tab pos="6645324" algn="r"/>
              </a:tabLst>
              <a:defRPr/>
            </a:lvl2pPr>
            <a:lvl3pPr>
              <a:tabLst>
                <a:tab pos="6645324" algn="r"/>
              </a:tabLst>
              <a:defRPr/>
            </a:lvl3pPr>
            <a:lvl4pPr>
              <a:tabLst>
                <a:tab pos="6645324" algn="r"/>
              </a:tabLst>
              <a:defRPr/>
            </a:lvl4pPr>
            <a:lvl5pPr>
              <a:tabLst>
                <a:tab pos="664532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6"/>
            <a:ext cx="5328000" cy="4631795"/>
          </a:xfrm>
          <a:prstGeom prst="rect">
            <a:avLst/>
          </a:prstGeom>
        </p:spPr>
        <p:txBody>
          <a:bodyPr/>
          <a:lstStyle>
            <a:lvl1pPr>
              <a:tabLst>
                <a:tab pos="6645324" algn="r"/>
              </a:tabLst>
              <a:defRPr/>
            </a:lvl1pPr>
            <a:lvl2pPr>
              <a:tabLst>
                <a:tab pos="6645324" algn="r"/>
              </a:tabLst>
              <a:defRPr/>
            </a:lvl2pPr>
            <a:lvl3pPr>
              <a:tabLst>
                <a:tab pos="6645324" algn="r"/>
              </a:tabLst>
              <a:defRPr/>
            </a:lvl3pPr>
            <a:lvl4pPr>
              <a:tabLst>
                <a:tab pos="6645324" algn="r"/>
              </a:tabLst>
              <a:defRPr/>
            </a:lvl4pPr>
            <a:lvl5pPr>
              <a:tabLst>
                <a:tab pos="664532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126604042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9" y="1665289"/>
            <a:ext cx="4431857" cy="4633913"/>
          </a:xfrm>
          <a:prstGeom prst="rect">
            <a:avLst/>
          </a:prstGeom>
        </p:spPr>
        <p:txBody>
          <a:bodyPr/>
          <a:lstStyle>
            <a:lvl1pPr>
              <a:tabLst>
                <a:tab pos="6645324" algn="r"/>
              </a:tabLst>
              <a:defRPr/>
            </a:lvl1pPr>
            <a:lvl2pPr>
              <a:tabLst>
                <a:tab pos="6645324" algn="r"/>
              </a:tabLst>
              <a:defRPr/>
            </a:lvl2pPr>
            <a:lvl3pPr>
              <a:tabLst>
                <a:tab pos="6645324" algn="r"/>
              </a:tabLst>
              <a:defRPr/>
            </a:lvl3pPr>
            <a:lvl4pPr>
              <a:tabLst>
                <a:tab pos="6645324" algn="r"/>
              </a:tabLst>
              <a:defRPr/>
            </a:lvl4pPr>
            <a:lvl5pPr>
              <a:tabLst>
                <a:tab pos="664532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645324" algn="r"/>
              </a:tabLst>
              <a:defRPr/>
            </a:lvl1pPr>
            <a:lvl2pPr>
              <a:tabLst>
                <a:tab pos="6645324" algn="r"/>
              </a:tabLst>
              <a:defRPr/>
            </a:lvl2pPr>
            <a:lvl3pPr>
              <a:tabLst>
                <a:tab pos="6645324" algn="r"/>
              </a:tabLst>
              <a:defRPr/>
            </a:lvl3pPr>
            <a:lvl4pPr>
              <a:tabLst>
                <a:tab pos="6645324" algn="r"/>
              </a:tabLst>
              <a:defRPr/>
            </a:lvl4pPr>
            <a:lvl5pPr>
              <a:tabLst>
                <a:tab pos="664532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13887417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645324" algn="r"/>
              </a:tabLst>
              <a:defRPr sz="1582"/>
            </a:lvl1pPr>
            <a:lvl2pPr>
              <a:tabLst>
                <a:tab pos="6645324" algn="r"/>
              </a:tabLst>
              <a:defRPr sz="1582"/>
            </a:lvl2pPr>
            <a:lvl3pPr>
              <a:tabLst>
                <a:tab pos="6645324" algn="r"/>
              </a:tabLst>
              <a:defRPr sz="1582"/>
            </a:lvl3pPr>
            <a:lvl4pPr>
              <a:tabLst>
                <a:tab pos="6645324" algn="r"/>
              </a:tabLst>
              <a:defRPr sz="1582"/>
            </a:lvl4pPr>
            <a:lvl5pPr>
              <a:tabLst>
                <a:tab pos="6645324" algn="r"/>
              </a:tabLst>
              <a:defRPr sz="991" baseline="0"/>
            </a:lvl5pPr>
            <a:lvl6pPr>
              <a:defRPr sz="2115"/>
            </a:lvl6pPr>
            <a:lvl7pPr>
              <a:defRPr sz="2115"/>
            </a:lvl7pPr>
            <a:lvl8pPr>
              <a:defRPr sz="2115"/>
            </a:lvl8pPr>
            <a:lvl9pPr>
              <a:defRPr sz="2115"/>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645324" algn="r"/>
              </a:tabLst>
              <a:defRPr sz="1582"/>
            </a:lvl1pPr>
            <a:lvl2pPr>
              <a:tabLst>
                <a:tab pos="6645324" algn="r"/>
              </a:tabLst>
              <a:defRPr sz="1582"/>
            </a:lvl2pPr>
            <a:lvl3pPr>
              <a:tabLst>
                <a:tab pos="6645324" algn="r"/>
              </a:tabLst>
              <a:defRPr sz="1582"/>
            </a:lvl3pPr>
            <a:lvl4pPr>
              <a:tabLst>
                <a:tab pos="6645324" algn="r"/>
              </a:tabLst>
              <a:defRPr sz="1582"/>
            </a:lvl4pPr>
            <a:lvl5pPr>
              <a:tabLst>
                <a:tab pos="6645324" algn="r"/>
              </a:tabLst>
              <a:defRPr sz="991" baseline="0"/>
            </a:lvl5pPr>
            <a:lvl6pPr>
              <a:defRPr sz="2115"/>
            </a:lvl6pPr>
            <a:lvl7pPr>
              <a:defRPr sz="2115"/>
            </a:lvl7pPr>
            <a:lvl8pPr>
              <a:defRPr sz="2115"/>
            </a:lvl8pPr>
            <a:lvl9pPr>
              <a:defRPr sz="2115"/>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17917761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98"/>
            <a:ext cx="5594348" cy="505645"/>
          </a:xfrm>
          <a:prstGeom prst="rect">
            <a:avLst/>
          </a:prstGeom>
        </p:spPr>
        <p:txBody>
          <a:bodyPr lIns="0" tIns="0" rIns="0" bIns="0" anchor="b" anchorCtr="0">
            <a:noAutofit/>
          </a:bodyPr>
          <a:lstStyle>
            <a:lvl1pPr marL="0" indent="0" algn="l">
              <a:lnSpc>
                <a:spcPct val="100000"/>
              </a:lnSpc>
              <a:spcAft>
                <a:spcPts val="0"/>
              </a:spcAft>
              <a:buNone/>
              <a:defRPr sz="1782" b="1">
                <a:solidFill>
                  <a:schemeClr val="tx1"/>
                </a:solidFill>
              </a:defRPr>
            </a:lvl1pPr>
            <a:lvl2pPr marL="0" indent="0" algn="l">
              <a:buNone/>
              <a:defRPr sz="1582" b="0"/>
            </a:lvl2pPr>
            <a:lvl3pPr marL="1208241" indent="0" algn="ctr">
              <a:buNone/>
              <a:defRPr sz="2382"/>
            </a:lvl3pPr>
            <a:lvl4pPr marL="1812361" indent="0" algn="ctr">
              <a:buNone/>
              <a:defRPr sz="2115"/>
            </a:lvl4pPr>
            <a:lvl5pPr marL="2416482" indent="0" algn="ctr">
              <a:buNone/>
              <a:defRPr sz="2115"/>
            </a:lvl5pPr>
            <a:lvl6pPr marL="3020600" indent="0" algn="ctr">
              <a:buNone/>
              <a:defRPr sz="2115"/>
            </a:lvl6pPr>
            <a:lvl7pPr marL="3624722" indent="0" algn="ctr">
              <a:buNone/>
              <a:defRPr sz="2115"/>
            </a:lvl7pPr>
            <a:lvl8pPr marL="4228842" indent="0" algn="ctr">
              <a:buNone/>
              <a:defRPr sz="2115"/>
            </a:lvl8pPr>
            <a:lvl9pPr marL="4832963" indent="0" algn="ctr">
              <a:buNone/>
              <a:defRPr sz="2115"/>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34" y="6362717"/>
            <a:ext cx="5594349" cy="298451"/>
          </a:xfrm>
          <a:prstGeom prst="rect">
            <a:avLst/>
          </a:prstGeom>
        </p:spPr>
        <p:txBody>
          <a:bodyPr>
            <a:noAutofit/>
          </a:bodyPr>
          <a:lstStyle>
            <a:lvl1pPr>
              <a:spcAft>
                <a:spcPts val="0"/>
              </a:spcAft>
              <a:defRPr sz="104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42361129"/>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645324" algn="r"/>
              </a:tabLst>
              <a:defRPr/>
            </a:lvl1pPr>
            <a:lvl2pPr>
              <a:tabLst>
                <a:tab pos="6645324" algn="r"/>
              </a:tabLst>
              <a:defRPr/>
            </a:lvl2pPr>
            <a:lvl3pPr>
              <a:tabLst>
                <a:tab pos="6645324" algn="r"/>
              </a:tabLst>
              <a:defRPr/>
            </a:lvl3pPr>
            <a:lvl4pPr>
              <a:tabLst>
                <a:tab pos="6645324" algn="r"/>
              </a:tabLst>
              <a:defRPr/>
            </a:lvl4pPr>
            <a:lvl5pPr>
              <a:tabLst>
                <a:tab pos="664532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93"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93" y="1655764"/>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21017370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93" y="2125016"/>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94" y="1654032"/>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9" y="2125016"/>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7" y="1665290"/>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42608887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104"/>
            <a:ext cx="4266983" cy="4673101"/>
          </a:xfrm>
          <a:prstGeom prst="rect">
            <a:avLst/>
          </a:prstGeom>
        </p:spPr>
        <p:txBody>
          <a:bodyPr>
            <a:noAutofit/>
          </a:bodyPr>
          <a:lstStyle>
            <a:lvl1pPr>
              <a:tabLst>
                <a:tab pos="6645324" algn="r"/>
              </a:tabLst>
              <a:defRPr sz="2382">
                <a:solidFill>
                  <a:schemeClr val="accent3"/>
                </a:solidFill>
              </a:defRPr>
            </a:lvl1pPr>
            <a:lvl2pPr>
              <a:tabLst>
                <a:tab pos="6645324" algn="r"/>
              </a:tabLst>
              <a:defRPr/>
            </a:lvl2pPr>
            <a:lvl3pPr>
              <a:tabLst>
                <a:tab pos="6645324" algn="r"/>
              </a:tabLst>
              <a:defRPr/>
            </a:lvl3pPr>
            <a:lvl4pPr>
              <a:tabLst>
                <a:tab pos="6645324" algn="r"/>
              </a:tabLst>
              <a:defRPr/>
            </a:lvl4pPr>
            <a:lvl5pPr>
              <a:tabLst>
                <a:tab pos="664532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645324" algn="r"/>
              </a:tabLst>
              <a:defRPr/>
            </a:lvl1pPr>
            <a:lvl2pPr>
              <a:tabLst>
                <a:tab pos="6645324" algn="r"/>
              </a:tabLst>
              <a:defRPr/>
            </a:lvl2pPr>
            <a:lvl3pPr>
              <a:tabLst>
                <a:tab pos="6645324" algn="r"/>
              </a:tabLst>
              <a:defRPr/>
            </a:lvl3pPr>
            <a:lvl4pPr>
              <a:tabLst>
                <a:tab pos="6645324" algn="r"/>
              </a:tabLst>
              <a:defRPr/>
            </a:lvl4pPr>
            <a:lvl5pPr>
              <a:tabLst>
                <a:tab pos="664532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2096098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45"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5862" indent="-125862" algn="l">
              <a:spcAft>
                <a:spcPts val="0"/>
              </a:spcAft>
              <a:buClrTx/>
              <a:buSzPct val="100000"/>
              <a:buFont typeface="Arial" panose="020B0604020202020204" pitchFamily="34" charset="0"/>
              <a:buChar char="•"/>
              <a:defRPr>
                <a:solidFill>
                  <a:schemeClr val="tx1"/>
                </a:solidFill>
              </a:defRPr>
            </a:lvl2pPr>
            <a:lvl3pPr marL="276896" indent="-125862" algn="l">
              <a:spcAft>
                <a:spcPts val="0"/>
              </a:spcAft>
              <a:buClrTx/>
              <a:buSzPct val="100000"/>
              <a:buFont typeface="Arial" panose="020B0604020202020204" pitchFamily="34" charset="0"/>
              <a:buChar char="−"/>
              <a:defRPr>
                <a:solidFill>
                  <a:schemeClr val="tx1"/>
                </a:solidFill>
              </a:defRPr>
            </a:lvl3pPr>
            <a:lvl4pPr marL="427929" indent="-125862" algn="l">
              <a:spcAft>
                <a:spcPts val="0"/>
              </a:spcAft>
              <a:buClrTx/>
              <a:buSzPct val="100000"/>
              <a:buFont typeface="Arial" panose="020B0604020202020204" pitchFamily="34" charset="0"/>
              <a:buChar char="◦"/>
              <a:defRPr>
                <a:solidFill>
                  <a:schemeClr val="tx1"/>
                </a:solidFill>
              </a:defRPr>
            </a:lvl4pPr>
            <a:lvl5pPr marL="578963" indent="-125862" algn="l">
              <a:spcAft>
                <a:spcPts val="0"/>
              </a:spcAft>
              <a:buClrTx/>
              <a:buSzPct val="100000"/>
              <a:buFont typeface="Arial" panose="020B0604020202020204" pitchFamily="34" charset="0"/>
              <a:buChar char="−"/>
              <a:defRPr baseline="0">
                <a:solidFill>
                  <a:schemeClr val="tx1"/>
                </a:solidFill>
              </a:defRPr>
            </a:lvl5pPr>
            <a:lvl6pPr marL="470929" indent="-233086">
              <a:spcAft>
                <a:spcPts val="0"/>
              </a:spcAft>
              <a:buFont typeface="Verdana" panose="020B0604030504040204" pitchFamily="34" charset="0"/>
              <a:buChar char="−"/>
              <a:defRPr/>
            </a:lvl6pPr>
            <a:lvl7pPr marL="470929" indent="-233086">
              <a:spcAft>
                <a:spcPts val="0"/>
              </a:spcAft>
              <a:defRPr/>
            </a:lvl7pPr>
            <a:lvl8pPr marL="470929" indent="-233086">
              <a:spcAft>
                <a:spcPts val="0"/>
              </a:spcAft>
              <a:defRPr/>
            </a:lvl8pPr>
            <a:lvl9pPr marL="470929" indent="-23308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5862" indent="-125862" algn="l">
              <a:spcAft>
                <a:spcPts val="0"/>
              </a:spcAft>
              <a:buClrTx/>
              <a:buSzPct val="100000"/>
              <a:buFont typeface="Arial" panose="020B0604020202020204" pitchFamily="34" charset="0"/>
              <a:buChar char="•"/>
              <a:defRPr>
                <a:solidFill>
                  <a:schemeClr val="tx1"/>
                </a:solidFill>
              </a:defRPr>
            </a:lvl2pPr>
            <a:lvl3pPr marL="276896" indent="-125862" algn="l">
              <a:spcAft>
                <a:spcPts val="0"/>
              </a:spcAft>
              <a:buClrTx/>
              <a:buSzPct val="100000"/>
              <a:buFont typeface="Arial" panose="020B0604020202020204" pitchFamily="34" charset="0"/>
              <a:buChar char="−"/>
              <a:defRPr>
                <a:solidFill>
                  <a:schemeClr val="tx1"/>
                </a:solidFill>
              </a:defRPr>
            </a:lvl3pPr>
            <a:lvl4pPr marL="427929" indent="-125862" algn="l">
              <a:spcAft>
                <a:spcPts val="0"/>
              </a:spcAft>
              <a:buClrTx/>
              <a:buSzPct val="100000"/>
              <a:buFont typeface="Arial" panose="020B0604020202020204" pitchFamily="34" charset="0"/>
              <a:buChar char="◦"/>
              <a:defRPr>
                <a:solidFill>
                  <a:schemeClr val="tx1"/>
                </a:solidFill>
              </a:defRPr>
            </a:lvl4pPr>
            <a:lvl5pPr marL="578963" indent="-125862" algn="l">
              <a:spcAft>
                <a:spcPts val="0"/>
              </a:spcAft>
              <a:buClrTx/>
              <a:buSzPct val="100000"/>
              <a:buFont typeface="Arial" panose="020B0604020202020204" pitchFamily="34" charset="0"/>
              <a:buChar char="−"/>
              <a:defRPr baseline="0">
                <a:solidFill>
                  <a:schemeClr val="tx1"/>
                </a:solidFill>
              </a:defRPr>
            </a:lvl5pPr>
            <a:lvl6pPr marL="470929" indent="-233086">
              <a:spcAft>
                <a:spcPts val="0"/>
              </a:spcAft>
              <a:buFont typeface="Verdana" panose="020B0604030504040204" pitchFamily="34" charset="0"/>
              <a:buChar char="−"/>
              <a:defRPr/>
            </a:lvl6pPr>
            <a:lvl7pPr marL="470929" indent="-233086">
              <a:spcAft>
                <a:spcPts val="0"/>
              </a:spcAft>
              <a:defRPr/>
            </a:lvl7pPr>
            <a:lvl8pPr marL="470929" indent="-233086">
              <a:spcAft>
                <a:spcPts val="0"/>
              </a:spcAft>
              <a:defRPr/>
            </a:lvl8pPr>
            <a:lvl9pPr marL="470929" indent="-23308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5862" indent="-125862" algn="l">
              <a:spcAft>
                <a:spcPts val="0"/>
              </a:spcAft>
              <a:buClrTx/>
              <a:buSzPct val="100000"/>
              <a:buFont typeface="Arial" panose="020B0604020202020204" pitchFamily="34" charset="0"/>
              <a:buChar char="•"/>
              <a:defRPr>
                <a:solidFill>
                  <a:schemeClr val="tx1"/>
                </a:solidFill>
              </a:defRPr>
            </a:lvl2pPr>
            <a:lvl3pPr marL="276896" indent="-125862" algn="l">
              <a:spcAft>
                <a:spcPts val="0"/>
              </a:spcAft>
              <a:buClrTx/>
              <a:buSzPct val="100000"/>
              <a:buFont typeface="Arial" panose="020B0604020202020204" pitchFamily="34" charset="0"/>
              <a:buChar char="−"/>
              <a:defRPr>
                <a:solidFill>
                  <a:schemeClr val="tx1"/>
                </a:solidFill>
              </a:defRPr>
            </a:lvl3pPr>
            <a:lvl4pPr marL="427929" indent="-125862" algn="l">
              <a:spcAft>
                <a:spcPts val="0"/>
              </a:spcAft>
              <a:buClrTx/>
              <a:buSzPct val="100000"/>
              <a:buFont typeface="Arial" panose="020B0604020202020204" pitchFamily="34" charset="0"/>
              <a:buChar char="◦"/>
              <a:defRPr>
                <a:solidFill>
                  <a:schemeClr val="tx1"/>
                </a:solidFill>
              </a:defRPr>
            </a:lvl4pPr>
            <a:lvl5pPr marL="578963" indent="-125862" algn="l">
              <a:spcAft>
                <a:spcPts val="0"/>
              </a:spcAft>
              <a:buClrTx/>
              <a:buSzPct val="100000"/>
              <a:buFont typeface="Arial" panose="020B0604020202020204" pitchFamily="34" charset="0"/>
              <a:buChar char="−"/>
              <a:defRPr baseline="0">
                <a:solidFill>
                  <a:schemeClr val="tx1"/>
                </a:solidFill>
              </a:defRPr>
            </a:lvl5pPr>
            <a:lvl6pPr marL="470929" indent="-233086">
              <a:spcAft>
                <a:spcPts val="0"/>
              </a:spcAft>
              <a:buFont typeface="Verdana" panose="020B0604030504040204" pitchFamily="34" charset="0"/>
              <a:buChar char="−"/>
              <a:defRPr/>
            </a:lvl6pPr>
            <a:lvl7pPr marL="470929" indent="-233086">
              <a:spcAft>
                <a:spcPts val="0"/>
              </a:spcAft>
              <a:defRPr/>
            </a:lvl7pPr>
            <a:lvl8pPr marL="470929" indent="-233086">
              <a:spcAft>
                <a:spcPts val="0"/>
              </a:spcAft>
              <a:defRPr/>
            </a:lvl8pPr>
            <a:lvl9pPr marL="470929" indent="-23308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5862" indent="-125862" algn="l">
              <a:spcAft>
                <a:spcPts val="0"/>
              </a:spcAft>
              <a:buClrTx/>
              <a:buSzPct val="100000"/>
              <a:buFont typeface="Arial" panose="020B0604020202020204" pitchFamily="34" charset="0"/>
              <a:buChar char="•"/>
              <a:defRPr>
                <a:solidFill>
                  <a:schemeClr val="tx1"/>
                </a:solidFill>
              </a:defRPr>
            </a:lvl2pPr>
            <a:lvl3pPr marL="276896" indent="-125862" algn="l">
              <a:spcAft>
                <a:spcPts val="0"/>
              </a:spcAft>
              <a:buClrTx/>
              <a:buSzPct val="100000"/>
              <a:buFont typeface="Arial" panose="020B0604020202020204" pitchFamily="34" charset="0"/>
              <a:buChar char="−"/>
              <a:defRPr>
                <a:solidFill>
                  <a:schemeClr val="tx1"/>
                </a:solidFill>
              </a:defRPr>
            </a:lvl3pPr>
            <a:lvl4pPr marL="427929" indent="-125862" algn="l">
              <a:spcAft>
                <a:spcPts val="0"/>
              </a:spcAft>
              <a:buClrTx/>
              <a:buSzPct val="100000"/>
              <a:buFont typeface="Arial" panose="020B0604020202020204" pitchFamily="34" charset="0"/>
              <a:buChar char="◦"/>
              <a:defRPr>
                <a:solidFill>
                  <a:schemeClr val="tx1"/>
                </a:solidFill>
              </a:defRPr>
            </a:lvl4pPr>
            <a:lvl5pPr marL="578963" indent="-125862" algn="l">
              <a:spcAft>
                <a:spcPts val="0"/>
              </a:spcAft>
              <a:buClrTx/>
              <a:buSzPct val="100000"/>
              <a:buFont typeface="Arial" panose="020B0604020202020204" pitchFamily="34" charset="0"/>
              <a:buChar char="−"/>
              <a:defRPr baseline="0">
                <a:solidFill>
                  <a:schemeClr val="tx1"/>
                </a:solidFill>
              </a:defRPr>
            </a:lvl5pPr>
            <a:lvl6pPr marL="470929" indent="-233086">
              <a:spcAft>
                <a:spcPts val="0"/>
              </a:spcAft>
              <a:buFont typeface="Verdana" panose="020B0604030504040204" pitchFamily="34" charset="0"/>
              <a:buChar char="−"/>
              <a:defRPr/>
            </a:lvl6pPr>
            <a:lvl7pPr marL="470929" indent="-233086">
              <a:spcAft>
                <a:spcPts val="0"/>
              </a:spcAft>
              <a:defRPr/>
            </a:lvl7pPr>
            <a:lvl8pPr marL="470929" indent="-233086">
              <a:spcAft>
                <a:spcPts val="0"/>
              </a:spcAft>
              <a:defRPr/>
            </a:lvl8pPr>
            <a:lvl9pPr marL="470929" indent="-23308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270949565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58" noProof="0" dirty="0">
              <a:solidFill>
                <a:schemeClr val="bg1"/>
              </a:solidFill>
              <a:latin typeface="Calibri" panose="020F0502020204030204" pitchFamily="34" charset="0"/>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58" noProof="0" dirty="0">
              <a:solidFill>
                <a:schemeClr val="bg1"/>
              </a:solidFill>
              <a:latin typeface="Calibri" panose="020F0502020204030204" pitchFamily="34" charset="0"/>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58" noProof="0" dirty="0">
              <a:solidFill>
                <a:schemeClr val="bg1"/>
              </a:solidFill>
              <a:latin typeface="Calibri" panose="020F0502020204030204" pitchFamily="34" charset="0"/>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58" noProof="0" dirty="0">
              <a:solidFill>
                <a:schemeClr val="bg1"/>
              </a:solidFill>
              <a:latin typeface="Calibri" panose="020F0502020204030204" pitchFamily="34" charset="0"/>
            </a:endParaRPr>
          </a:p>
        </p:txBody>
      </p:sp>
      <p:sp>
        <p:nvSpPr>
          <p:cNvPr id="8" name="Picture Placeholder 11"/>
          <p:cNvSpPr>
            <a:spLocks noGrp="1"/>
          </p:cNvSpPr>
          <p:nvPr>
            <p:ph type="pic" sz="quarter" idx="25"/>
          </p:nvPr>
        </p:nvSpPr>
        <p:spPr>
          <a:xfrm>
            <a:off x="476789"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106"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88"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106"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5862" indent="-125862"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5862" indent="-125862"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5862" indent="-125862"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5862" indent="-125862"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22409762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18"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93" y="1700231"/>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30"/>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18"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93" y="3832242"/>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324424493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7772881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9" y="402604"/>
            <a:ext cx="11252200" cy="334101"/>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910"/>
            <a:ext cx="5544000" cy="1695451"/>
          </a:xfrm>
        </p:spPr>
        <p:txBody>
          <a:bodyPr/>
          <a:lstStyle>
            <a:lvl1pPr marL="0" indent="0" algn="l">
              <a:spcAft>
                <a:spcPts val="1324"/>
              </a:spcAft>
              <a:buFontTx/>
              <a:buNone/>
              <a:defRPr b="1">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71" y="1857910"/>
            <a:ext cx="5544000" cy="1695451"/>
          </a:xfrm>
        </p:spPr>
        <p:txBody>
          <a:bodyPr/>
          <a:lstStyle>
            <a:lvl1pPr marL="0" indent="0" algn="l">
              <a:spcAft>
                <a:spcPts val="1324"/>
              </a:spcAft>
              <a:buFontTx/>
              <a:buNone/>
              <a:defRPr b="1">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24"/>
              </a:spcAft>
            </a:pPr>
            <a:endParaRPr lang="en-US" sz="1458" noProof="0" dirty="0">
              <a:solidFill>
                <a:schemeClr val="bg1"/>
              </a:solidFill>
              <a:latin typeface="Calibri" panose="020F0502020204030204" pitchFamily="34" charset="0"/>
            </a:endParaRPr>
          </a:p>
        </p:txBody>
      </p:sp>
      <p:sp>
        <p:nvSpPr>
          <p:cNvPr id="18" name="Rectangle 17"/>
          <p:cNvSpPr/>
          <p:nvPr userDrawn="1"/>
        </p:nvSpPr>
        <p:spPr>
          <a:xfrm>
            <a:off x="6167805"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24"/>
              </a:spcAft>
            </a:pPr>
            <a:endParaRPr lang="en-US" sz="1458" noProof="0" dirty="0">
              <a:solidFill>
                <a:schemeClr val="bg1"/>
              </a:solidFill>
              <a:latin typeface="Calibri" panose="020F0502020204030204" pitchFamily="34" charset="0"/>
            </a:endParaRPr>
          </a:p>
        </p:txBody>
      </p:sp>
      <p:sp>
        <p:nvSpPr>
          <p:cNvPr id="19" name="Picture Placeholder 29"/>
          <p:cNvSpPr>
            <a:spLocks noGrp="1"/>
          </p:cNvSpPr>
          <p:nvPr>
            <p:ph type="pic" sz="quarter" idx="20" hasCustomPrompt="1"/>
          </p:nvPr>
        </p:nvSpPr>
        <p:spPr>
          <a:xfrm>
            <a:off x="10467644" y="1857910"/>
            <a:ext cx="1244161" cy="549275"/>
          </a:xfrm>
        </p:spPr>
        <p:txBody>
          <a:bodyPr/>
          <a:lstStyle>
            <a:lvl1pPr marL="0" marR="0" indent="0" algn="l" defTabSz="1208241" rtl="0" eaLnBrk="1" fontAlgn="auto" latinLnBrk="0" hangingPunct="1">
              <a:lnSpc>
                <a:spcPct val="100000"/>
              </a:lnSpc>
              <a:spcBef>
                <a:spcPts val="0"/>
              </a:spcBef>
              <a:spcAft>
                <a:spcPts val="1324"/>
              </a:spcAft>
              <a:buClrTx/>
              <a:buSzTx/>
              <a:buFont typeface="Arial" panose="020B0604020202020204" pitchFamily="34" charset="0"/>
              <a:buNone/>
              <a:tabLst/>
              <a:defRPr sz="1191"/>
            </a:lvl1pPr>
          </a:lstStyle>
          <a:p>
            <a:pPr>
              <a:spcBef>
                <a:spcPct val="0"/>
              </a:spcBef>
            </a:pPr>
            <a:r>
              <a:rPr lang="en-US" sz="1582" noProof="0" dirty="0">
                <a:solidFill>
                  <a:schemeClr val="bg1"/>
                </a:solidFill>
              </a:rPr>
              <a:t>Co-brand</a:t>
            </a:r>
            <a:br>
              <a:rPr lang="en-US" sz="1582" noProof="0" dirty="0">
                <a:solidFill>
                  <a:schemeClr val="bg1"/>
                </a:solidFill>
              </a:rPr>
            </a:br>
            <a:r>
              <a:rPr lang="en-US" sz="1582"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804" y="1863935"/>
            <a:ext cx="1244906" cy="549275"/>
          </a:xfrm>
        </p:spPr>
        <p:txBody>
          <a:bodyPr/>
          <a:lstStyle>
            <a:lvl1pPr marL="0" marR="0" indent="0" algn="l" defTabSz="1208241" rtl="0" eaLnBrk="1" fontAlgn="auto" latinLnBrk="0" hangingPunct="1">
              <a:lnSpc>
                <a:spcPct val="100000"/>
              </a:lnSpc>
              <a:spcBef>
                <a:spcPts val="0"/>
              </a:spcBef>
              <a:spcAft>
                <a:spcPts val="1324"/>
              </a:spcAft>
              <a:buClrTx/>
              <a:buSzTx/>
              <a:buFont typeface="Arial" panose="020B0604020202020204" pitchFamily="34" charset="0"/>
              <a:buNone/>
              <a:tabLst/>
              <a:defRPr sz="1191"/>
            </a:lvl1pPr>
          </a:lstStyle>
          <a:p>
            <a:pPr>
              <a:spcBef>
                <a:spcPct val="0"/>
              </a:spcBef>
            </a:pPr>
            <a:r>
              <a:rPr lang="en-US" sz="1582" noProof="0" dirty="0">
                <a:solidFill>
                  <a:schemeClr val="bg1"/>
                </a:solidFill>
              </a:rPr>
              <a:t>Co-brand</a:t>
            </a:r>
            <a:br>
              <a:rPr lang="en-US" sz="1582" noProof="0" dirty="0">
                <a:solidFill>
                  <a:schemeClr val="bg1"/>
                </a:solidFill>
              </a:rPr>
            </a:br>
            <a:r>
              <a:rPr lang="en-US" sz="1582" noProof="0" dirty="0">
                <a:solidFill>
                  <a:schemeClr val="bg1"/>
                </a:solidFill>
              </a:rPr>
              <a:t>Logo</a:t>
            </a:r>
          </a:p>
          <a:p>
            <a:endParaRPr lang="en-US" noProof="0" dirty="0"/>
          </a:p>
        </p:txBody>
      </p:sp>
    </p:spTree>
    <p:extLst>
      <p:ext uri="{BB962C8B-B14F-4D97-AF65-F5344CB8AC3E}">
        <p14:creationId xmlns:p14="http://schemas.microsoft.com/office/powerpoint/2010/main" val="127918666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910"/>
            <a:ext cx="5544000" cy="1695451"/>
          </a:xfrm>
        </p:spPr>
        <p:txBody>
          <a:bodyPr>
            <a:noAutofit/>
          </a:bodyPr>
          <a:lstStyle>
            <a:lvl1pPr marL="0" indent="0">
              <a:spcAft>
                <a:spcPts val="1324"/>
              </a:spcAft>
              <a:defRPr b="1">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71" y="1857910"/>
            <a:ext cx="5544000" cy="1695451"/>
          </a:xfrm>
        </p:spPr>
        <p:txBody>
          <a:bodyPr>
            <a:noAutofit/>
          </a:bodyPr>
          <a:lstStyle>
            <a:lvl1pPr marL="0" indent="0">
              <a:spcAft>
                <a:spcPts val="1324"/>
              </a:spcAft>
              <a:defRPr b="1">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24"/>
              </a:spcAft>
            </a:pPr>
            <a:endParaRPr lang="en-US" sz="1458" noProof="0" dirty="0">
              <a:solidFill>
                <a:schemeClr val="bg1"/>
              </a:solidFill>
              <a:latin typeface="Calibri" panose="020F0502020204030204" pitchFamily="34" charset="0"/>
            </a:endParaRPr>
          </a:p>
        </p:txBody>
      </p:sp>
      <p:sp>
        <p:nvSpPr>
          <p:cNvPr id="5" name="Rectangle 4"/>
          <p:cNvSpPr/>
          <p:nvPr userDrawn="1"/>
        </p:nvSpPr>
        <p:spPr>
          <a:xfrm>
            <a:off x="6167805"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24"/>
              </a:spcAft>
            </a:pPr>
            <a:endParaRPr lang="en-US" sz="1458" noProof="0" dirty="0">
              <a:solidFill>
                <a:schemeClr val="bg1"/>
              </a:solidFill>
              <a:latin typeface="Calibri" panose="020F0502020204030204" pitchFamily="34" charset="0"/>
            </a:endParaRPr>
          </a:p>
        </p:txBody>
      </p:sp>
      <p:sp>
        <p:nvSpPr>
          <p:cNvPr id="7" name="Picture Placeholder 29"/>
          <p:cNvSpPr>
            <a:spLocks noGrp="1"/>
          </p:cNvSpPr>
          <p:nvPr>
            <p:ph type="pic" sz="quarter" idx="20" hasCustomPrompt="1"/>
          </p:nvPr>
        </p:nvSpPr>
        <p:spPr>
          <a:xfrm>
            <a:off x="10467644" y="1857910"/>
            <a:ext cx="1244161" cy="549275"/>
          </a:xfrm>
        </p:spPr>
        <p:txBody>
          <a:bodyPr>
            <a:noAutofit/>
          </a:bodyPr>
          <a:lstStyle>
            <a:lvl1pPr marL="0" marR="0" indent="0" algn="l" defTabSz="1208241" rtl="0" eaLnBrk="1" fontAlgn="auto" latinLnBrk="0" hangingPunct="1">
              <a:lnSpc>
                <a:spcPct val="100000"/>
              </a:lnSpc>
              <a:spcBef>
                <a:spcPts val="0"/>
              </a:spcBef>
              <a:spcAft>
                <a:spcPts val="1324"/>
              </a:spcAft>
              <a:buClrTx/>
              <a:buSzTx/>
              <a:buFont typeface="Arial" panose="020B0604020202020204" pitchFamily="34" charset="0"/>
              <a:buNone/>
              <a:tabLst/>
              <a:defRPr sz="1191"/>
            </a:lvl1pPr>
          </a:lstStyle>
          <a:p>
            <a:pPr>
              <a:spcBef>
                <a:spcPct val="0"/>
              </a:spcBef>
            </a:pPr>
            <a:r>
              <a:rPr lang="en-US" sz="1582" noProof="0" dirty="0">
                <a:solidFill>
                  <a:schemeClr val="bg1"/>
                </a:solidFill>
              </a:rPr>
              <a:t>Co-brand</a:t>
            </a:r>
            <a:br>
              <a:rPr lang="en-US" sz="1582" noProof="0" dirty="0">
                <a:solidFill>
                  <a:schemeClr val="bg1"/>
                </a:solidFill>
              </a:rPr>
            </a:br>
            <a:r>
              <a:rPr lang="en-US" sz="1582"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99"/>
            <a:ext cx="5544000" cy="1695451"/>
          </a:xfrm>
        </p:spPr>
        <p:txBody>
          <a:bodyPr>
            <a:noAutofit/>
          </a:bodyPr>
          <a:lstStyle>
            <a:lvl1pPr marL="0" indent="0">
              <a:spcAft>
                <a:spcPts val="1324"/>
              </a:spcAft>
              <a:defRPr b="1">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9" y="4249699"/>
            <a:ext cx="5544000" cy="1695451"/>
          </a:xfrm>
        </p:spPr>
        <p:txBody>
          <a:bodyPr>
            <a:noAutofit/>
          </a:bodyPr>
          <a:lstStyle>
            <a:lvl1pPr marL="0" indent="0">
              <a:spcAft>
                <a:spcPts val="1324"/>
              </a:spcAft>
              <a:defRPr b="1">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24"/>
              </a:spcAft>
            </a:pPr>
            <a:endParaRPr lang="en-US" sz="1458" noProof="0" dirty="0">
              <a:solidFill>
                <a:schemeClr val="bg1"/>
              </a:solidFill>
              <a:latin typeface="Calibri" panose="020F0502020204030204" pitchFamily="34" charset="0"/>
            </a:endParaRPr>
          </a:p>
        </p:txBody>
      </p:sp>
      <p:sp>
        <p:nvSpPr>
          <p:cNvPr id="13" name="Rectangle 12"/>
          <p:cNvSpPr/>
          <p:nvPr userDrawn="1"/>
        </p:nvSpPr>
        <p:spPr>
          <a:xfrm>
            <a:off x="6167805"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24"/>
              </a:spcAft>
            </a:pPr>
            <a:endParaRPr lang="en-US" sz="1458" noProof="0" dirty="0">
              <a:solidFill>
                <a:schemeClr val="bg1"/>
              </a:solidFill>
              <a:latin typeface="Calibri" panose="020F0502020204030204" pitchFamily="34" charset="0"/>
            </a:endParaRPr>
          </a:p>
        </p:txBody>
      </p:sp>
      <p:sp>
        <p:nvSpPr>
          <p:cNvPr id="14" name="Picture Placeholder 29"/>
          <p:cNvSpPr>
            <a:spLocks noGrp="1"/>
          </p:cNvSpPr>
          <p:nvPr>
            <p:ph type="pic" sz="quarter" idx="24" hasCustomPrompt="1"/>
          </p:nvPr>
        </p:nvSpPr>
        <p:spPr>
          <a:xfrm>
            <a:off x="4700436" y="4249701"/>
            <a:ext cx="1274916" cy="549275"/>
          </a:xfrm>
        </p:spPr>
        <p:txBody>
          <a:bodyPr>
            <a:noAutofit/>
          </a:bodyPr>
          <a:lstStyle>
            <a:lvl1pPr marL="0" marR="0" indent="0" algn="l" defTabSz="1208241" rtl="0" eaLnBrk="1" fontAlgn="auto" latinLnBrk="0" hangingPunct="1">
              <a:lnSpc>
                <a:spcPct val="100000"/>
              </a:lnSpc>
              <a:spcBef>
                <a:spcPts val="0"/>
              </a:spcBef>
              <a:spcAft>
                <a:spcPts val="1324"/>
              </a:spcAft>
              <a:buClrTx/>
              <a:buSzTx/>
              <a:buFont typeface="Arial" panose="020B0604020202020204" pitchFamily="34" charset="0"/>
              <a:buNone/>
              <a:tabLst/>
              <a:defRPr sz="1191"/>
            </a:lvl1pPr>
          </a:lstStyle>
          <a:p>
            <a:pPr>
              <a:spcBef>
                <a:spcPct val="0"/>
              </a:spcBef>
            </a:pPr>
            <a:r>
              <a:rPr lang="en-US" sz="1582" noProof="0" dirty="0">
                <a:solidFill>
                  <a:schemeClr val="bg1"/>
                </a:solidFill>
              </a:rPr>
              <a:t>Co-brand</a:t>
            </a:r>
            <a:br>
              <a:rPr lang="en-US" sz="1582" noProof="0" dirty="0">
                <a:solidFill>
                  <a:schemeClr val="bg1"/>
                </a:solidFill>
              </a:rPr>
            </a:br>
            <a:r>
              <a:rPr lang="en-US" sz="1582"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27"/>
            <a:ext cx="1244160" cy="549275"/>
          </a:xfrm>
        </p:spPr>
        <p:txBody>
          <a:bodyPr>
            <a:noAutofit/>
          </a:bodyPr>
          <a:lstStyle>
            <a:lvl1pPr marL="0" marR="0" indent="0" algn="l" defTabSz="1208241" rtl="0" eaLnBrk="1" fontAlgn="auto" latinLnBrk="0" hangingPunct="1">
              <a:lnSpc>
                <a:spcPct val="100000"/>
              </a:lnSpc>
              <a:spcBef>
                <a:spcPts val="0"/>
              </a:spcBef>
              <a:spcAft>
                <a:spcPts val="1324"/>
              </a:spcAft>
              <a:buClrTx/>
              <a:buSzTx/>
              <a:buFont typeface="Arial" panose="020B0604020202020204" pitchFamily="34" charset="0"/>
              <a:buNone/>
              <a:tabLst/>
              <a:defRPr sz="1191"/>
            </a:lvl1pPr>
          </a:lstStyle>
          <a:p>
            <a:pPr>
              <a:spcBef>
                <a:spcPct val="0"/>
              </a:spcBef>
            </a:pPr>
            <a:r>
              <a:rPr lang="en-US" sz="1582" noProof="0" dirty="0">
                <a:solidFill>
                  <a:schemeClr val="bg1"/>
                </a:solidFill>
              </a:rPr>
              <a:t>Co-brand</a:t>
            </a:r>
            <a:br>
              <a:rPr lang="en-US" sz="1582" noProof="0" dirty="0">
                <a:solidFill>
                  <a:schemeClr val="bg1"/>
                </a:solidFill>
              </a:rPr>
            </a:br>
            <a:r>
              <a:rPr lang="en-US" sz="1582"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804" y="1863935"/>
            <a:ext cx="1244906" cy="549275"/>
          </a:xfrm>
        </p:spPr>
        <p:txBody>
          <a:bodyPr>
            <a:noAutofit/>
          </a:bodyPr>
          <a:lstStyle>
            <a:lvl1pPr marL="0" marR="0" indent="0" algn="l" defTabSz="1208241" rtl="0" eaLnBrk="1" fontAlgn="auto" latinLnBrk="0" hangingPunct="1">
              <a:lnSpc>
                <a:spcPct val="100000"/>
              </a:lnSpc>
              <a:spcBef>
                <a:spcPts val="0"/>
              </a:spcBef>
              <a:spcAft>
                <a:spcPts val="1324"/>
              </a:spcAft>
              <a:buClrTx/>
              <a:buSzTx/>
              <a:buFont typeface="Arial" panose="020B0604020202020204" pitchFamily="34" charset="0"/>
              <a:buNone/>
              <a:tabLst/>
              <a:defRPr sz="1191"/>
            </a:lvl1pPr>
          </a:lstStyle>
          <a:p>
            <a:pPr>
              <a:spcBef>
                <a:spcPct val="0"/>
              </a:spcBef>
            </a:pPr>
            <a:r>
              <a:rPr lang="en-US" sz="1582" noProof="0" dirty="0">
                <a:solidFill>
                  <a:schemeClr val="bg1"/>
                </a:solidFill>
              </a:rPr>
              <a:t>Co-brand</a:t>
            </a:r>
            <a:br>
              <a:rPr lang="en-US" sz="1582" noProof="0" dirty="0">
                <a:solidFill>
                  <a:schemeClr val="bg1"/>
                </a:solidFill>
              </a:rPr>
            </a:br>
            <a:r>
              <a:rPr lang="en-US" sz="1582"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29633753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58" noProof="0" dirty="0">
              <a:solidFill>
                <a:schemeClr val="bg1"/>
              </a:solidFill>
              <a:latin typeface="Calibri" panose="020F0502020204030204" pitchFamily="34" charset="0"/>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58" noProof="0" dirty="0">
              <a:solidFill>
                <a:schemeClr val="bg1"/>
              </a:solidFill>
              <a:latin typeface="Calibri" panose="020F0502020204030204" pitchFamily="34" charset="0"/>
            </a:endParaRPr>
          </a:p>
        </p:txBody>
      </p:sp>
      <p:sp>
        <p:nvSpPr>
          <p:cNvPr id="6" name="Rectangle 5"/>
          <p:cNvSpPr/>
          <p:nvPr userDrawn="1"/>
        </p:nvSpPr>
        <p:spPr>
          <a:xfrm>
            <a:off x="8104185"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58" noProof="0" dirty="0">
              <a:solidFill>
                <a:schemeClr val="bg1"/>
              </a:solidFill>
              <a:latin typeface="Calibri" panose="020F0502020204030204" pitchFamily="34" charset="0"/>
            </a:endParaRPr>
          </a:p>
        </p:txBody>
      </p:sp>
      <p:sp>
        <p:nvSpPr>
          <p:cNvPr id="7" name="Text Placeholder 8"/>
          <p:cNvSpPr>
            <a:spLocks noGrp="1"/>
          </p:cNvSpPr>
          <p:nvPr>
            <p:ph type="body" sz="quarter" idx="17"/>
          </p:nvPr>
        </p:nvSpPr>
        <p:spPr>
          <a:xfrm>
            <a:off x="4278322" y="1851441"/>
            <a:ext cx="3630168" cy="3845755"/>
          </a:xfrm>
        </p:spPr>
        <p:txBody>
          <a:bodyPr/>
          <a:lstStyle>
            <a:lvl1pPr marL="0" indent="0" algn="l">
              <a:buFontTx/>
              <a:buNone/>
              <a:defRPr b="1">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84" y="1851441"/>
            <a:ext cx="3629025" cy="3845755"/>
          </a:xfrm>
        </p:spPr>
        <p:txBody>
          <a:bodyPr/>
          <a:lstStyle>
            <a:lvl1pPr marL="0" indent="0" algn="l">
              <a:buFontTx/>
              <a:buNone/>
              <a:defRPr b="1">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15646260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764"/>
              </a:lnSpc>
              <a:defRPr sz="3173" b="0" i="0">
                <a:solidFill>
                  <a:schemeClr val="bg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9" y="5845198"/>
            <a:ext cx="5592011" cy="505645"/>
          </a:xfrm>
          <a:prstGeom prst="rect">
            <a:avLst/>
          </a:prstGeom>
        </p:spPr>
        <p:txBody>
          <a:bodyPr lIns="0" tIns="0" rIns="0" bIns="0" anchor="b" anchorCtr="0">
            <a:noAutofit/>
          </a:bodyPr>
          <a:lstStyle>
            <a:lvl1pPr marL="0" indent="0" algn="l">
              <a:lnSpc>
                <a:spcPct val="100000"/>
              </a:lnSpc>
              <a:spcAft>
                <a:spcPts val="0"/>
              </a:spcAft>
              <a:buNone/>
              <a:defRPr sz="1582">
                <a:solidFill>
                  <a:schemeClr val="bg1"/>
                </a:solidFill>
              </a:defRPr>
            </a:lvl1pPr>
            <a:lvl2pPr marL="604120" indent="0" algn="ctr">
              <a:buNone/>
              <a:defRPr sz="2640"/>
            </a:lvl2pPr>
            <a:lvl3pPr marL="1208241" indent="0" algn="ctr">
              <a:buNone/>
              <a:defRPr sz="2382"/>
            </a:lvl3pPr>
            <a:lvl4pPr marL="1812361" indent="0" algn="ctr">
              <a:buNone/>
              <a:defRPr sz="2115"/>
            </a:lvl4pPr>
            <a:lvl5pPr marL="2416482" indent="0" algn="ctr">
              <a:buNone/>
              <a:defRPr sz="2115"/>
            </a:lvl5pPr>
            <a:lvl6pPr marL="3020600" indent="0" algn="ctr">
              <a:buNone/>
              <a:defRPr sz="2115"/>
            </a:lvl6pPr>
            <a:lvl7pPr marL="3624722" indent="0" algn="ctr">
              <a:buNone/>
              <a:defRPr sz="2115"/>
            </a:lvl7pPr>
            <a:lvl8pPr marL="4228842" indent="0" algn="ctr">
              <a:buNone/>
              <a:defRPr sz="2115"/>
            </a:lvl8pPr>
            <a:lvl9pPr marL="4832963" indent="0" algn="ctr">
              <a:buNone/>
              <a:defRPr sz="2115"/>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9" y="6362717"/>
            <a:ext cx="5594349" cy="298451"/>
          </a:xfrm>
          <a:prstGeom prst="rect">
            <a:avLst/>
          </a:prstGeom>
        </p:spPr>
        <p:txBody>
          <a:bodyPr/>
          <a:lstStyle>
            <a:lvl1pPr>
              <a:spcAft>
                <a:spcPts val="0"/>
              </a:spcAft>
              <a:defRPr sz="104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9"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27941219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5862" indent="-125862" algn="l">
              <a:spcAft>
                <a:spcPts val="1324"/>
              </a:spcAft>
              <a:buClrTx/>
              <a:buSzPct val="100000"/>
              <a:buFont typeface="Arial" panose="020B0604020202020204" pitchFamily="34" charset="0"/>
              <a:buChar char="•"/>
              <a:defRPr>
                <a:solidFill>
                  <a:schemeClr val="tx1"/>
                </a:solidFill>
              </a:defRPr>
            </a:lvl2pPr>
            <a:lvl3pPr marL="276896" indent="-125862" algn="l">
              <a:spcAft>
                <a:spcPts val="1324"/>
              </a:spcAft>
              <a:buClrTx/>
              <a:buSzPct val="100000"/>
              <a:buFont typeface="Arial" panose="020B0604020202020204" pitchFamily="34" charset="0"/>
              <a:buChar char="−"/>
              <a:defRPr>
                <a:solidFill>
                  <a:schemeClr val="tx1"/>
                </a:solidFill>
              </a:defRPr>
            </a:lvl3pPr>
            <a:lvl4pPr marL="427929" indent="-125862" algn="l">
              <a:spcAft>
                <a:spcPts val="1324"/>
              </a:spcAft>
              <a:buClrTx/>
              <a:buSzPct val="100000"/>
              <a:buFont typeface="Arial" panose="020B0604020202020204" pitchFamily="34" charset="0"/>
              <a:buChar char="◦"/>
              <a:defRPr>
                <a:solidFill>
                  <a:schemeClr val="tx1"/>
                </a:solidFill>
              </a:defRPr>
            </a:lvl4pPr>
            <a:lvl5pPr marL="578963" indent="-125862" algn="l">
              <a:spcAft>
                <a:spcPts val="1324"/>
              </a:spcAft>
              <a:buClrTx/>
              <a:buSzPct val="100000"/>
              <a:buFont typeface="Arial" panose="020B0604020202020204" pitchFamily="34" charset="0"/>
              <a:buChar char="−"/>
              <a:defRPr baseline="0">
                <a:solidFill>
                  <a:schemeClr val="tx1"/>
                </a:solidFill>
              </a:defRPr>
            </a:lvl5pPr>
            <a:lvl6pPr marL="470929" indent="-233086">
              <a:spcAft>
                <a:spcPts val="1324"/>
              </a:spcAft>
              <a:buFont typeface="Verdana" panose="020B0604030504040204" pitchFamily="34" charset="0"/>
              <a:buChar char="−"/>
              <a:defRPr/>
            </a:lvl6pPr>
            <a:lvl7pPr marL="470929" indent="-233086">
              <a:spcAft>
                <a:spcPts val="1324"/>
              </a:spcAft>
              <a:defRPr/>
            </a:lvl7pPr>
            <a:lvl8pPr marL="470929" indent="-233086">
              <a:spcAft>
                <a:spcPts val="1324"/>
              </a:spcAft>
              <a:defRPr/>
            </a:lvl8pPr>
            <a:lvl9pPr marL="470929" indent="-233086">
              <a:spcAft>
                <a:spcPts val="1324"/>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34759935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5862" indent="-125862" algn="l">
              <a:spcAft>
                <a:spcPts val="1324"/>
              </a:spcAft>
              <a:buClrTx/>
              <a:buSzPct val="100000"/>
              <a:buFont typeface="Arial" panose="020B0604020202020204" pitchFamily="34" charset="0"/>
              <a:buChar char="•"/>
              <a:defRPr>
                <a:solidFill>
                  <a:schemeClr val="bg1"/>
                </a:solidFill>
              </a:defRPr>
            </a:lvl2pPr>
            <a:lvl3pPr marL="276896" indent="-125862" algn="l">
              <a:spcAft>
                <a:spcPts val="1324"/>
              </a:spcAft>
              <a:buClrTx/>
              <a:buSzPct val="100000"/>
              <a:buFont typeface="Arial" panose="020B0604020202020204" pitchFamily="34" charset="0"/>
              <a:buChar char="−"/>
              <a:defRPr>
                <a:solidFill>
                  <a:schemeClr val="bg1"/>
                </a:solidFill>
              </a:defRPr>
            </a:lvl3pPr>
            <a:lvl4pPr marL="427929" indent="-125862" algn="l">
              <a:spcAft>
                <a:spcPts val="1324"/>
              </a:spcAft>
              <a:buClrTx/>
              <a:buSzPct val="100000"/>
              <a:buFont typeface="Arial" panose="020B0604020202020204" pitchFamily="34" charset="0"/>
              <a:buChar char="◦"/>
              <a:defRPr>
                <a:solidFill>
                  <a:schemeClr val="bg1"/>
                </a:solidFill>
              </a:defRPr>
            </a:lvl4pPr>
            <a:lvl5pPr marL="578963" indent="-125862" algn="l">
              <a:spcAft>
                <a:spcPts val="1324"/>
              </a:spcAft>
              <a:buClrTx/>
              <a:buSzPct val="100000"/>
              <a:buFont typeface="Arial" panose="020B0604020202020204" pitchFamily="34" charset="0"/>
              <a:buChar char="−"/>
              <a:defRPr baseline="0">
                <a:solidFill>
                  <a:schemeClr val="bg1"/>
                </a:solidFill>
              </a:defRPr>
            </a:lvl5pPr>
            <a:lvl6pPr marL="470929" indent="-233086">
              <a:spcAft>
                <a:spcPts val="1324"/>
              </a:spcAft>
              <a:buFont typeface="Verdana" panose="020B0604030504040204" pitchFamily="34" charset="0"/>
              <a:buChar char="−"/>
              <a:defRPr>
                <a:solidFill>
                  <a:schemeClr val="bg1"/>
                </a:solidFill>
              </a:defRPr>
            </a:lvl6pPr>
            <a:lvl7pPr marL="470929" indent="-233086">
              <a:spcAft>
                <a:spcPts val="1324"/>
              </a:spcAft>
              <a:defRPr>
                <a:solidFill>
                  <a:schemeClr val="bg1"/>
                </a:solidFill>
              </a:defRPr>
            </a:lvl7pPr>
            <a:lvl8pPr marL="470929" indent="-233086">
              <a:spcAft>
                <a:spcPts val="1324"/>
              </a:spcAft>
              <a:defRPr>
                <a:solidFill>
                  <a:schemeClr val="bg1"/>
                </a:solidFill>
              </a:defRPr>
            </a:lvl8pPr>
            <a:lvl9pPr marL="470929" indent="-233086">
              <a:spcAft>
                <a:spcPts val="1324"/>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5862" indent="-125862" algn="l">
              <a:spcAft>
                <a:spcPts val="1324"/>
              </a:spcAft>
              <a:buClrTx/>
              <a:buSzPct val="100000"/>
              <a:buFont typeface="Arial" panose="020B0604020202020204" pitchFamily="34" charset="0"/>
              <a:buChar char="•"/>
              <a:defRPr>
                <a:solidFill>
                  <a:schemeClr val="bg1"/>
                </a:solidFill>
              </a:defRPr>
            </a:lvl2pPr>
            <a:lvl3pPr marL="276896" indent="-125862" algn="l">
              <a:spcAft>
                <a:spcPts val="1324"/>
              </a:spcAft>
              <a:buClrTx/>
              <a:buSzPct val="100000"/>
              <a:buFont typeface="Arial" panose="020B0604020202020204" pitchFamily="34" charset="0"/>
              <a:buChar char="−"/>
              <a:defRPr>
                <a:solidFill>
                  <a:schemeClr val="bg1"/>
                </a:solidFill>
              </a:defRPr>
            </a:lvl3pPr>
            <a:lvl4pPr marL="427929" indent="-125862" algn="l">
              <a:spcAft>
                <a:spcPts val="1324"/>
              </a:spcAft>
              <a:buClrTx/>
              <a:buSzPct val="100000"/>
              <a:buFont typeface="Arial" panose="020B0604020202020204" pitchFamily="34" charset="0"/>
              <a:buChar char="◦"/>
              <a:defRPr>
                <a:solidFill>
                  <a:schemeClr val="bg1"/>
                </a:solidFill>
              </a:defRPr>
            </a:lvl4pPr>
            <a:lvl5pPr marL="578963" indent="-125862" algn="l">
              <a:spcAft>
                <a:spcPts val="1324"/>
              </a:spcAft>
              <a:buClrTx/>
              <a:buSzPct val="100000"/>
              <a:buFont typeface="Arial" panose="020B0604020202020204" pitchFamily="34" charset="0"/>
              <a:buChar char="−"/>
              <a:defRPr baseline="0">
                <a:solidFill>
                  <a:schemeClr val="bg1"/>
                </a:solidFill>
              </a:defRPr>
            </a:lvl5pPr>
            <a:lvl6pPr marL="470929" indent="-233086">
              <a:spcAft>
                <a:spcPts val="1324"/>
              </a:spcAft>
              <a:buFont typeface="Verdana" panose="020B0604030504040204" pitchFamily="34" charset="0"/>
              <a:buChar char="−"/>
              <a:defRPr>
                <a:solidFill>
                  <a:schemeClr val="bg1"/>
                </a:solidFill>
              </a:defRPr>
            </a:lvl6pPr>
            <a:lvl7pPr marL="470929" indent="-233086">
              <a:spcAft>
                <a:spcPts val="1324"/>
              </a:spcAft>
              <a:defRPr>
                <a:solidFill>
                  <a:schemeClr val="bg1"/>
                </a:solidFill>
              </a:defRPr>
            </a:lvl7pPr>
            <a:lvl8pPr marL="470929" indent="-233086">
              <a:spcAft>
                <a:spcPts val="1324"/>
              </a:spcAft>
              <a:defRPr>
                <a:solidFill>
                  <a:schemeClr val="bg1"/>
                </a:solidFill>
              </a:defRPr>
            </a:lvl8pPr>
            <a:lvl9pPr marL="470929" indent="-233086">
              <a:spcAft>
                <a:spcPts val="1324"/>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5862" indent="-125862" algn="l">
              <a:spcAft>
                <a:spcPts val="1324"/>
              </a:spcAft>
              <a:buClrTx/>
              <a:buSzPct val="100000"/>
              <a:buFont typeface="Arial" panose="020B0604020202020204" pitchFamily="34" charset="0"/>
              <a:buChar char="•"/>
              <a:defRPr>
                <a:solidFill>
                  <a:schemeClr val="bg1"/>
                </a:solidFill>
              </a:defRPr>
            </a:lvl2pPr>
            <a:lvl3pPr marL="276896" indent="-125862" algn="l">
              <a:spcAft>
                <a:spcPts val="1324"/>
              </a:spcAft>
              <a:buClrTx/>
              <a:buSzPct val="100000"/>
              <a:buFont typeface="Arial" panose="020B0604020202020204" pitchFamily="34" charset="0"/>
              <a:buChar char="−"/>
              <a:defRPr>
                <a:solidFill>
                  <a:schemeClr val="bg1"/>
                </a:solidFill>
              </a:defRPr>
            </a:lvl3pPr>
            <a:lvl4pPr marL="427929" indent="-125862" algn="l">
              <a:spcAft>
                <a:spcPts val="1324"/>
              </a:spcAft>
              <a:buClrTx/>
              <a:buSzPct val="100000"/>
              <a:buFont typeface="Arial" panose="020B0604020202020204" pitchFamily="34" charset="0"/>
              <a:buChar char="◦"/>
              <a:defRPr>
                <a:solidFill>
                  <a:schemeClr val="bg1"/>
                </a:solidFill>
              </a:defRPr>
            </a:lvl4pPr>
            <a:lvl5pPr marL="578963" indent="-125862" algn="l">
              <a:spcAft>
                <a:spcPts val="1324"/>
              </a:spcAft>
              <a:buClrTx/>
              <a:buSzPct val="100000"/>
              <a:buFont typeface="Arial" panose="020B0604020202020204" pitchFamily="34" charset="0"/>
              <a:buChar char="−"/>
              <a:defRPr baseline="0">
                <a:solidFill>
                  <a:schemeClr val="bg1"/>
                </a:solidFill>
              </a:defRPr>
            </a:lvl5pPr>
            <a:lvl6pPr marL="470929" indent="-233086">
              <a:spcAft>
                <a:spcPts val="1324"/>
              </a:spcAft>
              <a:buFont typeface="Verdana" panose="020B0604030504040204" pitchFamily="34" charset="0"/>
              <a:buChar char="−"/>
              <a:defRPr>
                <a:solidFill>
                  <a:schemeClr val="bg1"/>
                </a:solidFill>
              </a:defRPr>
            </a:lvl6pPr>
            <a:lvl7pPr marL="470929" indent="-233086">
              <a:spcAft>
                <a:spcPts val="1324"/>
              </a:spcAft>
              <a:defRPr>
                <a:solidFill>
                  <a:schemeClr val="bg1"/>
                </a:solidFill>
              </a:defRPr>
            </a:lvl7pPr>
            <a:lvl8pPr marL="470929" indent="-233086">
              <a:spcAft>
                <a:spcPts val="1324"/>
              </a:spcAft>
              <a:defRPr>
                <a:solidFill>
                  <a:schemeClr val="bg1"/>
                </a:solidFill>
              </a:defRPr>
            </a:lvl8pPr>
            <a:lvl9pPr marL="470929" indent="-233086">
              <a:spcAft>
                <a:spcPts val="1324"/>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5862" indent="-125862" algn="l">
              <a:spcAft>
                <a:spcPts val="1324"/>
              </a:spcAft>
              <a:buClrTx/>
              <a:buSzPct val="100000"/>
              <a:buFont typeface="Arial" panose="020B0604020202020204" pitchFamily="34" charset="0"/>
              <a:buChar char="•"/>
              <a:defRPr>
                <a:solidFill>
                  <a:schemeClr val="bg1"/>
                </a:solidFill>
              </a:defRPr>
            </a:lvl2pPr>
            <a:lvl3pPr marL="276896" indent="-125862" algn="l">
              <a:spcAft>
                <a:spcPts val="1324"/>
              </a:spcAft>
              <a:buClrTx/>
              <a:buSzPct val="100000"/>
              <a:buFont typeface="Arial" panose="020B0604020202020204" pitchFamily="34" charset="0"/>
              <a:buChar char="−"/>
              <a:defRPr>
                <a:solidFill>
                  <a:schemeClr val="bg1"/>
                </a:solidFill>
              </a:defRPr>
            </a:lvl3pPr>
            <a:lvl4pPr marL="427929" indent="-125862" algn="l">
              <a:spcAft>
                <a:spcPts val="1324"/>
              </a:spcAft>
              <a:buClrTx/>
              <a:buSzPct val="100000"/>
              <a:buFont typeface="Arial" panose="020B0604020202020204" pitchFamily="34" charset="0"/>
              <a:buChar char="◦"/>
              <a:defRPr>
                <a:solidFill>
                  <a:schemeClr val="bg1"/>
                </a:solidFill>
              </a:defRPr>
            </a:lvl4pPr>
            <a:lvl5pPr marL="578963" indent="-125862" algn="l">
              <a:spcAft>
                <a:spcPts val="1324"/>
              </a:spcAft>
              <a:buClrTx/>
              <a:buSzPct val="100000"/>
              <a:buFont typeface="Arial" panose="020B0604020202020204" pitchFamily="34" charset="0"/>
              <a:buChar char="−"/>
              <a:defRPr baseline="0">
                <a:solidFill>
                  <a:schemeClr val="bg1"/>
                </a:solidFill>
              </a:defRPr>
            </a:lvl5pPr>
            <a:lvl6pPr marL="470929" indent="-233086">
              <a:spcAft>
                <a:spcPts val="1324"/>
              </a:spcAft>
              <a:buFont typeface="Verdana" panose="020B0604030504040204" pitchFamily="34" charset="0"/>
              <a:buChar char="−"/>
              <a:defRPr>
                <a:solidFill>
                  <a:schemeClr val="bg1"/>
                </a:solidFill>
              </a:defRPr>
            </a:lvl6pPr>
            <a:lvl7pPr marL="470929" indent="-233086">
              <a:spcAft>
                <a:spcPts val="1324"/>
              </a:spcAft>
              <a:defRPr>
                <a:solidFill>
                  <a:schemeClr val="bg1"/>
                </a:solidFill>
              </a:defRPr>
            </a:lvl7pPr>
            <a:lvl8pPr marL="470929" indent="-233086">
              <a:spcAft>
                <a:spcPts val="1324"/>
              </a:spcAft>
              <a:defRPr>
                <a:solidFill>
                  <a:schemeClr val="bg1"/>
                </a:solidFill>
              </a:defRPr>
            </a:lvl8pPr>
            <a:lvl9pPr marL="470929" indent="-233086">
              <a:spcAft>
                <a:spcPts val="1324"/>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9" y="6477017"/>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41" noProof="0" dirty="0">
                <a:solidFill>
                  <a:schemeClr val="bg1"/>
                </a:solidFill>
                <a:latin typeface="Calibri" panose="020F0502020204030204" pitchFamily="34" charset="0"/>
              </a:rPr>
              <a:t>Presentation title</a:t>
            </a:r>
            <a:br>
              <a:rPr lang="en-US" sz="641" noProof="0" dirty="0">
                <a:solidFill>
                  <a:schemeClr val="bg1"/>
                </a:solidFill>
                <a:latin typeface="Calibri" panose="020F0502020204030204" pitchFamily="34" charset="0"/>
              </a:rPr>
            </a:br>
            <a:r>
              <a:rPr lang="en-US" sz="641" noProof="0" dirty="0">
                <a:solidFill>
                  <a:schemeClr val="bg1"/>
                </a:solidFill>
                <a:latin typeface="Calibri" panose="020F0502020204030204" pitchFamily="34" charset="0"/>
              </a:rPr>
              <a:t>[To edit, click View &gt; Slide Master &gt; Slide master1]</a:t>
            </a:r>
          </a:p>
        </p:txBody>
      </p:sp>
      <p:sp>
        <p:nvSpPr>
          <p:cNvPr id="14" name="Copyright"/>
          <p:cNvSpPr txBox="1"/>
          <p:nvPr userDrawn="1"/>
        </p:nvSpPr>
        <p:spPr>
          <a:xfrm>
            <a:off x="469909" y="6477018"/>
            <a:ext cx="5355167" cy="100027"/>
          </a:xfrm>
          <a:prstGeom prst="rect">
            <a:avLst/>
          </a:prstGeom>
          <a:noFill/>
        </p:spPr>
        <p:txBody>
          <a:bodyPr wrap="square" lIns="0" tIns="0" rIns="0" bIns="0" rtlCol="0">
            <a:spAutoFit/>
          </a:bodyPr>
          <a:lstStyle/>
          <a:p>
            <a:pPr marL="0" indent="0">
              <a:spcBef>
                <a:spcPts val="791"/>
              </a:spcBef>
              <a:buSzPct val="100000"/>
              <a:buFont typeface="Arial"/>
              <a:buNone/>
            </a:pPr>
            <a:r>
              <a:rPr lang="en-US" sz="641" noProof="0" dirty="0">
                <a:solidFill>
                  <a:schemeClr val="bg1"/>
                </a:solidFill>
                <a:latin typeface="Calibri" panose="020F0502020204030204" pitchFamily="34" charset="0"/>
              </a:rPr>
              <a:t>Copyright © 2017 Deloitte Development LLC. All rights reserved.</a:t>
            </a:r>
          </a:p>
        </p:txBody>
      </p:sp>
      <p:sp>
        <p:nvSpPr>
          <p:cNvPr id="15" name="TextBox 14"/>
          <p:cNvSpPr txBox="1"/>
          <p:nvPr userDrawn="1"/>
        </p:nvSpPr>
        <p:spPr>
          <a:xfrm>
            <a:off x="11382378" y="6477019"/>
            <a:ext cx="307975" cy="100027"/>
          </a:xfrm>
          <a:prstGeom prst="rect">
            <a:avLst/>
          </a:prstGeom>
          <a:noFill/>
        </p:spPr>
        <p:txBody>
          <a:bodyPr wrap="square" lIns="0" tIns="0" rIns="0" bIns="0" rtlCol="0">
            <a:spAutoFit/>
          </a:bodyPr>
          <a:lstStyle/>
          <a:p>
            <a:pPr marL="0" indent="0" algn="r">
              <a:spcBef>
                <a:spcPts val="791"/>
              </a:spcBef>
              <a:buSzPct val="100000"/>
              <a:buFont typeface="Arial"/>
              <a:buNone/>
            </a:pPr>
            <a:fld id="{C58DF478-B544-4ED8-9ED4-6A2648E2D233}" type="slidenum">
              <a:rPr lang="en-US" sz="641" noProof="0" smtClean="0">
                <a:solidFill>
                  <a:schemeClr val="bg1"/>
                </a:solidFill>
                <a:latin typeface="Calibri" panose="020F0502020204030204" pitchFamily="34" charset="0"/>
              </a:rPr>
              <a:pPr marL="0" indent="0" algn="r">
                <a:spcBef>
                  <a:spcPts val="791"/>
                </a:spcBef>
                <a:buSzPct val="100000"/>
                <a:buFont typeface="Arial"/>
                <a:buNone/>
              </a:pPr>
              <a:t>‹#›</a:t>
            </a:fld>
            <a:endParaRPr lang="en-US" sz="641" noProof="0" dirty="0">
              <a:solidFill>
                <a:schemeClr val="bg1"/>
              </a:solidFill>
              <a:latin typeface="Calibri" panose="020F0502020204030204" pitchFamily="34" charset="0"/>
            </a:endParaRPr>
          </a:p>
        </p:txBody>
      </p:sp>
      <p:sp>
        <p:nvSpPr>
          <p:cNvPr id="16"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3959021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8"/>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123318524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9" y="402604"/>
            <a:ext cx="11252200" cy="698501"/>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154120343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34317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34" y="4102118"/>
            <a:ext cx="8555263" cy="2197101"/>
          </a:xfrm>
        </p:spPr>
        <p:txBody>
          <a:bodyPr anchor="b" anchorCtr="0">
            <a:noAutofit/>
          </a:bodyPr>
          <a:lstStyle>
            <a:lvl1pPr>
              <a:lnSpc>
                <a:spcPct val="100000"/>
              </a:lnSpc>
              <a:spcAft>
                <a:spcPts val="791"/>
              </a:spcAft>
              <a:defRPr sz="891"/>
            </a:lvl1pPr>
          </a:lstStyle>
          <a:p>
            <a:pPr lvl="0"/>
            <a:r>
              <a:rPr lang="en-US" noProof="0"/>
              <a:t>Edit Master text styles</a:t>
            </a:r>
          </a:p>
        </p:txBody>
      </p:sp>
      <p:sp>
        <p:nvSpPr>
          <p:cNvPr id="3" name="Picture Placeholder 2"/>
          <p:cNvSpPr>
            <a:spLocks noGrp="1"/>
          </p:cNvSpPr>
          <p:nvPr>
            <p:ph type="pic" sz="quarter" idx="14" hasCustomPrompt="1"/>
          </p:nvPr>
        </p:nvSpPr>
        <p:spPr>
          <a:xfrm>
            <a:off x="9402606" y="4102100"/>
            <a:ext cx="2319503" cy="1725448"/>
          </a:xfrm>
        </p:spPr>
        <p:txBody>
          <a:bodyPr anchor="ctr" anchorCtr="0"/>
          <a:lstStyle>
            <a:lvl1pPr algn="ctr">
              <a:defRPr sz="1191"/>
            </a:lvl1pPr>
          </a:lstStyle>
          <a:p>
            <a:r>
              <a:rPr lang="en-US" sz="1191" noProof="0" dirty="0"/>
              <a:t>Insert sponsorship mark here</a:t>
            </a:r>
            <a:endParaRPr lang="en-US" noProof="0" dirty="0"/>
          </a:p>
        </p:txBody>
      </p:sp>
      <p:sp>
        <p:nvSpPr>
          <p:cNvPr id="8" name="Text Placeholder 7"/>
          <p:cNvSpPr>
            <a:spLocks noGrp="1"/>
          </p:cNvSpPr>
          <p:nvPr>
            <p:ph type="body" sz="quarter" idx="15"/>
          </p:nvPr>
        </p:nvSpPr>
        <p:spPr>
          <a:xfrm>
            <a:off x="9402607" y="5935497"/>
            <a:ext cx="2319501" cy="363723"/>
          </a:xfrm>
        </p:spPr>
        <p:txBody>
          <a:bodyPr anchor="b" anchorCtr="0"/>
          <a:lstStyle>
            <a:lvl1pPr>
              <a:lnSpc>
                <a:spcPct val="100000"/>
              </a:lnSpc>
              <a:defRPr sz="1258"/>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21982472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chemeClr val="accent1"/>
                </a:solidFill>
              </a:defRPr>
            </a:lvl1pPr>
          </a:lstStyle>
          <a:p>
            <a:pPr lvl="0"/>
            <a:r>
              <a:rPr lang="en-US" noProof="0" dirty="0"/>
              <a:t>Click to add subtitle</a:t>
            </a:r>
          </a:p>
        </p:txBody>
      </p:sp>
      <p:sp>
        <p:nvSpPr>
          <p:cNvPr id="14"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dirty="0"/>
              <a:t>Click to edit Master title style</a:t>
            </a:r>
          </a:p>
        </p:txBody>
      </p:sp>
      <p:sp>
        <p:nvSpPr>
          <p:cNvPr id="8" name="Text Placeholder 18"/>
          <p:cNvSpPr>
            <a:spLocks noGrp="1"/>
          </p:cNvSpPr>
          <p:nvPr>
            <p:ph idx="1"/>
          </p:nvPr>
        </p:nvSpPr>
        <p:spPr>
          <a:xfrm>
            <a:off x="955351" y="1665819"/>
            <a:ext cx="4785057" cy="340782"/>
          </a:xfrm>
          <a:prstGeom prst="rect">
            <a:avLst/>
          </a:prstGeom>
        </p:spPr>
        <p:txBody>
          <a:bodyPr vert="horz" lIns="0" tIns="0" rIns="0" bIns="0" rtlCol="0">
            <a:noAutofit/>
          </a:bodyPr>
          <a:lstStyle>
            <a:lvl1pPr>
              <a:lnSpc>
                <a:spcPct val="120000"/>
              </a:lnSpc>
              <a:spcAft>
                <a:spcPts val="1191"/>
              </a:spcAft>
              <a:defRPr sz="1391" b="1">
                <a:solidFill>
                  <a:schemeClr val="accent1"/>
                </a:solidFill>
              </a:defRPr>
            </a:lvl1pPr>
          </a:lstStyle>
          <a:p>
            <a:pPr lvl="0"/>
            <a:r>
              <a:rPr lang="en-US" noProof="0" dirty="0"/>
              <a:t>Click to edit Master text styles</a:t>
            </a:r>
          </a:p>
        </p:txBody>
      </p:sp>
      <p:sp>
        <p:nvSpPr>
          <p:cNvPr id="5" name="Text Placeholder 18"/>
          <p:cNvSpPr>
            <a:spLocks noGrp="1"/>
          </p:cNvSpPr>
          <p:nvPr>
            <p:ph idx="14"/>
          </p:nvPr>
        </p:nvSpPr>
        <p:spPr>
          <a:xfrm>
            <a:off x="6687411" y="1665819"/>
            <a:ext cx="5034697" cy="340783"/>
          </a:xfrm>
          <a:prstGeom prst="rect">
            <a:avLst/>
          </a:prstGeom>
        </p:spPr>
        <p:txBody>
          <a:bodyPr vert="horz" lIns="0" tIns="0" rIns="0" bIns="0" rtlCol="0">
            <a:noAutofit/>
          </a:bodyPr>
          <a:lstStyle>
            <a:lvl1pPr>
              <a:lnSpc>
                <a:spcPct val="120000"/>
              </a:lnSpc>
              <a:spcAft>
                <a:spcPts val="1191"/>
              </a:spcAft>
              <a:defRPr sz="1391" b="1">
                <a:solidFill>
                  <a:schemeClr val="accent1"/>
                </a:solidFill>
              </a:defRPr>
            </a:lvl1pPr>
          </a:lstStyle>
          <a:p>
            <a:pPr lvl="0"/>
            <a:r>
              <a:rPr lang="en-US" noProof="0" dirty="0"/>
              <a:t>Click to edit Master text styles</a:t>
            </a:r>
          </a:p>
        </p:txBody>
      </p:sp>
      <p:sp>
        <p:nvSpPr>
          <p:cNvPr id="6" name="Text Placeholder 18"/>
          <p:cNvSpPr>
            <a:spLocks noGrp="1"/>
          </p:cNvSpPr>
          <p:nvPr>
            <p:ph idx="15"/>
          </p:nvPr>
        </p:nvSpPr>
        <p:spPr>
          <a:xfrm>
            <a:off x="469900" y="2178478"/>
            <a:ext cx="5270500" cy="4120724"/>
          </a:xfrm>
          <a:prstGeom prst="rect">
            <a:avLst/>
          </a:prstGeom>
        </p:spPr>
        <p:txBody>
          <a:bodyPr vert="horz" lIns="0" tIns="0" rIns="0" bIns="0" rtlCol="0">
            <a:noAutofit/>
          </a:bodyPr>
          <a:lstStyle>
            <a:lvl1pPr>
              <a:lnSpc>
                <a:spcPct val="120000"/>
              </a:lnSpc>
              <a:spcAft>
                <a:spcPts val="1191"/>
              </a:spcAft>
              <a:defRPr>
                <a:solidFill>
                  <a:schemeClr val="tx1"/>
                </a:solidFill>
              </a:defRPr>
            </a:lvl1pPr>
          </a:lstStyle>
          <a:p>
            <a:pPr lvl="0"/>
            <a:r>
              <a:rPr lang="en-US" noProof="0" dirty="0"/>
              <a:t>Click to edit Master text styles</a:t>
            </a:r>
          </a:p>
        </p:txBody>
      </p:sp>
      <p:sp>
        <p:nvSpPr>
          <p:cNvPr id="7" name="Text Placeholder 18"/>
          <p:cNvSpPr>
            <a:spLocks noGrp="1"/>
          </p:cNvSpPr>
          <p:nvPr>
            <p:ph idx="16"/>
          </p:nvPr>
        </p:nvSpPr>
        <p:spPr>
          <a:xfrm>
            <a:off x="6210300" y="2178478"/>
            <a:ext cx="5511800" cy="4120724"/>
          </a:xfrm>
          <a:prstGeom prst="rect">
            <a:avLst/>
          </a:prstGeom>
        </p:spPr>
        <p:txBody>
          <a:bodyPr vert="horz" lIns="0" tIns="0" rIns="0" bIns="0" rtlCol="0">
            <a:noAutofit/>
          </a:bodyPr>
          <a:lstStyle>
            <a:lvl1pPr>
              <a:lnSpc>
                <a:spcPct val="120000"/>
              </a:lnSpc>
              <a:spcAft>
                <a:spcPts val="1191"/>
              </a:spcAft>
              <a:defRPr>
                <a:solidFill>
                  <a:schemeClr val="tx1"/>
                </a:solidFill>
              </a:defRPr>
            </a:lvl1pPr>
          </a:lstStyle>
          <a:p>
            <a:pPr lvl="0"/>
            <a:r>
              <a:rPr lang="en-US" noProof="0" dirty="0"/>
              <a:t>Click to edit Master text styles</a:t>
            </a:r>
          </a:p>
        </p:txBody>
      </p:sp>
    </p:spTree>
    <p:extLst>
      <p:ext uri="{BB962C8B-B14F-4D97-AF65-F5344CB8AC3E}">
        <p14:creationId xmlns:p14="http://schemas.microsoft.com/office/powerpoint/2010/main" val="73206433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E2B54DFA-CD6F-47EB-A474-59576F20D6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64" y="0"/>
            <a:ext cx="12192000" cy="6858000"/>
          </a:xfrm>
          <a:prstGeom prst="rect">
            <a:avLst/>
          </a:prstGeom>
        </p:spPr>
      </p:pic>
      <p:sp>
        <p:nvSpPr>
          <p:cNvPr id="27" name="Rectangle 26">
            <a:extLst>
              <a:ext uri="{FF2B5EF4-FFF2-40B4-BE49-F238E27FC236}">
                <a16:creationId xmlns:a16="http://schemas.microsoft.com/office/drawing/2014/main" id="{8EBA7A71-1311-4177-A5B4-CBA4D168E951}"/>
              </a:ext>
            </a:extLst>
          </p:cNvPr>
          <p:cNvSpPr/>
          <p:nvPr userDrawn="1"/>
        </p:nvSpPr>
        <p:spPr>
          <a:xfrm>
            <a:off x="0" y="0"/>
            <a:ext cx="12205852" cy="6865792"/>
          </a:xfrm>
          <a:prstGeom prst="rect">
            <a:avLst/>
          </a:prstGeom>
          <a:solidFill>
            <a:schemeClr val="tx1">
              <a:lumMod val="95000"/>
              <a:lumOff val="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28" name="Group 27">
            <a:extLst>
              <a:ext uri="{FF2B5EF4-FFF2-40B4-BE49-F238E27FC236}">
                <a16:creationId xmlns:a16="http://schemas.microsoft.com/office/drawing/2014/main" id="{2E928F29-341C-40B9-BD01-0CE02B1158E6}"/>
              </a:ext>
            </a:extLst>
          </p:cNvPr>
          <p:cNvGrpSpPr>
            <a:grpSpLocks noChangeAspect="1"/>
          </p:cNvGrpSpPr>
          <p:nvPr userDrawn="1"/>
        </p:nvGrpSpPr>
        <p:grpSpPr>
          <a:xfrm>
            <a:off x="593271" y="2017154"/>
            <a:ext cx="1998000" cy="374400"/>
            <a:chOff x="398463" y="404813"/>
            <a:chExt cx="1627187" cy="307976"/>
          </a:xfrm>
          <a:solidFill>
            <a:schemeClr val="tx1"/>
          </a:solidFill>
        </p:grpSpPr>
        <p:sp>
          <p:nvSpPr>
            <p:cNvPr id="29" name="Oval 5">
              <a:extLst>
                <a:ext uri="{FF2B5EF4-FFF2-40B4-BE49-F238E27FC236}">
                  <a16:creationId xmlns:a16="http://schemas.microsoft.com/office/drawing/2014/main" id="{A2C0DA78-A9D2-4E2A-AB24-FEE0EA8A5E32}"/>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0" name="Freeform 6">
              <a:extLst>
                <a:ext uri="{FF2B5EF4-FFF2-40B4-BE49-F238E27FC236}">
                  <a16:creationId xmlns:a16="http://schemas.microsoft.com/office/drawing/2014/main" id="{2A50C8F6-47B7-40F1-A6FD-C1CED8DA6D9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1" name="Rectangle 7">
              <a:extLst>
                <a:ext uri="{FF2B5EF4-FFF2-40B4-BE49-F238E27FC236}">
                  <a16:creationId xmlns:a16="http://schemas.microsoft.com/office/drawing/2014/main" id="{2346FAA0-3214-43BF-A6AC-D5627B1F33DC}"/>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2" name="Freeform 8">
              <a:extLst>
                <a:ext uri="{FF2B5EF4-FFF2-40B4-BE49-F238E27FC236}">
                  <a16:creationId xmlns:a16="http://schemas.microsoft.com/office/drawing/2014/main" id="{5BDD68AB-5BAC-43B7-9AA1-04BA10DDA9F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3" name="Rectangle 9">
              <a:extLst>
                <a:ext uri="{FF2B5EF4-FFF2-40B4-BE49-F238E27FC236}">
                  <a16:creationId xmlns:a16="http://schemas.microsoft.com/office/drawing/2014/main" id="{03938126-BA6E-490A-B1E4-4D48DC4CA43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4" name="Rectangle 10">
              <a:extLst>
                <a:ext uri="{FF2B5EF4-FFF2-40B4-BE49-F238E27FC236}">
                  <a16:creationId xmlns:a16="http://schemas.microsoft.com/office/drawing/2014/main" id="{913CD895-5093-44E2-A9E6-E94247DCCFE1}"/>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5" name="Freeform 11">
              <a:extLst>
                <a:ext uri="{FF2B5EF4-FFF2-40B4-BE49-F238E27FC236}">
                  <a16:creationId xmlns:a16="http://schemas.microsoft.com/office/drawing/2014/main" id="{1DFEEDF8-5FA9-4A12-B601-A8014E14065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6" name="Freeform 12">
              <a:extLst>
                <a:ext uri="{FF2B5EF4-FFF2-40B4-BE49-F238E27FC236}">
                  <a16:creationId xmlns:a16="http://schemas.microsoft.com/office/drawing/2014/main" id="{49B8F881-582E-4375-B785-3EE38D6365E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7" name="Freeform 13">
              <a:extLst>
                <a:ext uri="{FF2B5EF4-FFF2-40B4-BE49-F238E27FC236}">
                  <a16:creationId xmlns:a16="http://schemas.microsoft.com/office/drawing/2014/main" id="{FB663936-7596-4134-B23E-B4259475254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8" name="Freeform 14">
              <a:extLst>
                <a:ext uri="{FF2B5EF4-FFF2-40B4-BE49-F238E27FC236}">
                  <a16:creationId xmlns:a16="http://schemas.microsoft.com/office/drawing/2014/main" id="{56E00BA3-8DD2-4318-977F-9ACE8BD0436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39" name="Rectangle 38">
            <a:extLst>
              <a:ext uri="{FF2B5EF4-FFF2-40B4-BE49-F238E27FC236}">
                <a16:creationId xmlns:a16="http://schemas.microsoft.com/office/drawing/2014/main" id="{07636CF0-59B6-413A-9B3F-BF1E217D8AFC}"/>
              </a:ext>
            </a:extLst>
          </p:cNvPr>
          <p:cNvSpPr/>
          <p:nvPr userDrawn="1"/>
        </p:nvSpPr>
        <p:spPr>
          <a:xfrm>
            <a:off x="469900" y="3280549"/>
            <a:ext cx="10995546" cy="3159968"/>
          </a:xfrm>
          <a:prstGeom prst="rect">
            <a:avLst/>
          </a:prstGeom>
        </p:spPr>
        <p:txBody>
          <a:bodyPr wrap="square" lIns="0" tIns="0" rIns="0" bIns="0">
            <a:spAutoFit/>
          </a:bodyPr>
          <a:lstStyle/>
          <a:p>
            <a:pPr marL="0" lvl="0" indent="0" algn="just" defTabSz="914400">
              <a:lnSpc>
                <a:spcPct val="115000"/>
              </a:lnSpc>
              <a:spcBef>
                <a:spcPts val="0"/>
              </a:spcBef>
              <a:spcAft>
                <a:spcPts val="600"/>
              </a:spcAft>
              <a:buNone/>
            </a:pP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rPr>
              <a:t>This document has been prepared by Deloitte &amp; Touche Advisory Saudi Limited for the sole purpose of providing a proposal to the parties to whom it is addressed in order that they may evaluate the capabilities of Deloitte &amp; Touche Advisory Saudi Limited to supply the proposed services.</a:t>
            </a:r>
          </a:p>
          <a:p>
            <a:pPr marL="0" lvl="0" indent="0" algn="just" defTabSz="914400">
              <a:lnSpc>
                <a:spcPct val="115000"/>
              </a:lnSpc>
              <a:spcBef>
                <a:spcPts val="0"/>
              </a:spcBef>
              <a:spcAft>
                <a:spcPts val="600"/>
              </a:spcAft>
              <a:buNone/>
            </a:pP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rPr>
              <a:t>This document and its contents are confidential and prepared solely for your information to allow you to assess if you would like to engage Deloitte &amp; Touche Advisory Saudi Limited in a formal contractual relationship, for the proposed service. This proposal should not be reproduced, redistributed or passed on directly or indirectly, to any other person or party, in whole or in part. Therefore, you should not refer to or use our name or this document for any other purpose, disclose it or refer to it in another document, or make it available or communicate it to any other party. In any event, no other party is entitled to rely on our documentation for any purpose whatsoever and thus we accept no liability to any other party who sees or gains access to this document.</a:t>
            </a:r>
          </a:p>
          <a:p>
            <a:pPr marL="0" lvl="0" indent="0" algn="just" defTabSz="914400">
              <a:lnSpc>
                <a:spcPct val="115000"/>
              </a:lnSpc>
              <a:spcBef>
                <a:spcPts val="0"/>
              </a:spcBef>
              <a:spcAft>
                <a:spcPts val="600"/>
              </a:spcAft>
              <a:buNone/>
            </a:pP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rPr>
              <a:t>This document is not contractually binding. Should this proposal be acceptable to you, and following the conclusion of our internal acceptance procedures, we would be pleased to discuss the contractual terms and conditions with you prior to our appointment. </a:t>
            </a:r>
          </a:p>
          <a:p>
            <a:pPr marL="0" lvl="0" indent="0" algn="just" defTabSz="914400">
              <a:lnSpc>
                <a:spcPct val="115000"/>
              </a:lnSpc>
              <a:spcBef>
                <a:spcPts val="0"/>
              </a:spcBef>
              <a:spcAft>
                <a:spcPts val="600"/>
              </a:spcAft>
              <a:buNone/>
            </a:pP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rPr>
              <a:t>Deloitte &amp; Touche (M.E.) LLP (DME) is the affiliate for the territories of the Middle East and Cyprus of Deloitte NSE LLP (“NSE”), a UK limited liability partnership and member firm of Deloitte Touche Tohmatsu Limited, a UK private company limited by guarantee (“DTTL”).</a:t>
            </a:r>
          </a:p>
          <a:p>
            <a:pPr marL="0" lvl="0" indent="0" algn="just" defTabSz="914400">
              <a:lnSpc>
                <a:spcPct val="115000"/>
              </a:lnSpc>
              <a:spcBef>
                <a:spcPts val="0"/>
              </a:spcBef>
              <a:spcAft>
                <a:spcPts val="600"/>
              </a:spcAft>
              <a:buNone/>
            </a:pP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rPr>
              <a:t>Deloitte refers to one or more of DTTL, its global network of member firms, and their related entities. DTTL (also referred to as “Deloitte Global”) and each of its member firms are legally separate and independent entities. DTTL, NSE and DME do not provide services to clients. Please see </a:t>
            </a: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hlinkClick r:id="rId3"/>
              </a:rPr>
              <a:t>www.deloitte.com/about</a:t>
            </a: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rPr>
              <a:t> to learn more. </a:t>
            </a:r>
          </a:p>
          <a:p>
            <a:pPr marL="0" lvl="0" indent="0" algn="just" defTabSz="914400">
              <a:lnSpc>
                <a:spcPct val="115000"/>
              </a:lnSpc>
              <a:spcBef>
                <a:spcPts val="0"/>
              </a:spcBef>
              <a:spcAft>
                <a:spcPts val="600"/>
              </a:spcAft>
              <a:buNone/>
            </a:pP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rPr>
              <a:t>Deloitte is a leading global provider of audit and assurance, consulting, financial advisory, risk advisory, tax and related services. Our network of member firms in more than 150 countries and territories, serves four out of five Fortune Global 500 ® companies. Learn how Deloitte s approximately 410 ,000 people make an impact that matters at </a:t>
            </a: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hlinkClick r:id="rId4"/>
              </a:rPr>
              <a:t>www.deloitte.com</a:t>
            </a: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rPr>
              <a:t>.</a:t>
            </a:r>
          </a:p>
          <a:p>
            <a:pPr marL="0" lvl="0" indent="0" algn="just" defTabSz="914400">
              <a:lnSpc>
                <a:spcPct val="115000"/>
              </a:lnSpc>
              <a:spcBef>
                <a:spcPts val="0"/>
              </a:spcBef>
              <a:spcAft>
                <a:spcPts val="600"/>
              </a:spcAft>
              <a:buNone/>
            </a:pPr>
            <a:r>
              <a:rPr lang="en-US" sz="900" dirty="0">
                <a:solidFill>
                  <a:schemeClr val="bg1"/>
                </a:solidFill>
                <a:latin typeface="Calibri" panose="020F0502020204030204" pitchFamily="34" charset="0"/>
                <a:ea typeface="Calibri" panose="020F0502020204030204" pitchFamily="34" charset="0"/>
                <a:cs typeface="Calibri" panose="020F0502020204030204" pitchFamily="34" charset="0"/>
              </a:rPr>
              <a:t>DME is a leading professional services firm established in the Middle East region with uninterrupted presence since 1926 DME’s presence in the Middle East region is established through its affiliated independent legal entities, which are licensed to operate and to provide services under the applicable laws and regulations of the relevant country. DME’s affiliates and related entities cannot oblige each other and/or DME, and when providing services, each affiliate and related entity engages directly and independently with its own clients and shall only be liable for its own acts or omissions and not those of any other affiliate.</a:t>
            </a:r>
          </a:p>
        </p:txBody>
      </p:sp>
      <p:sp>
        <p:nvSpPr>
          <p:cNvPr id="40" name="TextBox 39">
            <a:extLst>
              <a:ext uri="{FF2B5EF4-FFF2-40B4-BE49-F238E27FC236}">
                <a16:creationId xmlns:a16="http://schemas.microsoft.com/office/drawing/2014/main" id="{6B373C1C-A7A4-4604-AB8A-C67E0E0279C1}"/>
              </a:ext>
            </a:extLst>
          </p:cNvPr>
          <p:cNvSpPr txBox="1"/>
          <p:nvPr userDrawn="1"/>
        </p:nvSpPr>
        <p:spPr>
          <a:xfrm>
            <a:off x="469900" y="6629400"/>
            <a:ext cx="5355167" cy="138499"/>
          </a:xfrm>
          <a:prstGeom prst="rect">
            <a:avLst/>
          </a:prstGeom>
          <a:noFill/>
        </p:spPr>
        <p:txBody>
          <a:bodyPr wrap="square" lIns="0" tIns="0" rIns="0" bIns="0" rtlCol="0">
            <a:spAutoFit/>
          </a:bodyPr>
          <a:lstStyle/>
          <a:p>
            <a:pPr marL="0" indent="0">
              <a:spcBef>
                <a:spcPts val="8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3 Deloitte &amp; Touche Advisory Saudi Limited. All rights reserved.</a:t>
            </a:r>
          </a:p>
        </p:txBody>
      </p:sp>
    </p:spTree>
    <p:extLst>
      <p:ext uri="{BB962C8B-B14F-4D97-AF65-F5344CB8AC3E}">
        <p14:creationId xmlns:p14="http://schemas.microsoft.com/office/powerpoint/2010/main" val="351565624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1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10" y="736707"/>
            <a:ext cx="11252200" cy="757255"/>
          </a:xfrm>
          <a:prstGeom prst="rect">
            <a:avLst/>
          </a:prstGeom>
        </p:spPr>
        <p:txBody>
          <a:bodyPr lIns="0" tIns="0" rIns="0" bIns="0">
            <a:noAutofit/>
          </a:bodyPr>
          <a:lstStyle>
            <a:lvl1pPr marL="0" indent="0">
              <a:buNone/>
              <a:defRPr sz="1982"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10" y="402587"/>
            <a:ext cx="11252200" cy="334102"/>
          </a:xfrm>
          <a:prstGeom prst="rect">
            <a:avLst/>
          </a:prstGeom>
        </p:spPr>
        <p:txBody>
          <a:bodyPr vert="horz" lIns="0" tIns="0" rIns="0" bIns="0" rtlCol="0" anchor="t" anchorCtr="0">
            <a:noAutofit/>
          </a:bodyPr>
          <a:lstStyle>
            <a:lvl1pPr>
              <a:defRPr sz="1982"/>
            </a:lvl1pPr>
          </a:lstStyle>
          <a:p>
            <a:r>
              <a:rPr lang="en-US" noProof="0"/>
              <a:t>Click to edit Master title style</a:t>
            </a:r>
            <a:endParaRPr lang="en-US" noProof="0" dirty="0"/>
          </a:p>
        </p:txBody>
      </p:sp>
    </p:spTree>
    <p:extLst>
      <p:ext uri="{BB962C8B-B14F-4D97-AF65-F5344CB8AC3E}">
        <p14:creationId xmlns:p14="http://schemas.microsoft.com/office/powerpoint/2010/main" val="22646843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chemeClr val="accent1"/>
                </a:solidFill>
              </a:defRPr>
            </a:lvl1pPr>
          </a:lstStyle>
          <a:p>
            <a:pPr lvl="0"/>
            <a:r>
              <a:rPr lang="en-US" noProof="0" dirty="0"/>
              <a:t>Click to add subtitle</a:t>
            </a:r>
          </a:p>
        </p:txBody>
      </p:sp>
      <p:sp>
        <p:nvSpPr>
          <p:cNvPr id="14" name="Title Placeholder 1"/>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lvl1pPr>
          </a:lstStyle>
          <a:p>
            <a:r>
              <a:rPr lang="en-US" noProof="0" dirty="0"/>
              <a:t>Click to edit Master title style</a:t>
            </a:r>
          </a:p>
        </p:txBody>
      </p:sp>
    </p:spTree>
    <p:extLst>
      <p:ext uri="{BB962C8B-B14F-4D97-AF65-F5344CB8AC3E}">
        <p14:creationId xmlns:p14="http://schemas.microsoft.com/office/powerpoint/2010/main" val="253584158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764"/>
              </a:lnSpc>
              <a:defRPr sz="3173" b="0" i="0">
                <a:solidFill>
                  <a:schemeClr val="tx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98"/>
            <a:ext cx="5594348" cy="505645"/>
          </a:xfrm>
          <a:prstGeom prst="rect">
            <a:avLst/>
          </a:prstGeom>
        </p:spPr>
        <p:txBody>
          <a:bodyPr lIns="0" tIns="0" rIns="0" bIns="0" anchor="b" anchorCtr="0">
            <a:noAutofit/>
          </a:bodyPr>
          <a:lstStyle>
            <a:lvl1pPr marL="0" indent="0" algn="l">
              <a:lnSpc>
                <a:spcPct val="100000"/>
              </a:lnSpc>
              <a:spcAft>
                <a:spcPts val="0"/>
              </a:spcAft>
              <a:buNone/>
              <a:defRPr sz="1582">
                <a:solidFill>
                  <a:schemeClr val="tx1"/>
                </a:solidFill>
              </a:defRPr>
            </a:lvl1pPr>
            <a:lvl2pPr marL="604120" indent="0" algn="ctr">
              <a:buNone/>
              <a:defRPr sz="2640"/>
            </a:lvl2pPr>
            <a:lvl3pPr marL="1208241" indent="0" algn="ctr">
              <a:buNone/>
              <a:defRPr sz="2382"/>
            </a:lvl3pPr>
            <a:lvl4pPr marL="1812361" indent="0" algn="ctr">
              <a:buNone/>
              <a:defRPr sz="2115"/>
            </a:lvl4pPr>
            <a:lvl5pPr marL="2416482" indent="0" algn="ctr">
              <a:buNone/>
              <a:defRPr sz="2115"/>
            </a:lvl5pPr>
            <a:lvl6pPr marL="3020600" indent="0" algn="ctr">
              <a:buNone/>
              <a:defRPr sz="2115"/>
            </a:lvl6pPr>
            <a:lvl7pPr marL="3624722" indent="0" algn="ctr">
              <a:buNone/>
              <a:defRPr sz="2115"/>
            </a:lvl7pPr>
            <a:lvl8pPr marL="4228842" indent="0" algn="ctr">
              <a:buNone/>
              <a:defRPr sz="2115"/>
            </a:lvl8pPr>
            <a:lvl9pPr marL="4832963" indent="0" algn="ctr">
              <a:buNone/>
              <a:defRPr sz="2115"/>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34" y="6362717"/>
            <a:ext cx="5594349" cy="298451"/>
          </a:xfrm>
          <a:prstGeom prst="rect">
            <a:avLst/>
          </a:prstGeom>
        </p:spPr>
        <p:txBody>
          <a:bodyPr>
            <a:noAutofit/>
          </a:bodyPr>
          <a:lstStyle>
            <a:lvl1pPr>
              <a:spcAft>
                <a:spcPts val="0"/>
              </a:spcAft>
              <a:defRPr sz="104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73"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83520509"/>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9" y="1705686"/>
            <a:ext cx="10418233" cy="1592403"/>
          </a:xfrm>
        </p:spPr>
        <p:txBody>
          <a:bodyPr anchor="b"/>
          <a:lstStyle>
            <a:lvl1pPr>
              <a:lnSpc>
                <a:spcPct val="95000"/>
              </a:lnSpc>
              <a:defRPr sz="3814" b="0" i="0">
                <a:solidFill>
                  <a:schemeClr val="bg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9" y="3429000"/>
            <a:ext cx="10418233" cy="1566532"/>
          </a:xfrm>
        </p:spPr>
        <p:txBody>
          <a:bodyPr lIns="0" tIns="0" rIns="0" bIns="0">
            <a:noAutofit/>
          </a:bodyPr>
          <a:lstStyle>
            <a:lvl1pPr marL="0" indent="0">
              <a:lnSpc>
                <a:spcPct val="95000"/>
              </a:lnSpc>
              <a:spcAft>
                <a:spcPts val="0"/>
              </a:spcAft>
              <a:buNone/>
              <a:defRPr sz="3814">
                <a:solidFill>
                  <a:schemeClr val="bg1"/>
                </a:solidFill>
              </a:defRPr>
            </a:lvl1pPr>
            <a:lvl2pPr marL="604120" indent="0">
              <a:buNone/>
              <a:defRPr sz="2640">
                <a:solidFill>
                  <a:schemeClr val="tx1">
                    <a:tint val="75000"/>
                  </a:schemeClr>
                </a:solidFill>
              </a:defRPr>
            </a:lvl2pPr>
            <a:lvl3pPr marL="1208241" indent="0">
              <a:buNone/>
              <a:defRPr sz="2382">
                <a:solidFill>
                  <a:schemeClr val="tx1">
                    <a:tint val="75000"/>
                  </a:schemeClr>
                </a:solidFill>
              </a:defRPr>
            </a:lvl3pPr>
            <a:lvl4pPr marL="1812361" indent="0">
              <a:buNone/>
              <a:defRPr sz="2115">
                <a:solidFill>
                  <a:schemeClr val="tx1">
                    <a:tint val="75000"/>
                  </a:schemeClr>
                </a:solidFill>
              </a:defRPr>
            </a:lvl4pPr>
            <a:lvl5pPr marL="2416482" indent="0">
              <a:buNone/>
              <a:defRPr sz="2115">
                <a:solidFill>
                  <a:schemeClr val="tx1">
                    <a:tint val="75000"/>
                  </a:schemeClr>
                </a:solidFill>
              </a:defRPr>
            </a:lvl5pPr>
            <a:lvl6pPr marL="3020600" indent="0">
              <a:buNone/>
              <a:defRPr sz="2115">
                <a:solidFill>
                  <a:schemeClr val="tx1">
                    <a:tint val="75000"/>
                  </a:schemeClr>
                </a:solidFill>
              </a:defRPr>
            </a:lvl6pPr>
            <a:lvl7pPr marL="3624722" indent="0">
              <a:buNone/>
              <a:defRPr sz="2115">
                <a:solidFill>
                  <a:schemeClr val="tx1">
                    <a:tint val="75000"/>
                  </a:schemeClr>
                </a:solidFill>
              </a:defRPr>
            </a:lvl7pPr>
            <a:lvl8pPr marL="4228842" indent="0">
              <a:buNone/>
              <a:defRPr sz="2115">
                <a:solidFill>
                  <a:schemeClr val="tx1">
                    <a:tint val="75000"/>
                  </a:schemeClr>
                </a:solidFill>
              </a:defRPr>
            </a:lvl8pPr>
            <a:lvl9pPr marL="4832963" indent="0">
              <a:buNone/>
              <a:defRPr sz="2115">
                <a:solidFill>
                  <a:schemeClr val="tx1">
                    <a:tint val="75000"/>
                  </a:schemeClr>
                </a:solidFill>
              </a:defRPr>
            </a:lvl9pPr>
          </a:lstStyle>
          <a:p>
            <a:pPr lvl="0"/>
            <a:r>
              <a:rPr lang="en-US" noProof="0"/>
              <a:t>Edit Master text styles</a:t>
            </a:r>
          </a:p>
        </p:txBody>
      </p:sp>
      <p:sp>
        <p:nvSpPr>
          <p:cNvPr id="7" name="Rectangle 6">
            <a:hlinkClick r:id="rId2" action="ppaction://hlinksldjump" tooltip="Pricing and fees"/>
            <a:extLst>
              <a:ext uri="{FF2B5EF4-FFF2-40B4-BE49-F238E27FC236}">
                <a16:creationId xmlns:a16="http://schemas.microsoft.com/office/drawing/2014/main" id="{93B6DDB5-1598-406A-9EE5-A6122DFDC23D}"/>
              </a:ext>
            </a:extLst>
          </p:cNvPr>
          <p:cNvSpPr/>
          <p:nvPr userDrawn="1"/>
        </p:nvSpPr>
        <p:spPr bwMode="gray">
          <a:xfrm>
            <a:off x="11307641" y="3904466"/>
            <a:ext cx="884213" cy="975609"/>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8" name="Rectangle 7">
            <a:hlinkClick r:id="rId3" action="ppaction://hlinksldjump" tooltip="Client references"/>
            <a:extLst>
              <a:ext uri="{FF2B5EF4-FFF2-40B4-BE49-F238E27FC236}">
                <a16:creationId xmlns:a16="http://schemas.microsoft.com/office/drawing/2014/main" id="{128F5E5D-A3C3-4AFB-BBFC-A9B801732A35}"/>
              </a:ext>
            </a:extLst>
          </p:cNvPr>
          <p:cNvSpPr/>
          <p:nvPr userDrawn="1"/>
        </p:nvSpPr>
        <p:spPr bwMode="gray">
          <a:xfrm>
            <a:off x="11307787" y="2953369"/>
            <a:ext cx="884213" cy="965124"/>
          </a:xfrm>
          <a:prstGeom prst="rect">
            <a:avLst/>
          </a:prstGeom>
          <a:solidFill>
            <a:srgbClr val="046A38">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9" name="Rectangle 8">
            <a:extLst>
              <a:ext uri="{FF2B5EF4-FFF2-40B4-BE49-F238E27FC236}">
                <a16:creationId xmlns:a16="http://schemas.microsoft.com/office/drawing/2014/main" id="{A516446B-4E1F-48B4-A169-26E5C0D03B54}"/>
              </a:ext>
            </a:extLst>
          </p:cNvPr>
          <p:cNvSpPr/>
          <p:nvPr userDrawn="1"/>
        </p:nvSpPr>
        <p:spPr bwMode="gray">
          <a:xfrm>
            <a:off x="11307787" y="5745562"/>
            <a:ext cx="884213" cy="1112438"/>
          </a:xfrm>
          <a:prstGeom prst="rect">
            <a:avLst/>
          </a:prstGeom>
          <a:solidFill>
            <a:srgbClr val="343434"/>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10" name="Rectangle 9">
            <a:extLst>
              <a:ext uri="{FF2B5EF4-FFF2-40B4-BE49-F238E27FC236}">
                <a16:creationId xmlns:a16="http://schemas.microsoft.com/office/drawing/2014/main" id="{BE322605-A709-40FB-8BB4-1826D5381D55}"/>
              </a:ext>
            </a:extLst>
          </p:cNvPr>
          <p:cNvSpPr/>
          <p:nvPr userDrawn="1"/>
        </p:nvSpPr>
        <p:spPr>
          <a:xfrm>
            <a:off x="11349439" y="5969718"/>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endix</a:t>
            </a:r>
            <a:endParaRPr lang="en-US" sz="891" b="0" dirty="0">
              <a:solidFill>
                <a:schemeClr val="bg1"/>
              </a:solidFill>
              <a:latin typeface="Calibri" panose="020F0502020204030204" pitchFamily="34" charset="0"/>
            </a:endParaRPr>
          </a:p>
        </p:txBody>
      </p:sp>
      <p:grpSp>
        <p:nvGrpSpPr>
          <p:cNvPr id="11" name="Group 10">
            <a:extLst>
              <a:ext uri="{FF2B5EF4-FFF2-40B4-BE49-F238E27FC236}">
                <a16:creationId xmlns:a16="http://schemas.microsoft.com/office/drawing/2014/main" id="{913CD60A-2972-44AE-BAEE-330399BAE167}"/>
              </a:ext>
            </a:extLst>
          </p:cNvPr>
          <p:cNvGrpSpPr/>
          <p:nvPr userDrawn="1"/>
        </p:nvGrpSpPr>
        <p:grpSpPr>
          <a:xfrm>
            <a:off x="11501750" y="6555510"/>
            <a:ext cx="496285" cy="143992"/>
            <a:chOff x="12956047" y="8113587"/>
            <a:chExt cx="496285" cy="143992"/>
          </a:xfrm>
        </p:grpSpPr>
        <p:sp>
          <p:nvSpPr>
            <p:cNvPr id="12" name="object 21">
              <a:hlinkClick r:id="" action="ppaction://hlinkshowjump?jump=nextslide" highlightClick="1"/>
              <a:extLst>
                <a:ext uri="{FF2B5EF4-FFF2-40B4-BE49-F238E27FC236}">
                  <a16:creationId xmlns:a16="http://schemas.microsoft.com/office/drawing/2014/main" id="{6907623C-9708-459A-B265-EB65C6193E90}"/>
                </a:ext>
              </a:extLst>
            </p:cNvPr>
            <p:cNvSpPr/>
            <p:nvPr userDrawn="1"/>
          </p:nvSpPr>
          <p:spPr>
            <a:xfrm>
              <a:off x="13308327" y="8113587"/>
              <a:ext cx="144005" cy="143992"/>
            </a:xfrm>
            <a:prstGeom prst="rect">
              <a:avLst/>
            </a:prstGeom>
            <a: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endParaRPr sz="2773" dirty="0">
                <a:latin typeface="Calibri" panose="020F0502020204030204" pitchFamily="34" charset="0"/>
              </a:endParaRPr>
            </a:p>
          </p:txBody>
        </p:sp>
        <p:sp>
          <p:nvSpPr>
            <p:cNvPr id="13" name="object 22">
              <a:hlinkClick r:id="" action="ppaction://hlinkshowjump?jump=previousslide" highlightClick="1"/>
              <a:extLst>
                <a:ext uri="{FF2B5EF4-FFF2-40B4-BE49-F238E27FC236}">
                  <a16:creationId xmlns:a16="http://schemas.microsoft.com/office/drawing/2014/main" id="{A0A8487F-8823-4753-BD6A-C17990B96AD3}"/>
                </a:ext>
              </a:extLst>
            </p:cNvPr>
            <p:cNvSpPr/>
            <p:nvPr userDrawn="1"/>
          </p:nvSpPr>
          <p:spPr>
            <a:xfrm>
              <a:off x="12956047" y="8113587"/>
              <a:ext cx="144005" cy="143992"/>
            </a:xfrm>
            <a:prstGeom prst="rect">
              <a:avLst/>
            </a:prstGeom>
            <a: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a:blipFill>
            <a:ln>
              <a:noFill/>
            </a:ln>
          </p:spPr>
          <p:txBody>
            <a:bodyPr wrap="square" lIns="0" tIns="0" rIns="0" bIns="0" rtlCol="0"/>
            <a:lstStyle/>
            <a:p>
              <a:endParaRPr sz="2773" dirty="0">
                <a:latin typeface="Calibri" panose="020F0502020204030204" pitchFamily="34" charset="0"/>
              </a:endParaRPr>
            </a:p>
          </p:txBody>
        </p:sp>
      </p:grpSp>
      <p:grpSp>
        <p:nvGrpSpPr>
          <p:cNvPr id="14" name="Group 13">
            <a:extLst>
              <a:ext uri="{FF2B5EF4-FFF2-40B4-BE49-F238E27FC236}">
                <a16:creationId xmlns:a16="http://schemas.microsoft.com/office/drawing/2014/main" id="{7B8594E0-99C1-4556-9002-F8DF89C5E591}"/>
              </a:ext>
            </a:extLst>
          </p:cNvPr>
          <p:cNvGrpSpPr/>
          <p:nvPr userDrawn="1"/>
        </p:nvGrpSpPr>
        <p:grpSpPr>
          <a:xfrm>
            <a:off x="11307787" y="978701"/>
            <a:ext cx="884213" cy="978408"/>
            <a:chOff x="10576386" y="144060"/>
            <a:chExt cx="884213" cy="978408"/>
          </a:xfrm>
        </p:grpSpPr>
        <p:sp>
          <p:nvSpPr>
            <p:cNvPr id="15" name="Rectangle 14">
              <a:extLst>
                <a:ext uri="{FF2B5EF4-FFF2-40B4-BE49-F238E27FC236}">
                  <a16:creationId xmlns:a16="http://schemas.microsoft.com/office/drawing/2014/main" id="{DE40715F-5C0A-4240-94A4-82AC8547BE52}"/>
                </a:ext>
              </a:extLst>
            </p:cNvPr>
            <p:cNvSpPr/>
            <p:nvPr userDrawn="1"/>
          </p:nvSpPr>
          <p:spPr bwMode="gray">
            <a:xfrm>
              <a:off x="10576386" y="144060"/>
              <a:ext cx="884213" cy="978408"/>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6" name="Group 592">
              <a:extLst>
                <a:ext uri="{FF2B5EF4-FFF2-40B4-BE49-F238E27FC236}">
                  <a16:creationId xmlns:a16="http://schemas.microsoft.com/office/drawing/2014/main" id="{710F3AD5-D7C3-450A-8182-E92FD46943CC}"/>
                </a:ext>
              </a:extLst>
            </p:cNvPr>
            <p:cNvGrpSpPr>
              <a:grpSpLocks/>
            </p:cNvGrpSpPr>
            <p:nvPr userDrawn="1"/>
          </p:nvGrpSpPr>
          <p:grpSpPr bwMode="auto">
            <a:xfrm>
              <a:off x="10835612" y="271928"/>
              <a:ext cx="365760" cy="369676"/>
              <a:chOff x="373" y="1933"/>
              <a:chExt cx="341" cy="340"/>
            </a:xfrm>
            <a:solidFill>
              <a:schemeClr val="bg1"/>
            </a:solidFill>
          </p:grpSpPr>
          <p:sp>
            <p:nvSpPr>
              <p:cNvPr id="17" name="Freeform 77">
                <a:extLst>
                  <a:ext uri="{FF2B5EF4-FFF2-40B4-BE49-F238E27FC236}">
                    <a16:creationId xmlns:a16="http://schemas.microsoft.com/office/drawing/2014/main" id="{91C733AA-1867-4965-8446-CF5690E859AA}"/>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sp>
            <p:nvSpPr>
              <p:cNvPr id="23" name="Freeform 78">
                <a:extLst>
                  <a:ext uri="{FF2B5EF4-FFF2-40B4-BE49-F238E27FC236}">
                    <a16:creationId xmlns:a16="http://schemas.microsoft.com/office/drawing/2014/main" id="{AB49CDB8-3BC8-4B17-A9A1-6F66FA9C03C8}"/>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24" name="Group 23">
            <a:extLst>
              <a:ext uri="{FF2B5EF4-FFF2-40B4-BE49-F238E27FC236}">
                <a16:creationId xmlns:a16="http://schemas.microsoft.com/office/drawing/2014/main" id="{E9B02CFA-0200-427E-B31F-D1A091D6EF8D}"/>
              </a:ext>
            </a:extLst>
          </p:cNvPr>
          <p:cNvGrpSpPr/>
          <p:nvPr userDrawn="1"/>
        </p:nvGrpSpPr>
        <p:grpSpPr>
          <a:xfrm>
            <a:off x="11307787" y="0"/>
            <a:ext cx="884213" cy="978408"/>
            <a:chOff x="11320453" y="0"/>
            <a:chExt cx="884213" cy="978408"/>
          </a:xfrm>
        </p:grpSpPr>
        <p:sp>
          <p:nvSpPr>
            <p:cNvPr id="25" name="Rectangle 24">
              <a:extLst>
                <a:ext uri="{FF2B5EF4-FFF2-40B4-BE49-F238E27FC236}">
                  <a16:creationId xmlns:a16="http://schemas.microsoft.com/office/drawing/2014/main" id="{6144B176-5D45-47F8-A84A-84C6D95DA664}"/>
                </a:ext>
              </a:extLst>
            </p:cNvPr>
            <p:cNvSpPr/>
            <p:nvPr userDrawn="1"/>
          </p:nvSpPr>
          <p:spPr bwMode="gray">
            <a:xfrm>
              <a:off x="11320453" y="0"/>
              <a:ext cx="884213" cy="978408"/>
            </a:xfrm>
            <a:prstGeom prst="rect">
              <a:avLst/>
            </a:prstGeom>
            <a:solidFill>
              <a:srgbClr val="0055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26" name="Group 25">
              <a:extLst>
                <a:ext uri="{FF2B5EF4-FFF2-40B4-BE49-F238E27FC236}">
                  <a16:creationId xmlns:a16="http://schemas.microsoft.com/office/drawing/2014/main" id="{915EAA93-45E1-4C90-919F-F7829C11BF5F}"/>
                </a:ext>
              </a:extLst>
            </p:cNvPr>
            <p:cNvGrpSpPr/>
            <p:nvPr userDrawn="1"/>
          </p:nvGrpSpPr>
          <p:grpSpPr>
            <a:xfrm>
              <a:off x="11578568" y="107960"/>
              <a:ext cx="367982" cy="367982"/>
              <a:chOff x="6042955" y="3704076"/>
              <a:chExt cx="367982" cy="367982"/>
            </a:xfrm>
            <a:solidFill>
              <a:schemeClr val="bg1"/>
            </a:solidFill>
          </p:grpSpPr>
          <p:grpSp>
            <p:nvGrpSpPr>
              <p:cNvPr id="27" name="Group 26">
                <a:extLst>
                  <a:ext uri="{FF2B5EF4-FFF2-40B4-BE49-F238E27FC236}">
                    <a16:creationId xmlns:a16="http://schemas.microsoft.com/office/drawing/2014/main" id="{7F67C795-A4FB-4629-A8DE-0C7ACCD10B43}"/>
                  </a:ext>
                </a:extLst>
              </p:cNvPr>
              <p:cNvGrpSpPr/>
              <p:nvPr/>
            </p:nvGrpSpPr>
            <p:grpSpPr>
              <a:xfrm>
                <a:off x="6131110" y="3758524"/>
                <a:ext cx="207980" cy="259087"/>
                <a:chOff x="1690688" y="5349875"/>
                <a:chExt cx="465138" cy="579438"/>
              </a:xfrm>
              <a:grpFill/>
            </p:grpSpPr>
            <p:sp>
              <p:nvSpPr>
                <p:cNvPr id="29" name="Freeform 68">
                  <a:extLst>
                    <a:ext uri="{FF2B5EF4-FFF2-40B4-BE49-F238E27FC236}">
                      <a16:creationId xmlns:a16="http://schemas.microsoft.com/office/drawing/2014/main" id="{EC395DB8-6DEE-4E04-842B-94C3092BBAA7}"/>
                    </a:ext>
                  </a:extLst>
                </p:cNvPr>
                <p:cNvSpPr>
                  <a:spLocks/>
                </p:cNvSpPr>
                <p:nvPr/>
              </p:nvSpPr>
              <p:spPr bwMode="auto">
                <a:xfrm>
                  <a:off x="1781175" y="577850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30" name="Freeform 69">
                  <a:extLst>
                    <a:ext uri="{FF2B5EF4-FFF2-40B4-BE49-F238E27FC236}">
                      <a16:creationId xmlns:a16="http://schemas.microsoft.com/office/drawing/2014/main" id="{3FAC4283-EE55-49AB-A801-605E80D079C9}"/>
                    </a:ext>
                  </a:extLst>
                </p:cNvPr>
                <p:cNvSpPr>
                  <a:spLocks/>
                </p:cNvSpPr>
                <p:nvPr/>
              </p:nvSpPr>
              <p:spPr bwMode="auto">
                <a:xfrm>
                  <a:off x="1781175" y="569595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31" name="Freeform 70">
                  <a:extLst>
                    <a:ext uri="{FF2B5EF4-FFF2-40B4-BE49-F238E27FC236}">
                      <a16:creationId xmlns:a16="http://schemas.microsoft.com/office/drawing/2014/main" id="{DD9DF0CD-4D77-4FB7-809A-CD018A7A8B14}"/>
                    </a:ext>
                  </a:extLst>
                </p:cNvPr>
                <p:cNvSpPr>
                  <a:spLocks/>
                </p:cNvSpPr>
                <p:nvPr/>
              </p:nvSpPr>
              <p:spPr bwMode="auto">
                <a:xfrm>
                  <a:off x="1781175" y="5614988"/>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32" name="Freeform 71">
                  <a:extLst>
                    <a:ext uri="{FF2B5EF4-FFF2-40B4-BE49-F238E27FC236}">
                      <a16:creationId xmlns:a16="http://schemas.microsoft.com/office/drawing/2014/main" id="{2CD23E43-2030-471F-9B40-974DE17ABAB8}"/>
                    </a:ext>
                  </a:extLst>
                </p:cNvPr>
                <p:cNvSpPr>
                  <a:spLocks/>
                </p:cNvSpPr>
                <p:nvPr/>
              </p:nvSpPr>
              <p:spPr bwMode="auto">
                <a:xfrm>
                  <a:off x="1781175" y="5534025"/>
                  <a:ext cx="136525" cy="20638"/>
                </a:xfrm>
                <a:custGeom>
                  <a:avLst/>
                  <a:gdLst>
                    <a:gd name="T0" fmla="*/ 5 w 57"/>
                    <a:gd name="T1" fmla="*/ 9 h 9"/>
                    <a:gd name="T2" fmla="*/ 52 w 57"/>
                    <a:gd name="T3" fmla="*/ 9 h 9"/>
                    <a:gd name="T4" fmla="*/ 57 w 57"/>
                    <a:gd name="T5" fmla="*/ 5 h 9"/>
                    <a:gd name="T6" fmla="*/ 52 w 57"/>
                    <a:gd name="T7" fmla="*/ 0 h 9"/>
                    <a:gd name="T8" fmla="*/ 5 w 57"/>
                    <a:gd name="T9" fmla="*/ 0 h 9"/>
                    <a:gd name="T10" fmla="*/ 0 w 57"/>
                    <a:gd name="T11" fmla="*/ 5 h 9"/>
                    <a:gd name="T12" fmla="*/ 5 w 5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57" h="9">
                      <a:moveTo>
                        <a:pt x="5" y="9"/>
                      </a:moveTo>
                      <a:cubicBezTo>
                        <a:pt x="52" y="9"/>
                        <a:pt x="52" y="9"/>
                        <a:pt x="52" y="9"/>
                      </a:cubicBezTo>
                      <a:cubicBezTo>
                        <a:pt x="54" y="9"/>
                        <a:pt x="57" y="7"/>
                        <a:pt x="57" y="5"/>
                      </a:cubicBezTo>
                      <a:cubicBezTo>
                        <a:pt x="57" y="2"/>
                        <a:pt x="54" y="0"/>
                        <a:pt x="52"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33" name="Freeform 72">
                  <a:extLst>
                    <a:ext uri="{FF2B5EF4-FFF2-40B4-BE49-F238E27FC236}">
                      <a16:creationId xmlns:a16="http://schemas.microsoft.com/office/drawing/2014/main" id="{06CB458A-CE59-454D-9DEF-67012D71D64D}"/>
                    </a:ext>
                  </a:extLst>
                </p:cNvPr>
                <p:cNvSpPr>
                  <a:spLocks noEditPoints="1"/>
                </p:cNvSpPr>
                <p:nvPr/>
              </p:nvSpPr>
              <p:spPr bwMode="auto">
                <a:xfrm>
                  <a:off x="1690688" y="5349875"/>
                  <a:ext cx="465138" cy="579438"/>
                </a:xfrm>
                <a:custGeom>
                  <a:avLst/>
                  <a:gdLst>
                    <a:gd name="T0" fmla="*/ 190 w 194"/>
                    <a:gd name="T1" fmla="*/ 37 h 242"/>
                    <a:gd name="T2" fmla="*/ 156 w 194"/>
                    <a:gd name="T3" fmla="*/ 4 h 242"/>
                    <a:gd name="T4" fmla="*/ 147 w 194"/>
                    <a:gd name="T5" fmla="*/ 0 h 242"/>
                    <a:gd name="T6" fmla="*/ 147 w 194"/>
                    <a:gd name="T7" fmla="*/ 0 h 242"/>
                    <a:gd name="T8" fmla="*/ 13 w 194"/>
                    <a:gd name="T9" fmla="*/ 0 h 242"/>
                    <a:gd name="T10" fmla="*/ 0 w 194"/>
                    <a:gd name="T11" fmla="*/ 13 h 242"/>
                    <a:gd name="T12" fmla="*/ 0 w 194"/>
                    <a:gd name="T13" fmla="*/ 229 h 242"/>
                    <a:gd name="T14" fmla="*/ 13 w 194"/>
                    <a:gd name="T15" fmla="*/ 242 h 242"/>
                    <a:gd name="T16" fmla="*/ 181 w 194"/>
                    <a:gd name="T17" fmla="*/ 242 h 242"/>
                    <a:gd name="T18" fmla="*/ 194 w 194"/>
                    <a:gd name="T19" fmla="*/ 229 h 242"/>
                    <a:gd name="T20" fmla="*/ 194 w 194"/>
                    <a:gd name="T21" fmla="*/ 46 h 242"/>
                    <a:gd name="T22" fmla="*/ 190 w 194"/>
                    <a:gd name="T23" fmla="*/ 37 h 242"/>
                    <a:gd name="T24" fmla="*/ 180 w 194"/>
                    <a:gd name="T25" fmla="*/ 41 h 242"/>
                    <a:gd name="T26" fmla="*/ 152 w 194"/>
                    <a:gd name="T27" fmla="*/ 41 h 242"/>
                    <a:gd name="T28" fmla="*/ 152 w 194"/>
                    <a:gd name="T29" fmla="*/ 13 h 242"/>
                    <a:gd name="T30" fmla="*/ 180 w 194"/>
                    <a:gd name="T31" fmla="*/ 41 h 242"/>
                    <a:gd name="T32" fmla="*/ 181 w 194"/>
                    <a:gd name="T33" fmla="*/ 232 h 242"/>
                    <a:gd name="T34" fmla="*/ 13 w 194"/>
                    <a:gd name="T35" fmla="*/ 232 h 242"/>
                    <a:gd name="T36" fmla="*/ 9 w 194"/>
                    <a:gd name="T37" fmla="*/ 229 h 242"/>
                    <a:gd name="T38" fmla="*/ 9 w 194"/>
                    <a:gd name="T39" fmla="*/ 13 h 242"/>
                    <a:gd name="T40" fmla="*/ 13 w 194"/>
                    <a:gd name="T41" fmla="*/ 10 h 242"/>
                    <a:gd name="T42" fmla="*/ 142 w 194"/>
                    <a:gd name="T43" fmla="*/ 10 h 242"/>
                    <a:gd name="T44" fmla="*/ 142 w 194"/>
                    <a:gd name="T45" fmla="*/ 46 h 242"/>
                    <a:gd name="T46" fmla="*/ 147 w 194"/>
                    <a:gd name="T47" fmla="*/ 51 h 242"/>
                    <a:gd name="T48" fmla="*/ 184 w 194"/>
                    <a:gd name="T49" fmla="*/ 51 h 242"/>
                    <a:gd name="T50" fmla="*/ 184 w 194"/>
                    <a:gd name="T51" fmla="*/ 229 h 242"/>
                    <a:gd name="T52" fmla="*/ 181 w 194"/>
                    <a:gd name="T53"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4" h="242">
                      <a:moveTo>
                        <a:pt x="190" y="37"/>
                      </a:moveTo>
                      <a:cubicBezTo>
                        <a:pt x="156" y="4"/>
                        <a:pt x="156" y="4"/>
                        <a:pt x="156" y="4"/>
                      </a:cubicBezTo>
                      <a:cubicBezTo>
                        <a:pt x="153" y="1"/>
                        <a:pt x="150" y="0"/>
                        <a:pt x="147" y="0"/>
                      </a:cubicBezTo>
                      <a:cubicBezTo>
                        <a:pt x="147" y="0"/>
                        <a:pt x="147" y="0"/>
                        <a:pt x="147" y="0"/>
                      </a:cubicBezTo>
                      <a:cubicBezTo>
                        <a:pt x="13" y="0"/>
                        <a:pt x="13" y="0"/>
                        <a:pt x="13" y="0"/>
                      </a:cubicBezTo>
                      <a:cubicBezTo>
                        <a:pt x="5" y="0"/>
                        <a:pt x="0" y="6"/>
                        <a:pt x="0" y="13"/>
                      </a:cubicBezTo>
                      <a:cubicBezTo>
                        <a:pt x="0" y="229"/>
                        <a:pt x="0" y="229"/>
                        <a:pt x="0" y="229"/>
                      </a:cubicBezTo>
                      <a:cubicBezTo>
                        <a:pt x="0" y="236"/>
                        <a:pt x="5" y="242"/>
                        <a:pt x="13" y="242"/>
                      </a:cubicBezTo>
                      <a:cubicBezTo>
                        <a:pt x="181" y="242"/>
                        <a:pt x="181" y="242"/>
                        <a:pt x="181" y="242"/>
                      </a:cubicBezTo>
                      <a:cubicBezTo>
                        <a:pt x="188" y="242"/>
                        <a:pt x="194" y="236"/>
                        <a:pt x="194" y="229"/>
                      </a:cubicBezTo>
                      <a:cubicBezTo>
                        <a:pt x="194" y="46"/>
                        <a:pt x="194" y="46"/>
                        <a:pt x="194" y="46"/>
                      </a:cubicBezTo>
                      <a:cubicBezTo>
                        <a:pt x="194" y="43"/>
                        <a:pt x="192" y="39"/>
                        <a:pt x="190" y="37"/>
                      </a:cubicBezTo>
                      <a:close/>
                      <a:moveTo>
                        <a:pt x="180" y="41"/>
                      </a:moveTo>
                      <a:cubicBezTo>
                        <a:pt x="152" y="41"/>
                        <a:pt x="152" y="41"/>
                        <a:pt x="152" y="41"/>
                      </a:cubicBezTo>
                      <a:cubicBezTo>
                        <a:pt x="152" y="13"/>
                        <a:pt x="152" y="13"/>
                        <a:pt x="152" y="13"/>
                      </a:cubicBezTo>
                      <a:lnTo>
                        <a:pt x="180" y="41"/>
                      </a:lnTo>
                      <a:close/>
                      <a:moveTo>
                        <a:pt x="181" y="232"/>
                      </a:moveTo>
                      <a:cubicBezTo>
                        <a:pt x="13" y="232"/>
                        <a:pt x="13" y="232"/>
                        <a:pt x="13" y="232"/>
                      </a:cubicBezTo>
                      <a:cubicBezTo>
                        <a:pt x="11" y="232"/>
                        <a:pt x="9" y="231"/>
                        <a:pt x="9" y="229"/>
                      </a:cubicBezTo>
                      <a:cubicBezTo>
                        <a:pt x="9" y="13"/>
                        <a:pt x="9" y="13"/>
                        <a:pt x="9" y="13"/>
                      </a:cubicBezTo>
                      <a:cubicBezTo>
                        <a:pt x="9" y="11"/>
                        <a:pt x="11" y="10"/>
                        <a:pt x="13" y="10"/>
                      </a:cubicBezTo>
                      <a:cubicBezTo>
                        <a:pt x="142" y="10"/>
                        <a:pt x="142" y="10"/>
                        <a:pt x="142" y="10"/>
                      </a:cubicBezTo>
                      <a:cubicBezTo>
                        <a:pt x="142" y="46"/>
                        <a:pt x="142" y="46"/>
                        <a:pt x="142" y="46"/>
                      </a:cubicBezTo>
                      <a:cubicBezTo>
                        <a:pt x="142" y="49"/>
                        <a:pt x="144" y="51"/>
                        <a:pt x="147" y="51"/>
                      </a:cubicBezTo>
                      <a:cubicBezTo>
                        <a:pt x="184" y="51"/>
                        <a:pt x="184" y="51"/>
                        <a:pt x="184" y="51"/>
                      </a:cubicBezTo>
                      <a:cubicBezTo>
                        <a:pt x="184" y="229"/>
                        <a:pt x="184" y="229"/>
                        <a:pt x="184" y="229"/>
                      </a:cubicBezTo>
                      <a:cubicBezTo>
                        <a:pt x="184" y="231"/>
                        <a:pt x="182" y="232"/>
                        <a:pt x="181" y="2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28" name="Freeform 547">
                <a:extLst>
                  <a:ext uri="{FF2B5EF4-FFF2-40B4-BE49-F238E27FC236}">
                    <a16:creationId xmlns:a16="http://schemas.microsoft.com/office/drawing/2014/main" id="{6F58BFA6-9645-451B-A493-2726DA467B71}"/>
                  </a:ext>
                </a:extLst>
              </p:cNvPr>
              <p:cNvSpPr>
                <a:spLocks noEditPoints="1"/>
              </p:cNvSpPr>
              <p:nvPr/>
            </p:nvSpPr>
            <p:spPr bwMode="auto">
              <a:xfrm>
                <a:off x="6042955" y="370407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34" name="Group 33">
            <a:extLst>
              <a:ext uri="{FF2B5EF4-FFF2-40B4-BE49-F238E27FC236}">
                <a16:creationId xmlns:a16="http://schemas.microsoft.com/office/drawing/2014/main" id="{028A709B-95ED-4D81-8F75-001375D8AD23}"/>
              </a:ext>
            </a:extLst>
          </p:cNvPr>
          <p:cNvGrpSpPr/>
          <p:nvPr userDrawn="1"/>
        </p:nvGrpSpPr>
        <p:grpSpPr>
          <a:xfrm>
            <a:off x="11307787" y="2933749"/>
            <a:ext cx="884213" cy="978408"/>
            <a:chOff x="10576386" y="144060"/>
            <a:chExt cx="884213" cy="978408"/>
          </a:xfrm>
          <a:solidFill>
            <a:srgbClr val="00ABAB"/>
          </a:solidFill>
        </p:grpSpPr>
        <p:sp>
          <p:nvSpPr>
            <p:cNvPr id="35" name="Rectangle 34">
              <a:extLst>
                <a:ext uri="{FF2B5EF4-FFF2-40B4-BE49-F238E27FC236}">
                  <a16:creationId xmlns:a16="http://schemas.microsoft.com/office/drawing/2014/main" id="{B3B26205-9C85-4387-B163-361738601B21}"/>
                </a:ext>
              </a:extLst>
            </p:cNvPr>
            <p:cNvSpPr/>
            <p:nvPr userDrawn="1"/>
          </p:nvSpPr>
          <p:spPr bwMode="gray">
            <a:xfrm>
              <a:off x="10576386" y="144060"/>
              <a:ext cx="884213" cy="978408"/>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36" name="Group 35">
              <a:extLst>
                <a:ext uri="{FF2B5EF4-FFF2-40B4-BE49-F238E27FC236}">
                  <a16:creationId xmlns:a16="http://schemas.microsoft.com/office/drawing/2014/main" id="{A52F8A48-C287-40DF-A6D6-9D1F25A1E665}"/>
                </a:ext>
              </a:extLst>
            </p:cNvPr>
            <p:cNvGrpSpPr/>
            <p:nvPr userDrawn="1"/>
          </p:nvGrpSpPr>
          <p:grpSpPr>
            <a:xfrm>
              <a:off x="10834501" y="254280"/>
              <a:ext cx="367982" cy="367982"/>
              <a:chOff x="7153126" y="1943100"/>
              <a:chExt cx="367982" cy="367982"/>
            </a:xfrm>
            <a:grpFill/>
          </p:grpSpPr>
          <p:sp>
            <p:nvSpPr>
              <p:cNvPr id="37" name="Freeform 903">
                <a:extLst>
                  <a:ext uri="{FF2B5EF4-FFF2-40B4-BE49-F238E27FC236}">
                    <a16:creationId xmlns:a16="http://schemas.microsoft.com/office/drawing/2014/main" id="{9BACB420-7471-4C12-9D62-5B618F8AD5D4}"/>
                  </a:ext>
                </a:extLst>
              </p:cNvPr>
              <p:cNvSpPr>
                <a:spLocks noEditPoints="1"/>
              </p:cNvSpPr>
              <p:nvPr/>
            </p:nvSpPr>
            <p:spPr bwMode="auto">
              <a:xfrm>
                <a:off x="7153126" y="1943100"/>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1982"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8" name="Freeform 118">
                <a:extLst>
                  <a:ext uri="{FF2B5EF4-FFF2-40B4-BE49-F238E27FC236}">
                    <a16:creationId xmlns:a16="http://schemas.microsoft.com/office/drawing/2014/main" id="{545FE00B-CEA0-4D84-ACCC-F1DF8A629AA0}"/>
                  </a:ext>
                </a:extLst>
              </p:cNvPr>
              <p:cNvSpPr>
                <a:spLocks noChangeAspect="1"/>
              </p:cNvSpPr>
              <p:nvPr/>
            </p:nvSpPr>
            <p:spPr bwMode="auto">
              <a:xfrm>
                <a:off x="7213994" y="1999986"/>
                <a:ext cx="230527" cy="221307"/>
              </a:xfrm>
              <a:custGeom>
                <a:avLst/>
                <a:gdLst>
                  <a:gd name="T0" fmla="*/ 183 w 233"/>
                  <a:gd name="T1" fmla="*/ 167 h 224"/>
                  <a:gd name="T2" fmla="*/ 142 w 233"/>
                  <a:gd name="T3" fmla="*/ 126 h 224"/>
                  <a:gd name="T4" fmla="*/ 156 w 233"/>
                  <a:gd name="T5" fmla="*/ 96 h 224"/>
                  <a:gd name="T6" fmla="*/ 167 w 233"/>
                  <a:gd name="T7" fmla="*/ 75 h 224"/>
                  <a:gd name="T8" fmla="*/ 163 w 233"/>
                  <a:gd name="T9" fmla="*/ 65 h 224"/>
                  <a:gd name="T10" fmla="*/ 166 w 233"/>
                  <a:gd name="T11" fmla="*/ 43 h 224"/>
                  <a:gd name="T12" fmla="*/ 117 w 233"/>
                  <a:gd name="T13" fmla="*/ 0 h 224"/>
                  <a:gd name="T14" fmla="*/ 67 w 233"/>
                  <a:gd name="T15" fmla="*/ 43 h 224"/>
                  <a:gd name="T16" fmla="*/ 70 w 233"/>
                  <a:gd name="T17" fmla="*/ 65 h 224"/>
                  <a:gd name="T18" fmla="*/ 66 w 233"/>
                  <a:gd name="T19" fmla="*/ 75 h 224"/>
                  <a:gd name="T20" fmla="*/ 77 w 233"/>
                  <a:gd name="T21" fmla="*/ 96 h 224"/>
                  <a:gd name="T22" fmla="*/ 91 w 233"/>
                  <a:gd name="T23" fmla="*/ 126 h 224"/>
                  <a:gd name="T24" fmla="*/ 51 w 233"/>
                  <a:gd name="T25" fmla="*/ 167 h 224"/>
                  <a:gd name="T26" fmla="*/ 0 w 233"/>
                  <a:gd name="T27" fmla="*/ 197 h 224"/>
                  <a:gd name="T28" fmla="*/ 0 w 233"/>
                  <a:gd name="T29" fmla="*/ 224 h 224"/>
                  <a:gd name="T30" fmla="*/ 117 w 233"/>
                  <a:gd name="T31" fmla="*/ 224 h 224"/>
                  <a:gd name="T32" fmla="*/ 233 w 233"/>
                  <a:gd name="T33" fmla="*/ 224 h 224"/>
                  <a:gd name="T34" fmla="*/ 233 w 233"/>
                  <a:gd name="T35" fmla="*/ 197 h 224"/>
                  <a:gd name="T36" fmla="*/ 183 w 233"/>
                  <a:gd name="T37" fmla="*/ 16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3" h="224">
                    <a:moveTo>
                      <a:pt x="183" y="167"/>
                    </a:moveTo>
                    <a:cubicBezTo>
                      <a:pt x="152" y="156"/>
                      <a:pt x="142" y="146"/>
                      <a:pt x="142" y="126"/>
                    </a:cubicBezTo>
                    <a:cubicBezTo>
                      <a:pt x="142" y="114"/>
                      <a:pt x="152" y="118"/>
                      <a:pt x="156" y="96"/>
                    </a:cubicBezTo>
                    <a:cubicBezTo>
                      <a:pt x="157" y="87"/>
                      <a:pt x="166" y="96"/>
                      <a:pt x="167" y="75"/>
                    </a:cubicBezTo>
                    <a:cubicBezTo>
                      <a:pt x="167" y="67"/>
                      <a:pt x="163" y="65"/>
                      <a:pt x="163" y="65"/>
                    </a:cubicBezTo>
                    <a:cubicBezTo>
                      <a:pt x="163" y="65"/>
                      <a:pt x="165" y="52"/>
                      <a:pt x="166" y="43"/>
                    </a:cubicBezTo>
                    <a:cubicBezTo>
                      <a:pt x="167" y="31"/>
                      <a:pt x="159" y="0"/>
                      <a:pt x="117" y="0"/>
                    </a:cubicBezTo>
                    <a:cubicBezTo>
                      <a:pt x="74" y="0"/>
                      <a:pt x="66" y="31"/>
                      <a:pt x="67" y="43"/>
                    </a:cubicBezTo>
                    <a:cubicBezTo>
                      <a:pt x="68" y="52"/>
                      <a:pt x="70" y="65"/>
                      <a:pt x="70" y="65"/>
                    </a:cubicBezTo>
                    <a:cubicBezTo>
                      <a:pt x="70" y="65"/>
                      <a:pt x="66" y="67"/>
                      <a:pt x="66" y="75"/>
                    </a:cubicBezTo>
                    <a:cubicBezTo>
                      <a:pt x="67" y="96"/>
                      <a:pt x="76" y="87"/>
                      <a:pt x="77" y="96"/>
                    </a:cubicBezTo>
                    <a:cubicBezTo>
                      <a:pt x="82" y="118"/>
                      <a:pt x="91" y="114"/>
                      <a:pt x="91" y="126"/>
                    </a:cubicBezTo>
                    <a:cubicBezTo>
                      <a:pt x="91" y="146"/>
                      <a:pt x="81" y="156"/>
                      <a:pt x="51" y="167"/>
                    </a:cubicBezTo>
                    <a:cubicBezTo>
                      <a:pt x="20" y="178"/>
                      <a:pt x="0" y="190"/>
                      <a:pt x="0" y="197"/>
                    </a:cubicBezTo>
                    <a:cubicBezTo>
                      <a:pt x="0" y="205"/>
                      <a:pt x="0" y="224"/>
                      <a:pt x="0" y="224"/>
                    </a:cubicBezTo>
                    <a:cubicBezTo>
                      <a:pt x="117" y="224"/>
                      <a:pt x="117" y="224"/>
                      <a:pt x="117" y="224"/>
                    </a:cubicBezTo>
                    <a:cubicBezTo>
                      <a:pt x="233" y="224"/>
                      <a:pt x="233" y="224"/>
                      <a:pt x="233" y="224"/>
                    </a:cubicBezTo>
                    <a:cubicBezTo>
                      <a:pt x="233" y="224"/>
                      <a:pt x="233" y="205"/>
                      <a:pt x="233" y="197"/>
                    </a:cubicBezTo>
                    <a:cubicBezTo>
                      <a:pt x="233" y="190"/>
                      <a:pt x="213" y="178"/>
                      <a:pt x="183" y="167"/>
                    </a:cubicBez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39" name="Group 38">
            <a:extLst>
              <a:ext uri="{FF2B5EF4-FFF2-40B4-BE49-F238E27FC236}">
                <a16:creationId xmlns:a16="http://schemas.microsoft.com/office/drawing/2014/main" id="{1F8F10FD-CAB6-47BF-8036-85C053C11322}"/>
              </a:ext>
            </a:extLst>
          </p:cNvPr>
          <p:cNvGrpSpPr/>
          <p:nvPr userDrawn="1"/>
        </p:nvGrpSpPr>
        <p:grpSpPr>
          <a:xfrm>
            <a:off x="11307787" y="3885439"/>
            <a:ext cx="884213" cy="1008246"/>
            <a:chOff x="10576385" y="152400"/>
            <a:chExt cx="884213" cy="978408"/>
          </a:xfrm>
        </p:grpSpPr>
        <p:sp>
          <p:nvSpPr>
            <p:cNvPr id="40" name="Rectangle 39">
              <a:extLst>
                <a:ext uri="{FF2B5EF4-FFF2-40B4-BE49-F238E27FC236}">
                  <a16:creationId xmlns:a16="http://schemas.microsoft.com/office/drawing/2014/main" id="{F945F256-79E3-4100-B72C-E3D30D8B9F5C}"/>
                </a:ext>
              </a:extLst>
            </p:cNvPr>
            <p:cNvSpPr/>
            <p:nvPr userDrawn="1"/>
          </p:nvSpPr>
          <p:spPr bwMode="gray">
            <a:xfrm>
              <a:off x="10576385" y="152400"/>
              <a:ext cx="884213" cy="978408"/>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41" name="Group 48">
              <a:extLst>
                <a:ext uri="{FF2B5EF4-FFF2-40B4-BE49-F238E27FC236}">
                  <a16:creationId xmlns:a16="http://schemas.microsoft.com/office/drawing/2014/main" id="{4B43C1F3-89D6-408A-9F4B-39D29D0DFB35}"/>
                </a:ext>
              </a:extLst>
            </p:cNvPr>
            <p:cNvGrpSpPr>
              <a:grpSpLocks noChangeAspect="1"/>
            </p:cNvGrpSpPr>
            <p:nvPr userDrawn="1"/>
          </p:nvGrpSpPr>
          <p:grpSpPr bwMode="auto">
            <a:xfrm>
              <a:off x="10834676" y="260360"/>
              <a:ext cx="367631" cy="367631"/>
              <a:chOff x="4277" y="1990"/>
              <a:chExt cx="340" cy="340"/>
            </a:xfrm>
            <a:solidFill>
              <a:schemeClr val="bg1"/>
            </a:solidFill>
          </p:grpSpPr>
          <p:sp>
            <p:nvSpPr>
              <p:cNvPr id="42" name="Freeform 49">
                <a:extLst>
                  <a:ext uri="{FF2B5EF4-FFF2-40B4-BE49-F238E27FC236}">
                    <a16:creationId xmlns:a16="http://schemas.microsoft.com/office/drawing/2014/main" id="{6841E2C8-5DF6-4E1E-A985-90F659234D39}"/>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43" name="Freeform 50">
                <a:extLst>
                  <a:ext uri="{FF2B5EF4-FFF2-40B4-BE49-F238E27FC236}">
                    <a16:creationId xmlns:a16="http://schemas.microsoft.com/office/drawing/2014/main" id="{329FE1D0-0B67-4A1B-9C9F-781D2FCBCD34}"/>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grpSp>
        <p:nvGrpSpPr>
          <p:cNvPr id="44" name="Group 43">
            <a:extLst>
              <a:ext uri="{FF2B5EF4-FFF2-40B4-BE49-F238E27FC236}">
                <a16:creationId xmlns:a16="http://schemas.microsoft.com/office/drawing/2014/main" id="{43C21618-BA4E-42EF-891E-E47A1C16BDBE}"/>
              </a:ext>
            </a:extLst>
          </p:cNvPr>
          <p:cNvGrpSpPr/>
          <p:nvPr userDrawn="1"/>
        </p:nvGrpSpPr>
        <p:grpSpPr>
          <a:xfrm>
            <a:off x="11307787" y="4885264"/>
            <a:ext cx="884213" cy="978408"/>
            <a:chOff x="10576385" y="152400"/>
            <a:chExt cx="884213" cy="978408"/>
          </a:xfrm>
        </p:grpSpPr>
        <p:sp>
          <p:nvSpPr>
            <p:cNvPr id="45" name="Rectangle 44">
              <a:extLst>
                <a:ext uri="{FF2B5EF4-FFF2-40B4-BE49-F238E27FC236}">
                  <a16:creationId xmlns:a16="http://schemas.microsoft.com/office/drawing/2014/main" id="{B3FA95DF-3DAE-4497-AFF8-B78ACEAAF917}"/>
                </a:ext>
              </a:extLst>
            </p:cNvPr>
            <p:cNvSpPr/>
            <p:nvPr userDrawn="1"/>
          </p:nvSpPr>
          <p:spPr bwMode="gray">
            <a:xfrm>
              <a:off x="10576385" y="152400"/>
              <a:ext cx="884213" cy="978408"/>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46" name="Group 555">
              <a:extLst>
                <a:ext uri="{FF2B5EF4-FFF2-40B4-BE49-F238E27FC236}">
                  <a16:creationId xmlns:a16="http://schemas.microsoft.com/office/drawing/2014/main" id="{A775CAB8-B7A1-4C81-AF0A-77BECF84B795}"/>
                </a:ext>
              </a:extLst>
            </p:cNvPr>
            <p:cNvGrpSpPr>
              <a:grpSpLocks noChangeAspect="1"/>
            </p:cNvGrpSpPr>
            <p:nvPr userDrawn="1"/>
          </p:nvGrpSpPr>
          <p:grpSpPr bwMode="auto">
            <a:xfrm>
              <a:off x="10833438" y="257395"/>
              <a:ext cx="370106" cy="369021"/>
              <a:chOff x="1130" y="1948"/>
              <a:chExt cx="341" cy="340"/>
            </a:xfrm>
            <a:solidFill>
              <a:schemeClr val="bg1"/>
            </a:solidFill>
          </p:grpSpPr>
          <p:sp>
            <p:nvSpPr>
              <p:cNvPr id="47" name="Freeform 556">
                <a:extLst>
                  <a:ext uri="{FF2B5EF4-FFF2-40B4-BE49-F238E27FC236}">
                    <a16:creationId xmlns:a16="http://schemas.microsoft.com/office/drawing/2014/main" id="{505414E2-89AA-4216-841E-18AD0990EFD6}"/>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48" name="Freeform 557">
                <a:extLst>
                  <a:ext uri="{FF2B5EF4-FFF2-40B4-BE49-F238E27FC236}">
                    <a16:creationId xmlns:a16="http://schemas.microsoft.com/office/drawing/2014/main" id="{61D00794-471C-4108-8C27-89AB41E7C8F3}"/>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49" name="Freeform 558">
                <a:extLst>
                  <a:ext uri="{FF2B5EF4-FFF2-40B4-BE49-F238E27FC236}">
                    <a16:creationId xmlns:a16="http://schemas.microsoft.com/office/drawing/2014/main" id="{F72C864F-8EBD-4F98-BEA6-C27441DD87C4}"/>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50" name="Freeform 559">
                <a:extLst>
                  <a:ext uri="{FF2B5EF4-FFF2-40B4-BE49-F238E27FC236}">
                    <a16:creationId xmlns:a16="http://schemas.microsoft.com/office/drawing/2014/main" id="{48D97171-F99C-40C6-AB36-937DADFF6BAF}"/>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51" name="Freeform 560">
                <a:extLst>
                  <a:ext uri="{FF2B5EF4-FFF2-40B4-BE49-F238E27FC236}">
                    <a16:creationId xmlns:a16="http://schemas.microsoft.com/office/drawing/2014/main" id="{9A9F7F4F-AD9D-47FB-B2BD-B63CFB84A11B}"/>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sp>
        <p:nvSpPr>
          <p:cNvPr id="52" name="Rectangle 51">
            <a:extLst>
              <a:ext uri="{FF2B5EF4-FFF2-40B4-BE49-F238E27FC236}">
                <a16:creationId xmlns:a16="http://schemas.microsoft.com/office/drawing/2014/main" id="{413876D5-91E7-421E-AA0C-78791D3C2F9E}"/>
              </a:ext>
            </a:extLst>
          </p:cNvPr>
          <p:cNvSpPr/>
          <p:nvPr userDrawn="1"/>
        </p:nvSpPr>
        <p:spPr>
          <a:xfrm>
            <a:off x="11349439" y="1508981"/>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Executive summary</a:t>
            </a:r>
            <a:endParaRPr lang="en-US" sz="891" b="0" dirty="0">
              <a:solidFill>
                <a:schemeClr val="bg1"/>
              </a:solidFill>
              <a:latin typeface="Calibri" panose="020F0502020204030204" pitchFamily="34" charset="0"/>
            </a:endParaRPr>
          </a:p>
        </p:txBody>
      </p:sp>
      <p:sp>
        <p:nvSpPr>
          <p:cNvPr id="53" name="Rectangle 52">
            <a:extLst>
              <a:ext uri="{FF2B5EF4-FFF2-40B4-BE49-F238E27FC236}">
                <a16:creationId xmlns:a16="http://schemas.microsoft.com/office/drawing/2014/main" id="{86FB1532-4688-4217-9519-F2F2DD067D30}"/>
              </a:ext>
            </a:extLst>
          </p:cNvPr>
          <p:cNvSpPr/>
          <p:nvPr userDrawn="1"/>
        </p:nvSpPr>
        <p:spPr>
          <a:xfrm>
            <a:off x="11349439" y="521940"/>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Cover </a:t>
            </a:r>
          </a:p>
          <a:p>
            <a:pPr algn="ctr"/>
            <a:r>
              <a:rPr lang="en-US" sz="891" b="0" i="0" spc="-25" dirty="0">
                <a:solidFill>
                  <a:schemeClr val="bg1"/>
                </a:solidFill>
                <a:latin typeface="Calibri" panose="020F0502020204030204" pitchFamily="34" charset="0"/>
                <a:cs typeface="Open Sans Light"/>
              </a:rPr>
              <a:t>letter</a:t>
            </a:r>
            <a:endParaRPr lang="en-US" sz="891" b="0" dirty="0">
              <a:solidFill>
                <a:schemeClr val="bg1"/>
              </a:solidFill>
              <a:latin typeface="Calibri" panose="020F0502020204030204" pitchFamily="34" charset="0"/>
            </a:endParaRPr>
          </a:p>
        </p:txBody>
      </p:sp>
      <p:sp>
        <p:nvSpPr>
          <p:cNvPr id="54" name="Rectangle 53">
            <a:extLst>
              <a:ext uri="{FF2B5EF4-FFF2-40B4-BE49-F238E27FC236}">
                <a16:creationId xmlns:a16="http://schemas.microsoft.com/office/drawing/2014/main" id="{E09E9A44-A23D-48B0-8366-059C964D3666}"/>
              </a:ext>
            </a:extLst>
          </p:cNvPr>
          <p:cNvSpPr/>
          <p:nvPr userDrawn="1"/>
        </p:nvSpPr>
        <p:spPr>
          <a:xfrm>
            <a:off x="11349439" y="3464029"/>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roach &amp; Methodology</a:t>
            </a:r>
            <a:endParaRPr lang="en-US" sz="891" b="0" dirty="0">
              <a:solidFill>
                <a:schemeClr val="bg1"/>
              </a:solidFill>
              <a:latin typeface="Calibri" panose="020F0502020204030204" pitchFamily="34" charset="0"/>
            </a:endParaRPr>
          </a:p>
        </p:txBody>
      </p:sp>
      <p:sp>
        <p:nvSpPr>
          <p:cNvPr id="55" name="Rectangle 54">
            <a:extLst>
              <a:ext uri="{FF2B5EF4-FFF2-40B4-BE49-F238E27FC236}">
                <a16:creationId xmlns:a16="http://schemas.microsoft.com/office/drawing/2014/main" id="{2731ED58-C5B1-4590-9335-571D8531323A}"/>
              </a:ext>
            </a:extLst>
          </p:cNvPr>
          <p:cNvSpPr/>
          <p:nvPr userDrawn="1"/>
        </p:nvSpPr>
        <p:spPr>
          <a:xfrm>
            <a:off x="11349439" y="4435932"/>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Timeline and Assumptions</a:t>
            </a:r>
            <a:endParaRPr lang="en-US" sz="891" b="0" dirty="0">
              <a:solidFill>
                <a:schemeClr val="bg1"/>
              </a:solidFill>
              <a:latin typeface="Calibri" panose="020F0502020204030204" pitchFamily="34" charset="0"/>
            </a:endParaRPr>
          </a:p>
        </p:txBody>
      </p:sp>
      <p:sp>
        <p:nvSpPr>
          <p:cNvPr id="56" name="Rectangle 55">
            <a:extLst>
              <a:ext uri="{FF2B5EF4-FFF2-40B4-BE49-F238E27FC236}">
                <a16:creationId xmlns:a16="http://schemas.microsoft.com/office/drawing/2014/main" id="{0AE51C6C-9170-483E-ABF5-F502B01515D0}"/>
              </a:ext>
            </a:extLst>
          </p:cNvPr>
          <p:cNvSpPr/>
          <p:nvPr userDrawn="1"/>
        </p:nvSpPr>
        <p:spPr>
          <a:xfrm>
            <a:off x="11349439" y="541554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Team</a:t>
            </a:r>
            <a:endParaRPr lang="en-US" sz="891" b="0" dirty="0">
              <a:solidFill>
                <a:schemeClr val="bg1"/>
              </a:solidFill>
              <a:latin typeface="Calibri" panose="020F0502020204030204" pitchFamily="34" charset="0"/>
            </a:endParaRPr>
          </a:p>
        </p:txBody>
      </p:sp>
      <p:sp>
        <p:nvSpPr>
          <p:cNvPr id="57" name="Rectangle 56">
            <a:hlinkClick r:id="rId3" action="ppaction://hlinksldjump" tooltip="Appendix"/>
            <a:extLst>
              <a:ext uri="{FF2B5EF4-FFF2-40B4-BE49-F238E27FC236}">
                <a16:creationId xmlns:a16="http://schemas.microsoft.com/office/drawing/2014/main" id="{8E367F0A-0359-417A-B7AE-4295CEBC4CDA}"/>
              </a:ext>
            </a:extLst>
          </p:cNvPr>
          <p:cNvSpPr/>
          <p:nvPr userDrawn="1"/>
        </p:nvSpPr>
        <p:spPr bwMode="gray">
          <a:xfrm>
            <a:off x="11307787" y="5863690"/>
            <a:ext cx="884213" cy="531181"/>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58" name="Group 57">
            <a:extLst>
              <a:ext uri="{FF2B5EF4-FFF2-40B4-BE49-F238E27FC236}">
                <a16:creationId xmlns:a16="http://schemas.microsoft.com/office/drawing/2014/main" id="{8AE01C8C-B3EF-4621-B3D1-75BC80BD9F05}"/>
              </a:ext>
            </a:extLst>
          </p:cNvPr>
          <p:cNvGrpSpPr/>
          <p:nvPr userDrawn="1"/>
        </p:nvGrpSpPr>
        <p:grpSpPr>
          <a:xfrm>
            <a:off x="10835777" y="6454064"/>
            <a:ext cx="367881" cy="367881"/>
            <a:chOff x="2624423" y="132075"/>
            <a:chExt cx="864729" cy="864729"/>
          </a:xfrm>
        </p:grpSpPr>
        <p:sp>
          <p:nvSpPr>
            <p:cNvPr id="59" name="Oval 58">
              <a:extLst>
                <a:ext uri="{FF2B5EF4-FFF2-40B4-BE49-F238E27FC236}">
                  <a16:creationId xmlns:a16="http://schemas.microsoft.com/office/drawing/2014/main" id="{366D3359-AC2B-4B44-948B-F4AC193F6513}"/>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60" name="Group 22">
              <a:extLst>
                <a:ext uri="{FF2B5EF4-FFF2-40B4-BE49-F238E27FC236}">
                  <a16:creationId xmlns:a16="http://schemas.microsoft.com/office/drawing/2014/main" id="{7824E815-D935-4B65-9AFD-A997571C789E}"/>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61" name="Freeform 23">
                <a:extLst>
                  <a:ext uri="{FF2B5EF4-FFF2-40B4-BE49-F238E27FC236}">
                    <a16:creationId xmlns:a16="http://schemas.microsoft.com/office/drawing/2014/main" id="{2CE17FAC-11BF-4F54-BB4C-CD0082858D2C}"/>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sp>
            <p:nvSpPr>
              <p:cNvPr id="62" name="Freeform 24">
                <a:extLst>
                  <a:ext uri="{FF2B5EF4-FFF2-40B4-BE49-F238E27FC236}">
                    <a16:creationId xmlns:a16="http://schemas.microsoft.com/office/drawing/2014/main" id="{A9C18717-E4D3-4CAE-AC8A-77E2CE4C055E}"/>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grpSp>
      </p:grpSp>
      <p:sp>
        <p:nvSpPr>
          <p:cNvPr id="63" name="Oval 62">
            <a:hlinkClick r:id="rId8" action="ppaction://hlinksldjump" tooltip="Home"/>
            <a:extLst>
              <a:ext uri="{FF2B5EF4-FFF2-40B4-BE49-F238E27FC236}">
                <a16:creationId xmlns:a16="http://schemas.microsoft.com/office/drawing/2014/main" id="{CC18363C-6945-46C1-8C86-485737AD5619}"/>
              </a:ext>
            </a:extLst>
          </p:cNvPr>
          <p:cNvSpPr/>
          <p:nvPr userDrawn="1"/>
        </p:nvSpPr>
        <p:spPr bwMode="gray">
          <a:xfrm>
            <a:off x="10795524" y="6454864"/>
            <a:ext cx="427074" cy="427074"/>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64" name="TextBox 63">
            <a:extLst>
              <a:ext uri="{FF2B5EF4-FFF2-40B4-BE49-F238E27FC236}">
                <a16:creationId xmlns:a16="http://schemas.microsoft.com/office/drawing/2014/main" id="{E701ED9F-9C9B-4C47-9644-B87ABD3F7FAE}"/>
              </a:ext>
            </a:extLst>
          </p:cNvPr>
          <p:cNvSpPr txBox="1"/>
          <p:nvPr userDrawn="1"/>
        </p:nvSpPr>
        <p:spPr bwMode="gray">
          <a:xfrm>
            <a:off x="11621841" y="6525041"/>
            <a:ext cx="255537" cy="200440"/>
          </a:xfrm>
          <a:prstGeom prst="rect">
            <a:avLst/>
          </a:prstGeom>
        </p:spPr>
        <p:txBody>
          <a:bodyPr wrap="square" lIns="0" rIns="0" rtlCol="0" anchor="b" anchorCtr="0">
            <a:noAutofit/>
          </a:bodyPr>
          <a:lstStyle/>
          <a:p>
            <a:pPr algn="ctr">
              <a:lnSpc>
                <a:spcPts val="891"/>
              </a:lnSpc>
            </a:pPr>
            <a:fld id="{7CA6D80E-4757-49F8-A753-97B21278F7E3}" type="slidenum">
              <a:rPr lang="en-US" sz="691" b="1" smtClean="0">
                <a:solidFill>
                  <a:schemeClr val="bg1"/>
                </a:solidFill>
                <a:latin typeface="Calibri" panose="020F0502020204030204" pitchFamily="34" charset="0"/>
              </a:rPr>
              <a:pPr algn="ctr">
                <a:lnSpc>
                  <a:spcPts val="891"/>
                </a:lnSpc>
              </a:pPr>
              <a:t>‹#›</a:t>
            </a:fld>
            <a:endParaRPr lang="en-US" sz="691" b="1" dirty="0">
              <a:solidFill>
                <a:schemeClr val="bg1"/>
              </a:solidFill>
              <a:latin typeface="Calibri" panose="020F0502020204030204" pitchFamily="34" charset="0"/>
            </a:endParaRPr>
          </a:p>
        </p:txBody>
      </p:sp>
      <p:sp>
        <p:nvSpPr>
          <p:cNvPr id="65" name="Rectangle 64">
            <a:extLst>
              <a:ext uri="{FF2B5EF4-FFF2-40B4-BE49-F238E27FC236}">
                <a16:creationId xmlns:a16="http://schemas.microsoft.com/office/drawing/2014/main" id="{B8065BDA-2640-404D-A729-240CB92EF8EE}"/>
              </a:ext>
            </a:extLst>
          </p:cNvPr>
          <p:cNvSpPr/>
          <p:nvPr userDrawn="1"/>
        </p:nvSpPr>
        <p:spPr bwMode="gray">
          <a:xfrm>
            <a:off x="11307787" y="1955994"/>
            <a:ext cx="884213" cy="978408"/>
          </a:xfrm>
          <a:prstGeom prst="rect">
            <a:avLst/>
          </a:prstGeom>
          <a:solidFill>
            <a:srgbClr val="00A3E0"/>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66" name="Rectangle 65">
            <a:extLst>
              <a:ext uri="{FF2B5EF4-FFF2-40B4-BE49-F238E27FC236}">
                <a16:creationId xmlns:a16="http://schemas.microsoft.com/office/drawing/2014/main" id="{A570B921-8026-475D-9643-B25D344F096A}"/>
              </a:ext>
            </a:extLst>
          </p:cNvPr>
          <p:cNvSpPr/>
          <p:nvPr userDrawn="1"/>
        </p:nvSpPr>
        <p:spPr>
          <a:xfrm>
            <a:off x="11349439" y="248627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Capabilities</a:t>
            </a:r>
            <a:endParaRPr lang="en-US" sz="891" b="0" dirty="0">
              <a:solidFill>
                <a:schemeClr val="bg1"/>
              </a:solidFill>
              <a:latin typeface="Calibri" panose="020F0502020204030204" pitchFamily="34" charset="0"/>
            </a:endParaRPr>
          </a:p>
        </p:txBody>
      </p:sp>
      <p:grpSp>
        <p:nvGrpSpPr>
          <p:cNvPr id="67" name="Group 66">
            <a:extLst>
              <a:ext uri="{FF2B5EF4-FFF2-40B4-BE49-F238E27FC236}">
                <a16:creationId xmlns:a16="http://schemas.microsoft.com/office/drawing/2014/main" id="{FC3DBA5F-F516-4292-AE58-E31A5D7C974C}"/>
              </a:ext>
            </a:extLst>
          </p:cNvPr>
          <p:cNvGrpSpPr/>
          <p:nvPr userDrawn="1"/>
        </p:nvGrpSpPr>
        <p:grpSpPr>
          <a:xfrm>
            <a:off x="11565911" y="2066214"/>
            <a:ext cx="367982" cy="367982"/>
            <a:chOff x="7104733" y="1340898"/>
            <a:chExt cx="367982" cy="367982"/>
          </a:xfrm>
          <a:solidFill>
            <a:schemeClr val="bg1"/>
          </a:solidFill>
        </p:grpSpPr>
        <p:grpSp>
          <p:nvGrpSpPr>
            <p:cNvPr id="68" name="Group 67">
              <a:extLst>
                <a:ext uri="{FF2B5EF4-FFF2-40B4-BE49-F238E27FC236}">
                  <a16:creationId xmlns:a16="http://schemas.microsoft.com/office/drawing/2014/main" id="{1ECBD8F4-0494-4D02-A10A-96980AAD2B6A}"/>
                </a:ext>
              </a:extLst>
            </p:cNvPr>
            <p:cNvGrpSpPr/>
            <p:nvPr/>
          </p:nvGrpSpPr>
          <p:grpSpPr>
            <a:xfrm>
              <a:off x="7169563" y="1396188"/>
              <a:ext cx="224761" cy="257402"/>
              <a:chOff x="9812338" y="2919413"/>
              <a:chExt cx="382588" cy="438150"/>
            </a:xfrm>
            <a:grpFill/>
          </p:grpSpPr>
          <p:sp>
            <p:nvSpPr>
              <p:cNvPr id="70" name="Freeform 503">
                <a:extLst>
                  <a:ext uri="{FF2B5EF4-FFF2-40B4-BE49-F238E27FC236}">
                    <a16:creationId xmlns:a16="http://schemas.microsoft.com/office/drawing/2014/main" id="{D2AC28BF-043F-4CD7-AA4C-9B2229579915}"/>
                  </a:ext>
                </a:extLst>
              </p:cNvPr>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71" name="Freeform 504">
                <a:extLst>
                  <a:ext uri="{FF2B5EF4-FFF2-40B4-BE49-F238E27FC236}">
                    <a16:creationId xmlns:a16="http://schemas.microsoft.com/office/drawing/2014/main" id="{838F6915-EBC7-4208-9B51-A56FDA0BE0D7}"/>
                  </a:ext>
                </a:extLst>
              </p:cNvPr>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72" name="Freeform 505">
                <a:extLst>
                  <a:ext uri="{FF2B5EF4-FFF2-40B4-BE49-F238E27FC236}">
                    <a16:creationId xmlns:a16="http://schemas.microsoft.com/office/drawing/2014/main" id="{6744BC1C-BEA8-473B-BD3A-6D6C8E533394}"/>
                  </a:ext>
                </a:extLst>
              </p:cNvPr>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69" name="Freeform 547">
              <a:extLst>
                <a:ext uri="{FF2B5EF4-FFF2-40B4-BE49-F238E27FC236}">
                  <a16:creationId xmlns:a16="http://schemas.microsoft.com/office/drawing/2014/main" id="{4631D410-CFD5-407F-A5F3-2DC1A5EFC899}"/>
                </a:ext>
              </a:extLst>
            </p:cNvPr>
            <p:cNvSpPr>
              <a:spLocks noEditPoints="1"/>
            </p:cNvSpPr>
            <p:nvPr/>
          </p:nvSpPr>
          <p:spPr bwMode="auto">
            <a:xfrm>
              <a:off x="7104733" y="134089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sp>
        <p:nvSpPr>
          <p:cNvPr id="73" name="TextBox 72">
            <a:extLst>
              <a:ext uri="{FF2B5EF4-FFF2-40B4-BE49-F238E27FC236}">
                <a16:creationId xmlns:a16="http://schemas.microsoft.com/office/drawing/2014/main" id="{B6B2A55B-A000-4DAF-A3AE-2E539A729602}"/>
              </a:ext>
            </a:extLst>
          </p:cNvPr>
          <p:cNvSpPr txBox="1"/>
          <p:nvPr userDrawn="1"/>
        </p:nvSpPr>
        <p:spPr>
          <a:xfrm>
            <a:off x="622309" y="6629418"/>
            <a:ext cx="5355167" cy="100027"/>
          </a:xfrm>
          <a:prstGeom prst="rect">
            <a:avLst/>
          </a:prstGeom>
          <a:noFill/>
        </p:spPr>
        <p:txBody>
          <a:bodyPr wrap="square" lIns="0" tIns="0" rIns="0" bIns="0" rtlCol="0">
            <a:spAutoFit/>
          </a:bodyPr>
          <a:lstStyle/>
          <a:p>
            <a:pPr marL="0" indent="0">
              <a:spcBef>
                <a:spcPts val="791"/>
              </a:spcBef>
              <a:buSzPct val="100000"/>
              <a:buFont typeface="Arial"/>
              <a:buNone/>
            </a:pPr>
            <a:r>
              <a:rPr lang="en-US" sz="641" noProof="0" dirty="0">
                <a:solidFill>
                  <a:schemeClr val="bg1"/>
                </a:solidFill>
                <a:latin typeface="Calibri" panose="020F0502020204030204" pitchFamily="34" charset="0"/>
              </a:rPr>
              <a:t>© 2023 Deloitte &amp; Touche Advisory Saudi Limited. All rights reserved.</a:t>
            </a:r>
          </a:p>
        </p:txBody>
      </p:sp>
    </p:spTree>
    <p:extLst>
      <p:ext uri="{BB962C8B-B14F-4D97-AF65-F5344CB8AC3E}">
        <p14:creationId xmlns:p14="http://schemas.microsoft.com/office/powerpoint/2010/main" val="50143287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10" y="1705686"/>
            <a:ext cx="10418233" cy="1592403"/>
          </a:xfrm>
        </p:spPr>
        <p:txBody>
          <a:bodyPr anchor="b"/>
          <a:lstStyle>
            <a:lvl1pPr>
              <a:lnSpc>
                <a:spcPct val="95000"/>
              </a:lnSpc>
              <a:defRPr sz="3814" b="0" i="0">
                <a:solidFill>
                  <a:schemeClr val="tx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14">
                <a:solidFill>
                  <a:schemeClr val="tx1"/>
                </a:solidFill>
              </a:defRPr>
            </a:lvl1pPr>
            <a:lvl2pPr marL="604120" indent="0">
              <a:buNone/>
              <a:defRPr sz="2640">
                <a:solidFill>
                  <a:schemeClr val="tx1">
                    <a:tint val="75000"/>
                  </a:schemeClr>
                </a:solidFill>
              </a:defRPr>
            </a:lvl2pPr>
            <a:lvl3pPr marL="1208241" indent="0">
              <a:buNone/>
              <a:defRPr sz="2382">
                <a:solidFill>
                  <a:schemeClr val="tx1">
                    <a:tint val="75000"/>
                  </a:schemeClr>
                </a:solidFill>
              </a:defRPr>
            </a:lvl3pPr>
            <a:lvl4pPr marL="1812361" indent="0">
              <a:buNone/>
              <a:defRPr sz="2115">
                <a:solidFill>
                  <a:schemeClr val="tx1">
                    <a:tint val="75000"/>
                  </a:schemeClr>
                </a:solidFill>
              </a:defRPr>
            </a:lvl4pPr>
            <a:lvl5pPr marL="2416482" indent="0">
              <a:buNone/>
              <a:defRPr sz="2115">
                <a:solidFill>
                  <a:schemeClr val="tx1">
                    <a:tint val="75000"/>
                  </a:schemeClr>
                </a:solidFill>
              </a:defRPr>
            </a:lvl5pPr>
            <a:lvl6pPr marL="3020600" indent="0">
              <a:buNone/>
              <a:defRPr sz="2115">
                <a:solidFill>
                  <a:schemeClr val="tx1">
                    <a:tint val="75000"/>
                  </a:schemeClr>
                </a:solidFill>
              </a:defRPr>
            </a:lvl6pPr>
            <a:lvl7pPr marL="3624722" indent="0">
              <a:buNone/>
              <a:defRPr sz="2115">
                <a:solidFill>
                  <a:schemeClr val="tx1">
                    <a:tint val="75000"/>
                  </a:schemeClr>
                </a:solidFill>
              </a:defRPr>
            </a:lvl7pPr>
            <a:lvl8pPr marL="4228842" indent="0">
              <a:buNone/>
              <a:defRPr sz="2115">
                <a:solidFill>
                  <a:schemeClr val="tx1">
                    <a:tint val="75000"/>
                  </a:schemeClr>
                </a:solidFill>
              </a:defRPr>
            </a:lvl8pPr>
            <a:lvl9pPr marL="4832963" indent="0">
              <a:buNone/>
              <a:defRPr sz="2115">
                <a:solidFill>
                  <a:schemeClr val="tx1">
                    <a:tint val="75000"/>
                  </a:schemeClr>
                </a:solidFill>
              </a:defRPr>
            </a:lvl9pPr>
          </a:lstStyle>
          <a:p>
            <a:pPr lvl="0"/>
            <a:r>
              <a:rPr lang="en-US" noProof="0"/>
              <a:t>Edit Master text styles</a:t>
            </a:r>
          </a:p>
        </p:txBody>
      </p:sp>
      <p:sp>
        <p:nvSpPr>
          <p:cNvPr id="4" name="Rectangle 3">
            <a:hlinkClick r:id="rId2" action="ppaction://hlinksldjump" tooltip="Executive summary" highlightClick="1"/>
            <a:extLst>
              <a:ext uri="{FF2B5EF4-FFF2-40B4-BE49-F238E27FC236}">
                <a16:creationId xmlns:a16="http://schemas.microsoft.com/office/drawing/2014/main" id="{59385529-BA80-40A3-AD14-B83C4F20EAF9}"/>
              </a:ext>
            </a:extLst>
          </p:cNvPr>
          <p:cNvSpPr/>
          <p:nvPr userDrawn="1"/>
        </p:nvSpPr>
        <p:spPr bwMode="gray">
          <a:xfrm>
            <a:off x="11307787" y="0"/>
            <a:ext cx="884213" cy="984744"/>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5" name="Rectangle 4">
            <a:hlinkClick r:id="rId3" action="ppaction://hlinksldjump" tooltip="Innovating delivery" highlightClick="1"/>
            <a:extLst>
              <a:ext uri="{FF2B5EF4-FFF2-40B4-BE49-F238E27FC236}">
                <a16:creationId xmlns:a16="http://schemas.microsoft.com/office/drawing/2014/main" id="{A28E48C7-E64A-4D43-A692-E789CFE3E946}"/>
              </a:ext>
            </a:extLst>
          </p:cNvPr>
          <p:cNvSpPr/>
          <p:nvPr userDrawn="1"/>
        </p:nvSpPr>
        <p:spPr bwMode="gray">
          <a:xfrm>
            <a:off x="11307787" y="1965849"/>
            <a:ext cx="884213" cy="984744"/>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6" name="Rectangle 5">
            <a:hlinkClick r:id="rId4" action="ppaction://hlinksldjump" tooltip="Client references" highlightClick="1"/>
            <a:extLst>
              <a:ext uri="{FF2B5EF4-FFF2-40B4-BE49-F238E27FC236}">
                <a16:creationId xmlns:a16="http://schemas.microsoft.com/office/drawing/2014/main" id="{CFD0748E-9025-4A99-BFF7-0BC37FF285FC}"/>
              </a:ext>
            </a:extLst>
          </p:cNvPr>
          <p:cNvSpPr/>
          <p:nvPr userDrawn="1"/>
        </p:nvSpPr>
        <p:spPr bwMode="gray">
          <a:xfrm>
            <a:off x="11307787" y="2953369"/>
            <a:ext cx="884213" cy="965124"/>
          </a:xfrm>
          <a:prstGeom prst="rect">
            <a:avLst/>
          </a:prstGeom>
          <a:solidFill>
            <a:srgbClr val="046A38">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7" name="Rectangle 6">
            <a:hlinkClick r:id="rId5" action="ppaction://hlinksldjump" tooltip="Pricing and fees" highlightClick="1"/>
            <a:extLst>
              <a:ext uri="{FF2B5EF4-FFF2-40B4-BE49-F238E27FC236}">
                <a16:creationId xmlns:a16="http://schemas.microsoft.com/office/drawing/2014/main" id="{ECBB822B-2CAD-4050-B6FC-0BB891137BCC}"/>
              </a:ext>
            </a:extLst>
          </p:cNvPr>
          <p:cNvSpPr/>
          <p:nvPr userDrawn="1"/>
        </p:nvSpPr>
        <p:spPr bwMode="gray">
          <a:xfrm>
            <a:off x="11307641" y="3904466"/>
            <a:ext cx="884213" cy="975609"/>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8" name="Rectangle 7">
            <a:hlinkClick r:id="rId6" action="ppaction://hlinksldjump" tooltip="Our family" highlightClick="1"/>
            <a:extLst>
              <a:ext uri="{FF2B5EF4-FFF2-40B4-BE49-F238E27FC236}">
                <a16:creationId xmlns:a16="http://schemas.microsoft.com/office/drawing/2014/main" id="{C4044B86-7FBF-4637-A49A-44D9EEDA3F77}"/>
              </a:ext>
            </a:extLst>
          </p:cNvPr>
          <p:cNvSpPr/>
          <p:nvPr userDrawn="1"/>
        </p:nvSpPr>
        <p:spPr bwMode="gray">
          <a:xfrm>
            <a:off x="11307495" y="4881695"/>
            <a:ext cx="884213" cy="978408"/>
          </a:xfrm>
          <a:prstGeom prst="rect">
            <a:avLst/>
          </a:prstGeom>
          <a:solidFill>
            <a:srgbClr val="046A38">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grpSp>
        <p:nvGrpSpPr>
          <p:cNvPr id="9" name="Group 8">
            <a:extLst>
              <a:ext uri="{FF2B5EF4-FFF2-40B4-BE49-F238E27FC236}">
                <a16:creationId xmlns:a16="http://schemas.microsoft.com/office/drawing/2014/main" id="{811A9A1C-6430-4571-ABDD-BF1DE20FD011}"/>
              </a:ext>
            </a:extLst>
          </p:cNvPr>
          <p:cNvGrpSpPr/>
          <p:nvPr userDrawn="1"/>
        </p:nvGrpSpPr>
        <p:grpSpPr>
          <a:xfrm>
            <a:off x="10835777" y="6454064"/>
            <a:ext cx="367881" cy="367881"/>
            <a:chOff x="2624423" y="132075"/>
            <a:chExt cx="864729" cy="864729"/>
          </a:xfrm>
        </p:grpSpPr>
        <p:sp>
          <p:nvSpPr>
            <p:cNvPr id="10" name="Oval 9">
              <a:extLst>
                <a:ext uri="{FF2B5EF4-FFF2-40B4-BE49-F238E27FC236}">
                  <a16:creationId xmlns:a16="http://schemas.microsoft.com/office/drawing/2014/main" id="{9724DFBB-5F53-41C2-A5E1-13B576086F72}"/>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1" name="Group 22">
              <a:extLst>
                <a:ext uri="{FF2B5EF4-FFF2-40B4-BE49-F238E27FC236}">
                  <a16:creationId xmlns:a16="http://schemas.microsoft.com/office/drawing/2014/main" id="{B44BF544-9686-4E43-8C76-0945167401DA}"/>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12" name="Freeform 23">
                <a:extLst>
                  <a:ext uri="{FF2B5EF4-FFF2-40B4-BE49-F238E27FC236}">
                    <a16:creationId xmlns:a16="http://schemas.microsoft.com/office/drawing/2014/main" id="{F6CD9AEF-0188-4635-BC94-373A77DFCFE8}"/>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sp>
            <p:nvSpPr>
              <p:cNvPr id="13" name="Freeform 24">
                <a:extLst>
                  <a:ext uri="{FF2B5EF4-FFF2-40B4-BE49-F238E27FC236}">
                    <a16:creationId xmlns:a16="http://schemas.microsoft.com/office/drawing/2014/main" id="{5B43EABF-0C0C-4C48-BC29-7DB868DA718D}"/>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grpSp>
      </p:grpSp>
      <p:sp>
        <p:nvSpPr>
          <p:cNvPr id="14" name="Oval 13">
            <a:hlinkClick r:id="rId7" action="ppaction://hlinksldjump" tooltip="Home" highlightClick="1"/>
            <a:extLst>
              <a:ext uri="{FF2B5EF4-FFF2-40B4-BE49-F238E27FC236}">
                <a16:creationId xmlns:a16="http://schemas.microsoft.com/office/drawing/2014/main" id="{D08B49A1-238F-4820-A33D-6C8EB5B31C1C}"/>
              </a:ext>
            </a:extLst>
          </p:cNvPr>
          <p:cNvSpPr/>
          <p:nvPr userDrawn="1"/>
        </p:nvSpPr>
        <p:spPr bwMode="gray">
          <a:xfrm>
            <a:off x="10795524" y="6454864"/>
            <a:ext cx="427074" cy="427074"/>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06698418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rgbClr val="7F7F7F"/>
        </a:solidFill>
        <a:effectLst/>
      </p:bgPr>
    </p:bg>
    <p:spTree>
      <p:nvGrpSpPr>
        <p:cNvPr id="1" name=""/>
        <p:cNvGrpSpPr/>
        <p:nvPr/>
      </p:nvGrpSpPr>
      <p:grpSpPr>
        <a:xfrm>
          <a:off x="0" y="0"/>
          <a:ext cx="0" cy="0"/>
          <a:chOff x="0" y="0"/>
          <a:chExt cx="0" cy="0"/>
        </a:xfrm>
      </p:grpSpPr>
      <p:sp>
        <p:nvSpPr>
          <p:cNvPr id="19" name="Copyright"/>
          <p:cNvSpPr txBox="1"/>
          <p:nvPr userDrawn="1"/>
        </p:nvSpPr>
        <p:spPr>
          <a:xfrm>
            <a:off x="469909" y="6477018"/>
            <a:ext cx="5355167" cy="100027"/>
          </a:xfrm>
          <a:prstGeom prst="rect">
            <a:avLst/>
          </a:prstGeom>
          <a:noFill/>
        </p:spPr>
        <p:txBody>
          <a:bodyPr wrap="square" lIns="0" tIns="0" rIns="0" bIns="0" rtlCol="0">
            <a:spAutoFit/>
          </a:bodyPr>
          <a:lstStyle/>
          <a:p>
            <a:pPr marL="0" indent="0">
              <a:spcBef>
                <a:spcPts val="791"/>
              </a:spcBef>
              <a:buSzPct val="100000"/>
              <a:buFont typeface="Arial"/>
              <a:buNone/>
            </a:pPr>
            <a:r>
              <a:rPr lang="en-US" sz="641" noProof="0" dirty="0">
                <a:solidFill>
                  <a:schemeClr val="bg1"/>
                </a:solidFill>
                <a:latin typeface="Calibri" panose="020F0502020204030204" pitchFamily="34" charset="0"/>
              </a:rPr>
              <a:t>Copyright © 2019 Deloitte Development LLC. All rights reserved.</a:t>
            </a:r>
          </a:p>
        </p:txBody>
      </p:sp>
      <p:sp>
        <p:nvSpPr>
          <p:cNvPr id="59" name="Text Placeholder 8">
            <a:extLst>
              <a:ext uri="{FF2B5EF4-FFF2-40B4-BE49-F238E27FC236}">
                <a16:creationId xmlns:a16="http://schemas.microsoft.com/office/drawing/2014/main" id="{08198F33-BA62-4225-9551-E2CDD68ACCD8}"/>
              </a:ext>
            </a:extLst>
          </p:cNvPr>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chemeClr val="bg1"/>
                </a:solidFill>
              </a:defRPr>
            </a:lvl1pPr>
          </a:lstStyle>
          <a:p>
            <a:pPr lvl="0"/>
            <a:r>
              <a:rPr lang="en-US" noProof="0" dirty="0"/>
              <a:t>Click to add subtitle</a:t>
            </a:r>
          </a:p>
        </p:txBody>
      </p:sp>
      <p:sp>
        <p:nvSpPr>
          <p:cNvPr id="60" name="Title Placeholder 1">
            <a:extLst>
              <a:ext uri="{FF2B5EF4-FFF2-40B4-BE49-F238E27FC236}">
                <a16:creationId xmlns:a16="http://schemas.microsoft.com/office/drawing/2014/main" id="{BDC72A00-958C-459F-971E-F8B29CABB969}"/>
              </a:ext>
            </a:extLst>
          </p:cNvPr>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solidFill>
                  <a:schemeClr val="bg1"/>
                </a:solidFill>
              </a:defRPr>
            </a:lvl1pPr>
          </a:lstStyle>
          <a:p>
            <a:r>
              <a:rPr lang="en-US" noProof="0" dirty="0"/>
              <a:t>Click to edit Master title style</a:t>
            </a:r>
          </a:p>
        </p:txBody>
      </p:sp>
      <p:sp>
        <p:nvSpPr>
          <p:cNvPr id="61" name="Text Placeholder 18">
            <a:extLst>
              <a:ext uri="{FF2B5EF4-FFF2-40B4-BE49-F238E27FC236}">
                <a16:creationId xmlns:a16="http://schemas.microsoft.com/office/drawing/2014/main" id="{353797D3-DF1B-487F-A65D-CD31F2A47832}"/>
              </a:ext>
            </a:extLst>
          </p:cNvPr>
          <p:cNvSpPr>
            <a:spLocks noGrp="1"/>
          </p:cNvSpPr>
          <p:nvPr>
            <p:ph idx="1"/>
          </p:nvPr>
        </p:nvSpPr>
        <p:spPr>
          <a:xfrm>
            <a:off x="469909" y="1665818"/>
            <a:ext cx="11252200" cy="4633383"/>
          </a:xfrm>
          <a:prstGeom prst="rect">
            <a:avLst/>
          </a:prstGeom>
        </p:spPr>
        <p:txBody>
          <a:bodyPr vert="horz" lIns="0" tIns="0" rIns="0" bIns="0" rtlCol="0">
            <a:noAutofit/>
          </a:bodyPr>
          <a:lstStyle>
            <a:lvl1pPr marL="0" indent="0" algn="l">
              <a:buFontTx/>
              <a:buNone/>
              <a:defRPr>
                <a:solidFill>
                  <a:schemeClr val="bg1"/>
                </a:solidFill>
              </a:defRPr>
            </a:lvl1pPr>
            <a:lvl2pPr marL="125862" indent="-125862" algn="l">
              <a:buClrTx/>
              <a:buSzPct val="100000"/>
              <a:buFont typeface="Arial" panose="020B0604020202020204" pitchFamily="34" charset="0"/>
              <a:buChar char="•"/>
              <a:defRPr>
                <a:solidFill>
                  <a:schemeClr val="bg1"/>
                </a:solidFill>
              </a:defRPr>
            </a:lvl2pPr>
            <a:lvl3pPr marL="276896" indent="-125862" algn="l">
              <a:buClrTx/>
              <a:buSzPct val="100000"/>
              <a:buFont typeface="Arial" panose="020B0604020202020204" pitchFamily="34" charset="0"/>
              <a:buChar char="−"/>
              <a:defRPr>
                <a:solidFill>
                  <a:schemeClr val="bg1"/>
                </a:solidFill>
              </a:defRPr>
            </a:lvl3pPr>
            <a:lvl4pPr marL="427929" indent="-125862" algn="l">
              <a:buClrTx/>
              <a:buSzPct val="100000"/>
              <a:buFont typeface="Arial" panose="020B0604020202020204" pitchFamily="34" charset="0"/>
              <a:buChar char="◦"/>
              <a:defRPr>
                <a:solidFill>
                  <a:schemeClr val="bg1"/>
                </a:solidFill>
              </a:defRPr>
            </a:lvl4pPr>
            <a:lvl5pPr marL="578963" indent="-125862" algn="l">
              <a:buClrTx/>
              <a:buSzPct val="100000"/>
              <a:buFont typeface="Arial" panose="020B0604020202020204" pitchFamily="34" charset="0"/>
              <a:buChar cha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grpSp>
        <p:nvGrpSpPr>
          <p:cNvPr id="73" name="Group 72">
            <a:extLst>
              <a:ext uri="{FF2B5EF4-FFF2-40B4-BE49-F238E27FC236}">
                <a16:creationId xmlns:a16="http://schemas.microsoft.com/office/drawing/2014/main" id="{15E35E6B-14DC-4EA9-826F-3EC6D90605E8}"/>
              </a:ext>
            </a:extLst>
          </p:cNvPr>
          <p:cNvGrpSpPr/>
          <p:nvPr userDrawn="1"/>
        </p:nvGrpSpPr>
        <p:grpSpPr>
          <a:xfrm>
            <a:off x="10835777" y="6454064"/>
            <a:ext cx="367881" cy="367881"/>
            <a:chOff x="2624423" y="132075"/>
            <a:chExt cx="864729" cy="864729"/>
          </a:xfrm>
        </p:grpSpPr>
        <p:sp>
          <p:nvSpPr>
            <p:cNvPr id="74" name="Oval 73">
              <a:extLst>
                <a:ext uri="{FF2B5EF4-FFF2-40B4-BE49-F238E27FC236}">
                  <a16:creationId xmlns:a16="http://schemas.microsoft.com/office/drawing/2014/main" id="{8579193C-8142-45D7-A8D9-87A1AADE3ACA}"/>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75" name="Group 22">
              <a:extLst>
                <a:ext uri="{FF2B5EF4-FFF2-40B4-BE49-F238E27FC236}">
                  <a16:creationId xmlns:a16="http://schemas.microsoft.com/office/drawing/2014/main" id="{8D4D1B44-FB35-4E12-B92E-EC985E164298}"/>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76" name="Freeform 23">
                <a:extLst>
                  <a:ext uri="{FF2B5EF4-FFF2-40B4-BE49-F238E27FC236}">
                    <a16:creationId xmlns:a16="http://schemas.microsoft.com/office/drawing/2014/main" id="{2428C1E5-15D5-4F5D-AAC5-F437D89C8EDE}"/>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sp>
            <p:nvSpPr>
              <p:cNvPr id="77" name="Freeform 24">
                <a:extLst>
                  <a:ext uri="{FF2B5EF4-FFF2-40B4-BE49-F238E27FC236}">
                    <a16:creationId xmlns:a16="http://schemas.microsoft.com/office/drawing/2014/main" id="{E1D72D61-657E-4DBB-9B73-CDB7354DA190}"/>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grpSp>
      </p:grpSp>
      <p:sp>
        <p:nvSpPr>
          <p:cNvPr id="78" name="Oval 77">
            <a:hlinkClick r:id="rId2" action="ppaction://hlinksldjump" tooltip="Home"/>
            <a:extLst>
              <a:ext uri="{FF2B5EF4-FFF2-40B4-BE49-F238E27FC236}">
                <a16:creationId xmlns:a16="http://schemas.microsoft.com/office/drawing/2014/main" id="{E157FD07-C1C1-4E41-9127-1B06199D4B8B}"/>
              </a:ext>
            </a:extLst>
          </p:cNvPr>
          <p:cNvSpPr/>
          <p:nvPr userDrawn="1"/>
        </p:nvSpPr>
        <p:spPr bwMode="gray">
          <a:xfrm>
            <a:off x="10795524" y="6454864"/>
            <a:ext cx="427074" cy="427074"/>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69" name="Rectangle 68">
            <a:hlinkClick r:id="rId3" action="ppaction://hlinksldjump" tooltip="Pricing and fees"/>
            <a:extLst>
              <a:ext uri="{FF2B5EF4-FFF2-40B4-BE49-F238E27FC236}">
                <a16:creationId xmlns:a16="http://schemas.microsoft.com/office/drawing/2014/main" id="{6C85502E-9FA6-4D2A-8AE5-411D1608AA74}"/>
              </a:ext>
            </a:extLst>
          </p:cNvPr>
          <p:cNvSpPr/>
          <p:nvPr userDrawn="1"/>
        </p:nvSpPr>
        <p:spPr bwMode="gray">
          <a:xfrm>
            <a:off x="11307641" y="3904466"/>
            <a:ext cx="884213" cy="975609"/>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72" name="Rectangle 71">
            <a:hlinkClick r:id="rId4" action="ppaction://hlinksldjump" tooltip="Client references"/>
            <a:extLst>
              <a:ext uri="{FF2B5EF4-FFF2-40B4-BE49-F238E27FC236}">
                <a16:creationId xmlns:a16="http://schemas.microsoft.com/office/drawing/2014/main" id="{1FAAB899-0767-4C67-AFE3-64DE39DE5AA6}"/>
              </a:ext>
            </a:extLst>
          </p:cNvPr>
          <p:cNvSpPr/>
          <p:nvPr userDrawn="1"/>
        </p:nvSpPr>
        <p:spPr bwMode="gray">
          <a:xfrm>
            <a:off x="11307787" y="2953369"/>
            <a:ext cx="884213" cy="965124"/>
          </a:xfrm>
          <a:prstGeom prst="rect">
            <a:avLst/>
          </a:prstGeom>
          <a:solidFill>
            <a:srgbClr val="046A38">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83" name="Rectangle 82">
            <a:extLst>
              <a:ext uri="{FF2B5EF4-FFF2-40B4-BE49-F238E27FC236}">
                <a16:creationId xmlns:a16="http://schemas.microsoft.com/office/drawing/2014/main" id="{B934452E-27F4-411F-AD7C-AAEEF24B351A}"/>
              </a:ext>
            </a:extLst>
          </p:cNvPr>
          <p:cNvSpPr/>
          <p:nvPr userDrawn="1"/>
        </p:nvSpPr>
        <p:spPr bwMode="gray">
          <a:xfrm>
            <a:off x="11307787" y="5745562"/>
            <a:ext cx="884213" cy="1112438"/>
          </a:xfrm>
          <a:prstGeom prst="rect">
            <a:avLst/>
          </a:prstGeom>
          <a:solidFill>
            <a:srgbClr val="343434"/>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85" name="Rectangle 84">
            <a:extLst>
              <a:ext uri="{FF2B5EF4-FFF2-40B4-BE49-F238E27FC236}">
                <a16:creationId xmlns:a16="http://schemas.microsoft.com/office/drawing/2014/main" id="{6D907470-A248-48B9-8A40-3F282D0786C8}"/>
              </a:ext>
            </a:extLst>
          </p:cNvPr>
          <p:cNvSpPr/>
          <p:nvPr userDrawn="1"/>
        </p:nvSpPr>
        <p:spPr>
          <a:xfrm>
            <a:off x="11349439" y="5969718"/>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endix</a:t>
            </a:r>
            <a:endParaRPr lang="en-US" sz="891" b="0" dirty="0">
              <a:solidFill>
                <a:schemeClr val="bg1"/>
              </a:solidFill>
              <a:latin typeface="Calibri" panose="020F0502020204030204" pitchFamily="34" charset="0"/>
            </a:endParaRPr>
          </a:p>
        </p:txBody>
      </p:sp>
      <p:grpSp>
        <p:nvGrpSpPr>
          <p:cNvPr id="86" name="Group 85">
            <a:extLst>
              <a:ext uri="{FF2B5EF4-FFF2-40B4-BE49-F238E27FC236}">
                <a16:creationId xmlns:a16="http://schemas.microsoft.com/office/drawing/2014/main" id="{FA382298-5FA0-4E27-B707-74214319422A}"/>
              </a:ext>
            </a:extLst>
          </p:cNvPr>
          <p:cNvGrpSpPr/>
          <p:nvPr userDrawn="1"/>
        </p:nvGrpSpPr>
        <p:grpSpPr>
          <a:xfrm>
            <a:off x="11501750" y="6555510"/>
            <a:ext cx="496285" cy="143992"/>
            <a:chOff x="12956047" y="8113587"/>
            <a:chExt cx="496285" cy="143992"/>
          </a:xfrm>
        </p:grpSpPr>
        <p:sp>
          <p:nvSpPr>
            <p:cNvPr id="87" name="object 21">
              <a:hlinkClick r:id="" action="ppaction://hlinkshowjump?jump=nextslide" highlightClick="1"/>
              <a:extLst>
                <a:ext uri="{FF2B5EF4-FFF2-40B4-BE49-F238E27FC236}">
                  <a16:creationId xmlns:a16="http://schemas.microsoft.com/office/drawing/2014/main" id="{559D8513-CE40-4CAF-81A9-D1ACB4AE6A71}"/>
                </a:ext>
              </a:extLst>
            </p:cNvPr>
            <p:cNvSpPr/>
            <p:nvPr userDrawn="1"/>
          </p:nvSpPr>
          <p:spPr>
            <a:xfrm>
              <a:off x="13308327" y="8113587"/>
              <a:ext cx="144005" cy="143992"/>
            </a:xfrm>
            <a:prstGeom prst="rect">
              <a:avLst/>
            </a:prstGeom>
            <a:blipFill>
              <a:blip r:embed="rId5" cstate="screen">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endParaRPr sz="2773" dirty="0">
                <a:latin typeface="Calibri" panose="020F0502020204030204" pitchFamily="34" charset="0"/>
              </a:endParaRPr>
            </a:p>
          </p:txBody>
        </p:sp>
        <p:sp>
          <p:nvSpPr>
            <p:cNvPr id="88" name="object 22">
              <a:hlinkClick r:id="" action="ppaction://hlinkshowjump?jump=previousslide" highlightClick="1"/>
              <a:extLst>
                <a:ext uri="{FF2B5EF4-FFF2-40B4-BE49-F238E27FC236}">
                  <a16:creationId xmlns:a16="http://schemas.microsoft.com/office/drawing/2014/main" id="{43A43445-EA00-4A60-967F-D7D9F60EA328}"/>
                </a:ext>
              </a:extLst>
            </p:cNvPr>
            <p:cNvSpPr/>
            <p:nvPr userDrawn="1"/>
          </p:nvSpPr>
          <p:spPr>
            <a:xfrm>
              <a:off x="12956047" y="8113587"/>
              <a:ext cx="144005" cy="143992"/>
            </a:xfrm>
            <a:prstGeom prst="rect">
              <a:avLst/>
            </a:prstGeom>
            <a:blipFill>
              <a:blip r:embed="rId7" cstate="screen">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a:blipFill>
            <a:ln>
              <a:noFill/>
            </a:ln>
          </p:spPr>
          <p:txBody>
            <a:bodyPr wrap="square" lIns="0" tIns="0" rIns="0" bIns="0" rtlCol="0"/>
            <a:lstStyle/>
            <a:p>
              <a:endParaRPr sz="2773" dirty="0">
                <a:latin typeface="Calibri" panose="020F0502020204030204" pitchFamily="34" charset="0"/>
              </a:endParaRPr>
            </a:p>
          </p:txBody>
        </p:sp>
      </p:grpSp>
      <p:grpSp>
        <p:nvGrpSpPr>
          <p:cNvPr id="89" name="Group 88">
            <a:extLst>
              <a:ext uri="{FF2B5EF4-FFF2-40B4-BE49-F238E27FC236}">
                <a16:creationId xmlns:a16="http://schemas.microsoft.com/office/drawing/2014/main" id="{6A57A2BA-92C0-45C4-8E16-5446BCD3D9C2}"/>
              </a:ext>
            </a:extLst>
          </p:cNvPr>
          <p:cNvGrpSpPr/>
          <p:nvPr userDrawn="1"/>
        </p:nvGrpSpPr>
        <p:grpSpPr>
          <a:xfrm>
            <a:off x="11307787" y="978701"/>
            <a:ext cx="884213" cy="978408"/>
            <a:chOff x="10576386" y="144060"/>
            <a:chExt cx="884213" cy="978408"/>
          </a:xfrm>
        </p:grpSpPr>
        <p:sp>
          <p:nvSpPr>
            <p:cNvPr id="90" name="Rectangle 89">
              <a:extLst>
                <a:ext uri="{FF2B5EF4-FFF2-40B4-BE49-F238E27FC236}">
                  <a16:creationId xmlns:a16="http://schemas.microsoft.com/office/drawing/2014/main" id="{452B2C53-C406-4353-93AE-531967BF8CB0}"/>
                </a:ext>
              </a:extLst>
            </p:cNvPr>
            <p:cNvSpPr/>
            <p:nvPr userDrawn="1"/>
          </p:nvSpPr>
          <p:spPr bwMode="gray">
            <a:xfrm>
              <a:off x="10576386" y="144060"/>
              <a:ext cx="884213" cy="978408"/>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91" name="Group 592">
              <a:extLst>
                <a:ext uri="{FF2B5EF4-FFF2-40B4-BE49-F238E27FC236}">
                  <a16:creationId xmlns:a16="http://schemas.microsoft.com/office/drawing/2014/main" id="{2302453D-9390-435B-918B-48353FBD1A65}"/>
                </a:ext>
              </a:extLst>
            </p:cNvPr>
            <p:cNvGrpSpPr>
              <a:grpSpLocks/>
            </p:cNvGrpSpPr>
            <p:nvPr userDrawn="1"/>
          </p:nvGrpSpPr>
          <p:grpSpPr bwMode="auto">
            <a:xfrm>
              <a:off x="10835612" y="271928"/>
              <a:ext cx="365760" cy="369676"/>
              <a:chOff x="373" y="1933"/>
              <a:chExt cx="341" cy="340"/>
            </a:xfrm>
            <a:solidFill>
              <a:schemeClr val="bg1"/>
            </a:solidFill>
          </p:grpSpPr>
          <p:sp>
            <p:nvSpPr>
              <p:cNvPr id="100" name="Freeform 99">
                <a:extLst>
                  <a:ext uri="{FF2B5EF4-FFF2-40B4-BE49-F238E27FC236}">
                    <a16:creationId xmlns:a16="http://schemas.microsoft.com/office/drawing/2014/main" id="{2B96DFC0-3179-4202-9D5F-05E1B8DF75BC}"/>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sp>
            <p:nvSpPr>
              <p:cNvPr id="101" name="Freeform 100">
                <a:extLst>
                  <a:ext uri="{FF2B5EF4-FFF2-40B4-BE49-F238E27FC236}">
                    <a16:creationId xmlns:a16="http://schemas.microsoft.com/office/drawing/2014/main" id="{EF767435-580F-47EE-BF25-5FD8E9D10125}"/>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102" name="Group 101">
            <a:extLst>
              <a:ext uri="{FF2B5EF4-FFF2-40B4-BE49-F238E27FC236}">
                <a16:creationId xmlns:a16="http://schemas.microsoft.com/office/drawing/2014/main" id="{9BB39C06-F26A-4111-BC2F-03379F92F894}"/>
              </a:ext>
            </a:extLst>
          </p:cNvPr>
          <p:cNvGrpSpPr/>
          <p:nvPr userDrawn="1"/>
        </p:nvGrpSpPr>
        <p:grpSpPr>
          <a:xfrm>
            <a:off x="11307787" y="0"/>
            <a:ext cx="884213" cy="978408"/>
            <a:chOff x="11320453" y="0"/>
            <a:chExt cx="884213" cy="978408"/>
          </a:xfrm>
        </p:grpSpPr>
        <p:sp>
          <p:nvSpPr>
            <p:cNvPr id="103" name="Rectangle 102">
              <a:extLst>
                <a:ext uri="{FF2B5EF4-FFF2-40B4-BE49-F238E27FC236}">
                  <a16:creationId xmlns:a16="http://schemas.microsoft.com/office/drawing/2014/main" id="{65FC472A-7D59-4D54-8FC9-7D6FA5E1EA47}"/>
                </a:ext>
              </a:extLst>
            </p:cNvPr>
            <p:cNvSpPr/>
            <p:nvPr userDrawn="1"/>
          </p:nvSpPr>
          <p:spPr bwMode="gray">
            <a:xfrm>
              <a:off x="11320453" y="0"/>
              <a:ext cx="884213" cy="978408"/>
            </a:xfrm>
            <a:prstGeom prst="rect">
              <a:avLst/>
            </a:prstGeom>
            <a:solidFill>
              <a:srgbClr val="0055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04" name="Group 103">
              <a:extLst>
                <a:ext uri="{FF2B5EF4-FFF2-40B4-BE49-F238E27FC236}">
                  <a16:creationId xmlns:a16="http://schemas.microsoft.com/office/drawing/2014/main" id="{9F17A192-3FD8-48E6-B53D-9EF7090C6044}"/>
                </a:ext>
              </a:extLst>
            </p:cNvPr>
            <p:cNvGrpSpPr/>
            <p:nvPr userDrawn="1"/>
          </p:nvGrpSpPr>
          <p:grpSpPr>
            <a:xfrm>
              <a:off x="11578568" y="107960"/>
              <a:ext cx="367982" cy="367982"/>
              <a:chOff x="6042955" y="3704076"/>
              <a:chExt cx="367982" cy="367982"/>
            </a:xfrm>
            <a:solidFill>
              <a:schemeClr val="bg1"/>
            </a:solidFill>
          </p:grpSpPr>
          <p:grpSp>
            <p:nvGrpSpPr>
              <p:cNvPr id="105" name="Group 104">
                <a:extLst>
                  <a:ext uri="{FF2B5EF4-FFF2-40B4-BE49-F238E27FC236}">
                    <a16:creationId xmlns:a16="http://schemas.microsoft.com/office/drawing/2014/main" id="{58A0B01D-64B0-4096-9E7F-DECD3B5567F6}"/>
                  </a:ext>
                </a:extLst>
              </p:cNvPr>
              <p:cNvGrpSpPr/>
              <p:nvPr/>
            </p:nvGrpSpPr>
            <p:grpSpPr>
              <a:xfrm>
                <a:off x="6131110" y="3758524"/>
                <a:ext cx="207980" cy="259087"/>
                <a:chOff x="1690688" y="5349875"/>
                <a:chExt cx="465138" cy="579438"/>
              </a:xfrm>
              <a:grpFill/>
            </p:grpSpPr>
            <p:sp>
              <p:nvSpPr>
                <p:cNvPr id="107" name="Freeform 68">
                  <a:extLst>
                    <a:ext uri="{FF2B5EF4-FFF2-40B4-BE49-F238E27FC236}">
                      <a16:creationId xmlns:a16="http://schemas.microsoft.com/office/drawing/2014/main" id="{6B823961-1297-4728-AA3F-690E6A76EF2B}"/>
                    </a:ext>
                  </a:extLst>
                </p:cNvPr>
                <p:cNvSpPr>
                  <a:spLocks/>
                </p:cNvSpPr>
                <p:nvPr/>
              </p:nvSpPr>
              <p:spPr bwMode="auto">
                <a:xfrm>
                  <a:off x="1781175" y="577850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08" name="Freeform 69">
                  <a:extLst>
                    <a:ext uri="{FF2B5EF4-FFF2-40B4-BE49-F238E27FC236}">
                      <a16:creationId xmlns:a16="http://schemas.microsoft.com/office/drawing/2014/main" id="{2CE5E292-BC45-4468-B71B-4A6ADB984718}"/>
                    </a:ext>
                  </a:extLst>
                </p:cNvPr>
                <p:cNvSpPr>
                  <a:spLocks/>
                </p:cNvSpPr>
                <p:nvPr/>
              </p:nvSpPr>
              <p:spPr bwMode="auto">
                <a:xfrm>
                  <a:off x="1781175" y="569595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09" name="Freeform 70">
                  <a:extLst>
                    <a:ext uri="{FF2B5EF4-FFF2-40B4-BE49-F238E27FC236}">
                      <a16:creationId xmlns:a16="http://schemas.microsoft.com/office/drawing/2014/main" id="{0BD6E49D-6BB9-4215-AC6E-CEF99CF5DFE5}"/>
                    </a:ext>
                  </a:extLst>
                </p:cNvPr>
                <p:cNvSpPr>
                  <a:spLocks/>
                </p:cNvSpPr>
                <p:nvPr/>
              </p:nvSpPr>
              <p:spPr bwMode="auto">
                <a:xfrm>
                  <a:off x="1781175" y="5614988"/>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10" name="Freeform 71">
                  <a:extLst>
                    <a:ext uri="{FF2B5EF4-FFF2-40B4-BE49-F238E27FC236}">
                      <a16:creationId xmlns:a16="http://schemas.microsoft.com/office/drawing/2014/main" id="{BEC31180-1130-48F0-A010-446019D55F3B}"/>
                    </a:ext>
                  </a:extLst>
                </p:cNvPr>
                <p:cNvSpPr>
                  <a:spLocks/>
                </p:cNvSpPr>
                <p:nvPr/>
              </p:nvSpPr>
              <p:spPr bwMode="auto">
                <a:xfrm>
                  <a:off x="1781175" y="5534025"/>
                  <a:ext cx="136525" cy="20638"/>
                </a:xfrm>
                <a:custGeom>
                  <a:avLst/>
                  <a:gdLst>
                    <a:gd name="T0" fmla="*/ 5 w 57"/>
                    <a:gd name="T1" fmla="*/ 9 h 9"/>
                    <a:gd name="T2" fmla="*/ 52 w 57"/>
                    <a:gd name="T3" fmla="*/ 9 h 9"/>
                    <a:gd name="T4" fmla="*/ 57 w 57"/>
                    <a:gd name="T5" fmla="*/ 5 h 9"/>
                    <a:gd name="T6" fmla="*/ 52 w 57"/>
                    <a:gd name="T7" fmla="*/ 0 h 9"/>
                    <a:gd name="T8" fmla="*/ 5 w 57"/>
                    <a:gd name="T9" fmla="*/ 0 h 9"/>
                    <a:gd name="T10" fmla="*/ 0 w 57"/>
                    <a:gd name="T11" fmla="*/ 5 h 9"/>
                    <a:gd name="T12" fmla="*/ 5 w 5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57" h="9">
                      <a:moveTo>
                        <a:pt x="5" y="9"/>
                      </a:moveTo>
                      <a:cubicBezTo>
                        <a:pt x="52" y="9"/>
                        <a:pt x="52" y="9"/>
                        <a:pt x="52" y="9"/>
                      </a:cubicBezTo>
                      <a:cubicBezTo>
                        <a:pt x="54" y="9"/>
                        <a:pt x="57" y="7"/>
                        <a:pt x="57" y="5"/>
                      </a:cubicBezTo>
                      <a:cubicBezTo>
                        <a:pt x="57" y="2"/>
                        <a:pt x="54" y="0"/>
                        <a:pt x="52"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11" name="Freeform 72">
                  <a:extLst>
                    <a:ext uri="{FF2B5EF4-FFF2-40B4-BE49-F238E27FC236}">
                      <a16:creationId xmlns:a16="http://schemas.microsoft.com/office/drawing/2014/main" id="{5E1B587E-1556-4EFA-BCEE-B0244F9C99D3}"/>
                    </a:ext>
                  </a:extLst>
                </p:cNvPr>
                <p:cNvSpPr>
                  <a:spLocks noEditPoints="1"/>
                </p:cNvSpPr>
                <p:nvPr/>
              </p:nvSpPr>
              <p:spPr bwMode="auto">
                <a:xfrm>
                  <a:off x="1690688" y="5349875"/>
                  <a:ext cx="465138" cy="579438"/>
                </a:xfrm>
                <a:custGeom>
                  <a:avLst/>
                  <a:gdLst>
                    <a:gd name="T0" fmla="*/ 190 w 194"/>
                    <a:gd name="T1" fmla="*/ 37 h 242"/>
                    <a:gd name="T2" fmla="*/ 156 w 194"/>
                    <a:gd name="T3" fmla="*/ 4 h 242"/>
                    <a:gd name="T4" fmla="*/ 147 w 194"/>
                    <a:gd name="T5" fmla="*/ 0 h 242"/>
                    <a:gd name="T6" fmla="*/ 147 w 194"/>
                    <a:gd name="T7" fmla="*/ 0 h 242"/>
                    <a:gd name="T8" fmla="*/ 13 w 194"/>
                    <a:gd name="T9" fmla="*/ 0 h 242"/>
                    <a:gd name="T10" fmla="*/ 0 w 194"/>
                    <a:gd name="T11" fmla="*/ 13 h 242"/>
                    <a:gd name="T12" fmla="*/ 0 w 194"/>
                    <a:gd name="T13" fmla="*/ 229 h 242"/>
                    <a:gd name="T14" fmla="*/ 13 w 194"/>
                    <a:gd name="T15" fmla="*/ 242 h 242"/>
                    <a:gd name="T16" fmla="*/ 181 w 194"/>
                    <a:gd name="T17" fmla="*/ 242 h 242"/>
                    <a:gd name="T18" fmla="*/ 194 w 194"/>
                    <a:gd name="T19" fmla="*/ 229 h 242"/>
                    <a:gd name="T20" fmla="*/ 194 w 194"/>
                    <a:gd name="T21" fmla="*/ 46 h 242"/>
                    <a:gd name="T22" fmla="*/ 190 w 194"/>
                    <a:gd name="T23" fmla="*/ 37 h 242"/>
                    <a:gd name="T24" fmla="*/ 180 w 194"/>
                    <a:gd name="T25" fmla="*/ 41 h 242"/>
                    <a:gd name="T26" fmla="*/ 152 w 194"/>
                    <a:gd name="T27" fmla="*/ 41 h 242"/>
                    <a:gd name="T28" fmla="*/ 152 w 194"/>
                    <a:gd name="T29" fmla="*/ 13 h 242"/>
                    <a:gd name="T30" fmla="*/ 180 w 194"/>
                    <a:gd name="T31" fmla="*/ 41 h 242"/>
                    <a:gd name="T32" fmla="*/ 181 w 194"/>
                    <a:gd name="T33" fmla="*/ 232 h 242"/>
                    <a:gd name="T34" fmla="*/ 13 w 194"/>
                    <a:gd name="T35" fmla="*/ 232 h 242"/>
                    <a:gd name="T36" fmla="*/ 9 w 194"/>
                    <a:gd name="T37" fmla="*/ 229 h 242"/>
                    <a:gd name="T38" fmla="*/ 9 w 194"/>
                    <a:gd name="T39" fmla="*/ 13 h 242"/>
                    <a:gd name="T40" fmla="*/ 13 w 194"/>
                    <a:gd name="T41" fmla="*/ 10 h 242"/>
                    <a:gd name="T42" fmla="*/ 142 w 194"/>
                    <a:gd name="T43" fmla="*/ 10 h 242"/>
                    <a:gd name="T44" fmla="*/ 142 w 194"/>
                    <a:gd name="T45" fmla="*/ 46 h 242"/>
                    <a:gd name="T46" fmla="*/ 147 w 194"/>
                    <a:gd name="T47" fmla="*/ 51 h 242"/>
                    <a:gd name="T48" fmla="*/ 184 w 194"/>
                    <a:gd name="T49" fmla="*/ 51 h 242"/>
                    <a:gd name="T50" fmla="*/ 184 w 194"/>
                    <a:gd name="T51" fmla="*/ 229 h 242"/>
                    <a:gd name="T52" fmla="*/ 181 w 194"/>
                    <a:gd name="T53"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4" h="242">
                      <a:moveTo>
                        <a:pt x="190" y="37"/>
                      </a:moveTo>
                      <a:cubicBezTo>
                        <a:pt x="156" y="4"/>
                        <a:pt x="156" y="4"/>
                        <a:pt x="156" y="4"/>
                      </a:cubicBezTo>
                      <a:cubicBezTo>
                        <a:pt x="153" y="1"/>
                        <a:pt x="150" y="0"/>
                        <a:pt x="147" y="0"/>
                      </a:cubicBezTo>
                      <a:cubicBezTo>
                        <a:pt x="147" y="0"/>
                        <a:pt x="147" y="0"/>
                        <a:pt x="147" y="0"/>
                      </a:cubicBezTo>
                      <a:cubicBezTo>
                        <a:pt x="13" y="0"/>
                        <a:pt x="13" y="0"/>
                        <a:pt x="13" y="0"/>
                      </a:cubicBezTo>
                      <a:cubicBezTo>
                        <a:pt x="5" y="0"/>
                        <a:pt x="0" y="6"/>
                        <a:pt x="0" y="13"/>
                      </a:cubicBezTo>
                      <a:cubicBezTo>
                        <a:pt x="0" y="229"/>
                        <a:pt x="0" y="229"/>
                        <a:pt x="0" y="229"/>
                      </a:cubicBezTo>
                      <a:cubicBezTo>
                        <a:pt x="0" y="236"/>
                        <a:pt x="5" y="242"/>
                        <a:pt x="13" y="242"/>
                      </a:cubicBezTo>
                      <a:cubicBezTo>
                        <a:pt x="181" y="242"/>
                        <a:pt x="181" y="242"/>
                        <a:pt x="181" y="242"/>
                      </a:cubicBezTo>
                      <a:cubicBezTo>
                        <a:pt x="188" y="242"/>
                        <a:pt x="194" y="236"/>
                        <a:pt x="194" y="229"/>
                      </a:cubicBezTo>
                      <a:cubicBezTo>
                        <a:pt x="194" y="46"/>
                        <a:pt x="194" y="46"/>
                        <a:pt x="194" y="46"/>
                      </a:cubicBezTo>
                      <a:cubicBezTo>
                        <a:pt x="194" y="43"/>
                        <a:pt x="192" y="39"/>
                        <a:pt x="190" y="37"/>
                      </a:cubicBezTo>
                      <a:close/>
                      <a:moveTo>
                        <a:pt x="180" y="41"/>
                      </a:moveTo>
                      <a:cubicBezTo>
                        <a:pt x="152" y="41"/>
                        <a:pt x="152" y="41"/>
                        <a:pt x="152" y="41"/>
                      </a:cubicBezTo>
                      <a:cubicBezTo>
                        <a:pt x="152" y="13"/>
                        <a:pt x="152" y="13"/>
                        <a:pt x="152" y="13"/>
                      </a:cubicBezTo>
                      <a:lnTo>
                        <a:pt x="180" y="41"/>
                      </a:lnTo>
                      <a:close/>
                      <a:moveTo>
                        <a:pt x="181" y="232"/>
                      </a:moveTo>
                      <a:cubicBezTo>
                        <a:pt x="13" y="232"/>
                        <a:pt x="13" y="232"/>
                        <a:pt x="13" y="232"/>
                      </a:cubicBezTo>
                      <a:cubicBezTo>
                        <a:pt x="11" y="232"/>
                        <a:pt x="9" y="231"/>
                        <a:pt x="9" y="229"/>
                      </a:cubicBezTo>
                      <a:cubicBezTo>
                        <a:pt x="9" y="13"/>
                        <a:pt x="9" y="13"/>
                        <a:pt x="9" y="13"/>
                      </a:cubicBezTo>
                      <a:cubicBezTo>
                        <a:pt x="9" y="11"/>
                        <a:pt x="11" y="10"/>
                        <a:pt x="13" y="10"/>
                      </a:cubicBezTo>
                      <a:cubicBezTo>
                        <a:pt x="142" y="10"/>
                        <a:pt x="142" y="10"/>
                        <a:pt x="142" y="10"/>
                      </a:cubicBezTo>
                      <a:cubicBezTo>
                        <a:pt x="142" y="46"/>
                        <a:pt x="142" y="46"/>
                        <a:pt x="142" y="46"/>
                      </a:cubicBezTo>
                      <a:cubicBezTo>
                        <a:pt x="142" y="49"/>
                        <a:pt x="144" y="51"/>
                        <a:pt x="147" y="51"/>
                      </a:cubicBezTo>
                      <a:cubicBezTo>
                        <a:pt x="184" y="51"/>
                        <a:pt x="184" y="51"/>
                        <a:pt x="184" y="51"/>
                      </a:cubicBezTo>
                      <a:cubicBezTo>
                        <a:pt x="184" y="229"/>
                        <a:pt x="184" y="229"/>
                        <a:pt x="184" y="229"/>
                      </a:cubicBezTo>
                      <a:cubicBezTo>
                        <a:pt x="184" y="231"/>
                        <a:pt x="182" y="232"/>
                        <a:pt x="181" y="2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06" name="Freeform 547">
                <a:extLst>
                  <a:ext uri="{FF2B5EF4-FFF2-40B4-BE49-F238E27FC236}">
                    <a16:creationId xmlns:a16="http://schemas.microsoft.com/office/drawing/2014/main" id="{E05B9567-C06F-4895-B96C-079437953971}"/>
                  </a:ext>
                </a:extLst>
              </p:cNvPr>
              <p:cNvSpPr>
                <a:spLocks noEditPoints="1"/>
              </p:cNvSpPr>
              <p:nvPr/>
            </p:nvSpPr>
            <p:spPr bwMode="auto">
              <a:xfrm>
                <a:off x="6042955" y="370407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112" name="Group 111">
            <a:extLst>
              <a:ext uri="{FF2B5EF4-FFF2-40B4-BE49-F238E27FC236}">
                <a16:creationId xmlns:a16="http://schemas.microsoft.com/office/drawing/2014/main" id="{52535618-950F-4AD7-9879-71AC75964C40}"/>
              </a:ext>
            </a:extLst>
          </p:cNvPr>
          <p:cNvGrpSpPr/>
          <p:nvPr userDrawn="1"/>
        </p:nvGrpSpPr>
        <p:grpSpPr>
          <a:xfrm>
            <a:off x="11307787" y="2933749"/>
            <a:ext cx="884213" cy="978408"/>
            <a:chOff x="10576386" y="144060"/>
            <a:chExt cx="884213" cy="978408"/>
          </a:xfrm>
          <a:solidFill>
            <a:srgbClr val="00ABAB"/>
          </a:solidFill>
        </p:grpSpPr>
        <p:sp>
          <p:nvSpPr>
            <p:cNvPr id="113" name="Rectangle 112">
              <a:extLst>
                <a:ext uri="{FF2B5EF4-FFF2-40B4-BE49-F238E27FC236}">
                  <a16:creationId xmlns:a16="http://schemas.microsoft.com/office/drawing/2014/main" id="{F323AD46-8660-48EE-92AD-6D2A6F4AA1C9}"/>
                </a:ext>
              </a:extLst>
            </p:cNvPr>
            <p:cNvSpPr/>
            <p:nvPr userDrawn="1"/>
          </p:nvSpPr>
          <p:spPr bwMode="gray">
            <a:xfrm>
              <a:off x="10576386" y="144060"/>
              <a:ext cx="884213" cy="978408"/>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14" name="Group 113">
              <a:extLst>
                <a:ext uri="{FF2B5EF4-FFF2-40B4-BE49-F238E27FC236}">
                  <a16:creationId xmlns:a16="http://schemas.microsoft.com/office/drawing/2014/main" id="{4B2371B7-590D-4ABB-BDC0-360DEF0B7FFD}"/>
                </a:ext>
              </a:extLst>
            </p:cNvPr>
            <p:cNvGrpSpPr/>
            <p:nvPr userDrawn="1"/>
          </p:nvGrpSpPr>
          <p:grpSpPr>
            <a:xfrm>
              <a:off x="10834501" y="254280"/>
              <a:ext cx="367982" cy="367982"/>
              <a:chOff x="7153126" y="1943100"/>
              <a:chExt cx="367982" cy="367982"/>
            </a:xfrm>
            <a:grpFill/>
          </p:grpSpPr>
          <p:sp>
            <p:nvSpPr>
              <p:cNvPr id="115" name="Freeform 903">
                <a:extLst>
                  <a:ext uri="{FF2B5EF4-FFF2-40B4-BE49-F238E27FC236}">
                    <a16:creationId xmlns:a16="http://schemas.microsoft.com/office/drawing/2014/main" id="{61F505EF-133A-48E6-A4FA-8980F74FC532}"/>
                  </a:ext>
                </a:extLst>
              </p:cNvPr>
              <p:cNvSpPr>
                <a:spLocks noEditPoints="1"/>
              </p:cNvSpPr>
              <p:nvPr/>
            </p:nvSpPr>
            <p:spPr bwMode="auto">
              <a:xfrm>
                <a:off x="7153126" y="1943100"/>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1982"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16" name="Freeform 118">
                <a:extLst>
                  <a:ext uri="{FF2B5EF4-FFF2-40B4-BE49-F238E27FC236}">
                    <a16:creationId xmlns:a16="http://schemas.microsoft.com/office/drawing/2014/main" id="{B4CF30F2-52CB-48DB-A00A-78AA01E6D16A}"/>
                  </a:ext>
                </a:extLst>
              </p:cNvPr>
              <p:cNvSpPr>
                <a:spLocks noChangeAspect="1"/>
              </p:cNvSpPr>
              <p:nvPr/>
            </p:nvSpPr>
            <p:spPr bwMode="auto">
              <a:xfrm>
                <a:off x="7213994" y="1999986"/>
                <a:ext cx="230527" cy="221307"/>
              </a:xfrm>
              <a:custGeom>
                <a:avLst/>
                <a:gdLst>
                  <a:gd name="T0" fmla="*/ 183 w 233"/>
                  <a:gd name="T1" fmla="*/ 167 h 224"/>
                  <a:gd name="T2" fmla="*/ 142 w 233"/>
                  <a:gd name="T3" fmla="*/ 126 h 224"/>
                  <a:gd name="T4" fmla="*/ 156 w 233"/>
                  <a:gd name="T5" fmla="*/ 96 h 224"/>
                  <a:gd name="T6" fmla="*/ 167 w 233"/>
                  <a:gd name="T7" fmla="*/ 75 h 224"/>
                  <a:gd name="T8" fmla="*/ 163 w 233"/>
                  <a:gd name="T9" fmla="*/ 65 h 224"/>
                  <a:gd name="T10" fmla="*/ 166 w 233"/>
                  <a:gd name="T11" fmla="*/ 43 h 224"/>
                  <a:gd name="T12" fmla="*/ 117 w 233"/>
                  <a:gd name="T13" fmla="*/ 0 h 224"/>
                  <a:gd name="T14" fmla="*/ 67 w 233"/>
                  <a:gd name="T15" fmla="*/ 43 h 224"/>
                  <a:gd name="T16" fmla="*/ 70 w 233"/>
                  <a:gd name="T17" fmla="*/ 65 h 224"/>
                  <a:gd name="T18" fmla="*/ 66 w 233"/>
                  <a:gd name="T19" fmla="*/ 75 h 224"/>
                  <a:gd name="T20" fmla="*/ 77 w 233"/>
                  <a:gd name="T21" fmla="*/ 96 h 224"/>
                  <a:gd name="T22" fmla="*/ 91 w 233"/>
                  <a:gd name="T23" fmla="*/ 126 h 224"/>
                  <a:gd name="T24" fmla="*/ 51 w 233"/>
                  <a:gd name="T25" fmla="*/ 167 h 224"/>
                  <a:gd name="T26" fmla="*/ 0 w 233"/>
                  <a:gd name="T27" fmla="*/ 197 h 224"/>
                  <a:gd name="T28" fmla="*/ 0 w 233"/>
                  <a:gd name="T29" fmla="*/ 224 h 224"/>
                  <a:gd name="T30" fmla="*/ 117 w 233"/>
                  <a:gd name="T31" fmla="*/ 224 h 224"/>
                  <a:gd name="T32" fmla="*/ 233 w 233"/>
                  <a:gd name="T33" fmla="*/ 224 h 224"/>
                  <a:gd name="T34" fmla="*/ 233 w 233"/>
                  <a:gd name="T35" fmla="*/ 197 h 224"/>
                  <a:gd name="T36" fmla="*/ 183 w 233"/>
                  <a:gd name="T37" fmla="*/ 16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3" h="224">
                    <a:moveTo>
                      <a:pt x="183" y="167"/>
                    </a:moveTo>
                    <a:cubicBezTo>
                      <a:pt x="152" y="156"/>
                      <a:pt x="142" y="146"/>
                      <a:pt x="142" y="126"/>
                    </a:cubicBezTo>
                    <a:cubicBezTo>
                      <a:pt x="142" y="114"/>
                      <a:pt x="152" y="118"/>
                      <a:pt x="156" y="96"/>
                    </a:cubicBezTo>
                    <a:cubicBezTo>
                      <a:pt x="157" y="87"/>
                      <a:pt x="166" y="96"/>
                      <a:pt x="167" y="75"/>
                    </a:cubicBezTo>
                    <a:cubicBezTo>
                      <a:pt x="167" y="67"/>
                      <a:pt x="163" y="65"/>
                      <a:pt x="163" y="65"/>
                    </a:cubicBezTo>
                    <a:cubicBezTo>
                      <a:pt x="163" y="65"/>
                      <a:pt x="165" y="52"/>
                      <a:pt x="166" y="43"/>
                    </a:cubicBezTo>
                    <a:cubicBezTo>
                      <a:pt x="167" y="31"/>
                      <a:pt x="159" y="0"/>
                      <a:pt x="117" y="0"/>
                    </a:cubicBezTo>
                    <a:cubicBezTo>
                      <a:pt x="74" y="0"/>
                      <a:pt x="66" y="31"/>
                      <a:pt x="67" y="43"/>
                    </a:cubicBezTo>
                    <a:cubicBezTo>
                      <a:pt x="68" y="52"/>
                      <a:pt x="70" y="65"/>
                      <a:pt x="70" y="65"/>
                    </a:cubicBezTo>
                    <a:cubicBezTo>
                      <a:pt x="70" y="65"/>
                      <a:pt x="66" y="67"/>
                      <a:pt x="66" y="75"/>
                    </a:cubicBezTo>
                    <a:cubicBezTo>
                      <a:pt x="67" y="96"/>
                      <a:pt x="76" y="87"/>
                      <a:pt x="77" y="96"/>
                    </a:cubicBezTo>
                    <a:cubicBezTo>
                      <a:pt x="82" y="118"/>
                      <a:pt x="91" y="114"/>
                      <a:pt x="91" y="126"/>
                    </a:cubicBezTo>
                    <a:cubicBezTo>
                      <a:pt x="91" y="146"/>
                      <a:pt x="81" y="156"/>
                      <a:pt x="51" y="167"/>
                    </a:cubicBezTo>
                    <a:cubicBezTo>
                      <a:pt x="20" y="178"/>
                      <a:pt x="0" y="190"/>
                      <a:pt x="0" y="197"/>
                    </a:cubicBezTo>
                    <a:cubicBezTo>
                      <a:pt x="0" y="205"/>
                      <a:pt x="0" y="224"/>
                      <a:pt x="0" y="224"/>
                    </a:cubicBezTo>
                    <a:cubicBezTo>
                      <a:pt x="117" y="224"/>
                      <a:pt x="117" y="224"/>
                      <a:pt x="117" y="224"/>
                    </a:cubicBezTo>
                    <a:cubicBezTo>
                      <a:pt x="233" y="224"/>
                      <a:pt x="233" y="224"/>
                      <a:pt x="233" y="224"/>
                    </a:cubicBezTo>
                    <a:cubicBezTo>
                      <a:pt x="233" y="224"/>
                      <a:pt x="233" y="205"/>
                      <a:pt x="233" y="197"/>
                    </a:cubicBezTo>
                    <a:cubicBezTo>
                      <a:pt x="233" y="190"/>
                      <a:pt x="213" y="178"/>
                      <a:pt x="183" y="167"/>
                    </a:cubicBez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117" name="Group 116">
            <a:extLst>
              <a:ext uri="{FF2B5EF4-FFF2-40B4-BE49-F238E27FC236}">
                <a16:creationId xmlns:a16="http://schemas.microsoft.com/office/drawing/2014/main" id="{CB4FE53B-15EF-490D-BEA2-F8045E446B21}"/>
              </a:ext>
            </a:extLst>
          </p:cNvPr>
          <p:cNvGrpSpPr/>
          <p:nvPr userDrawn="1"/>
        </p:nvGrpSpPr>
        <p:grpSpPr>
          <a:xfrm>
            <a:off x="11307787" y="3885439"/>
            <a:ext cx="884213" cy="1008246"/>
            <a:chOff x="10576385" y="152400"/>
            <a:chExt cx="884213" cy="978408"/>
          </a:xfrm>
        </p:grpSpPr>
        <p:sp>
          <p:nvSpPr>
            <p:cNvPr id="118" name="Rectangle 117">
              <a:extLst>
                <a:ext uri="{FF2B5EF4-FFF2-40B4-BE49-F238E27FC236}">
                  <a16:creationId xmlns:a16="http://schemas.microsoft.com/office/drawing/2014/main" id="{88D691AE-DA2F-4DF1-AC3F-DDF1627E3081}"/>
                </a:ext>
              </a:extLst>
            </p:cNvPr>
            <p:cNvSpPr/>
            <p:nvPr userDrawn="1"/>
          </p:nvSpPr>
          <p:spPr bwMode="gray">
            <a:xfrm>
              <a:off x="10576385" y="152400"/>
              <a:ext cx="884213" cy="978408"/>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19" name="Group 48">
              <a:extLst>
                <a:ext uri="{FF2B5EF4-FFF2-40B4-BE49-F238E27FC236}">
                  <a16:creationId xmlns:a16="http://schemas.microsoft.com/office/drawing/2014/main" id="{8EE494FB-3BDC-4EDF-8EC3-4A82DD3087A1}"/>
                </a:ext>
              </a:extLst>
            </p:cNvPr>
            <p:cNvGrpSpPr>
              <a:grpSpLocks noChangeAspect="1"/>
            </p:cNvGrpSpPr>
            <p:nvPr userDrawn="1"/>
          </p:nvGrpSpPr>
          <p:grpSpPr bwMode="auto">
            <a:xfrm>
              <a:off x="10834676" y="260360"/>
              <a:ext cx="367631" cy="367631"/>
              <a:chOff x="4277" y="1990"/>
              <a:chExt cx="340" cy="340"/>
            </a:xfrm>
            <a:solidFill>
              <a:schemeClr val="bg1"/>
            </a:solidFill>
          </p:grpSpPr>
          <p:sp>
            <p:nvSpPr>
              <p:cNvPr id="120" name="Freeform 49">
                <a:extLst>
                  <a:ext uri="{FF2B5EF4-FFF2-40B4-BE49-F238E27FC236}">
                    <a16:creationId xmlns:a16="http://schemas.microsoft.com/office/drawing/2014/main" id="{17AD528F-9C4F-45E9-B80B-A32ADF2C35B1}"/>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1" name="Freeform 50">
                <a:extLst>
                  <a:ext uri="{FF2B5EF4-FFF2-40B4-BE49-F238E27FC236}">
                    <a16:creationId xmlns:a16="http://schemas.microsoft.com/office/drawing/2014/main" id="{6E138BF3-BBA7-4F81-912B-C243DF5AC18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grpSp>
        <p:nvGrpSpPr>
          <p:cNvPr id="122" name="Group 121">
            <a:extLst>
              <a:ext uri="{FF2B5EF4-FFF2-40B4-BE49-F238E27FC236}">
                <a16:creationId xmlns:a16="http://schemas.microsoft.com/office/drawing/2014/main" id="{0EE0564B-4411-4F83-B317-594B84DA0DB8}"/>
              </a:ext>
            </a:extLst>
          </p:cNvPr>
          <p:cNvGrpSpPr/>
          <p:nvPr userDrawn="1"/>
        </p:nvGrpSpPr>
        <p:grpSpPr>
          <a:xfrm>
            <a:off x="11307787" y="4885264"/>
            <a:ext cx="884213" cy="978408"/>
            <a:chOff x="10576385" y="152400"/>
            <a:chExt cx="884213" cy="978408"/>
          </a:xfrm>
        </p:grpSpPr>
        <p:sp>
          <p:nvSpPr>
            <p:cNvPr id="123" name="Rectangle 122">
              <a:extLst>
                <a:ext uri="{FF2B5EF4-FFF2-40B4-BE49-F238E27FC236}">
                  <a16:creationId xmlns:a16="http://schemas.microsoft.com/office/drawing/2014/main" id="{EF9C0ABE-D2F0-46AD-9A12-179F940F05DC}"/>
                </a:ext>
              </a:extLst>
            </p:cNvPr>
            <p:cNvSpPr/>
            <p:nvPr userDrawn="1"/>
          </p:nvSpPr>
          <p:spPr bwMode="gray">
            <a:xfrm>
              <a:off x="10576385" y="152400"/>
              <a:ext cx="884213" cy="978408"/>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24" name="Group 555">
              <a:extLst>
                <a:ext uri="{FF2B5EF4-FFF2-40B4-BE49-F238E27FC236}">
                  <a16:creationId xmlns:a16="http://schemas.microsoft.com/office/drawing/2014/main" id="{FE33A27F-57F3-4359-A4CE-61F85444064D}"/>
                </a:ext>
              </a:extLst>
            </p:cNvPr>
            <p:cNvGrpSpPr>
              <a:grpSpLocks noChangeAspect="1"/>
            </p:cNvGrpSpPr>
            <p:nvPr userDrawn="1"/>
          </p:nvGrpSpPr>
          <p:grpSpPr bwMode="auto">
            <a:xfrm>
              <a:off x="10833438" y="257395"/>
              <a:ext cx="370106" cy="369021"/>
              <a:chOff x="1130" y="1948"/>
              <a:chExt cx="341" cy="340"/>
            </a:xfrm>
            <a:solidFill>
              <a:schemeClr val="bg1"/>
            </a:solidFill>
          </p:grpSpPr>
          <p:sp>
            <p:nvSpPr>
              <p:cNvPr id="125" name="Freeform 556">
                <a:extLst>
                  <a:ext uri="{FF2B5EF4-FFF2-40B4-BE49-F238E27FC236}">
                    <a16:creationId xmlns:a16="http://schemas.microsoft.com/office/drawing/2014/main" id="{9195C5F7-1EEE-4EF7-B979-B3D2BAEB7AB5}"/>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6" name="Freeform 557">
                <a:extLst>
                  <a:ext uri="{FF2B5EF4-FFF2-40B4-BE49-F238E27FC236}">
                    <a16:creationId xmlns:a16="http://schemas.microsoft.com/office/drawing/2014/main" id="{0B9538E8-019F-4B1D-A1EC-ACCDCB03E039}"/>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7" name="Freeform 558">
                <a:extLst>
                  <a:ext uri="{FF2B5EF4-FFF2-40B4-BE49-F238E27FC236}">
                    <a16:creationId xmlns:a16="http://schemas.microsoft.com/office/drawing/2014/main" id="{005E2682-1E6B-439A-A456-BA5EFC751271}"/>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8" name="Freeform 559">
                <a:extLst>
                  <a:ext uri="{FF2B5EF4-FFF2-40B4-BE49-F238E27FC236}">
                    <a16:creationId xmlns:a16="http://schemas.microsoft.com/office/drawing/2014/main" id="{50782D0F-C253-485F-A5C1-D4CE2265D525}"/>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9" name="Freeform 560">
                <a:extLst>
                  <a:ext uri="{FF2B5EF4-FFF2-40B4-BE49-F238E27FC236}">
                    <a16:creationId xmlns:a16="http://schemas.microsoft.com/office/drawing/2014/main" id="{5C432577-4E76-40D9-B251-C8BBB77BA002}"/>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sp>
        <p:nvSpPr>
          <p:cNvPr id="130" name="Rectangle 129">
            <a:extLst>
              <a:ext uri="{FF2B5EF4-FFF2-40B4-BE49-F238E27FC236}">
                <a16:creationId xmlns:a16="http://schemas.microsoft.com/office/drawing/2014/main" id="{0E50772F-1BDB-4F39-A749-4285C798E568}"/>
              </a:ext>
            </a:extLst>
          </p:cNvPr>
          <p:cNvSpPr/>
          <p:nvPr userDrawn="1"/>
        </p:nvSpPr>
        <p:spPr>
          <a:xfrm>
            <a:off x="11349439" y="1508981"/>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Executive summary</a:t>
            </a:r>
            <a:endParaRPr lang="en-US" sz="891" b="0" dirty="0">
              <a:solidFill>
                <a:schemeClr val="bg1"/>
              </a:solidFill>
              <a:latin typeface="Calibri" panose="020F0502020204030204" pitchFamily="34" charset="0"/>
            </a:endParaRPr>
          </a:p>
        </p:txBody>
      </p:sp>
      <p:sp>
        <p:nvSpPr>
          <p:cNvPr id="131" name="Rectangle 130">
            <a:extLst>
              <a:ext uri="{FF2B5EF4-FFF2-40B4-BE49-F238E27FC236}">
                <a16:creationId xmlns:a16="http://schemas.microsoft.com/office/drawing/2014/main" id="{86181D55-D3EF-4EAF-8728-CAAC57B6CE83}"/>
              </a:ext>
            </a:extLst>
          </p:cNvPr>
          <p:cNvSpPr/>
          <p:nvPr userDrawn="1"/>
        </p:nvSpPr>
        <p:spPr>
          <a:xfrm>
            <a:off x="11349439" y="521940"/>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Cover </a:t>
            </a:r>
          </a:p>
          <a:p>
            <a:pPr algn="ctr"/>
            <a:r>
              <a:rPr lang="en-US" sz="891" b="0" i="0" spc="-25" dirty="0">
                <a:solidFill>
                  <a:schemeClr val="bg1"/>
                </a:solidFill>
                <a:latin typeface="Calibri" panose="020F0502020204030204" pitchFamily="34" charset="0"/>
                <a:cs typeface="Open Sans Light"/>
              </a:rPr>
              <a:t>letter</a:t>
            </a:r>
            <a:endParaRPr lang="en-US" sz="891" b="0" dirty="0">
              <a:solidFill>
                <a:schemeClr val="bg1"/>
              </a:solidFill>
              <a:latin typeface="Calibri" panose="020F0502020204030204" pitchFamily="34" charset="0"/>
            </a:endParaRPr>
          </a:p>
        </p:txBody>
      </p:sp>
      <p:sp>
        <p:nvSpPr>
          <p:cNvPr id="132" name="Rectangle 131">
            <a:extLst>
              <a:ext uri="{FF2B5EF4-FFF2-40B4-BE49-F238E27FC236}">
                <a16:creationId xmlns:a16="http://schemas.microsoft.com/office/drawing/2014/main" id="{D803F228-5429-4EBB-A8E1-F4BD4F281C2A}"/>
              </a:ext>
            </a:extLst>
          </p:cNvPr>
          <p:cNvSpPr/>
          <p:nvPr userDrawn="1"/>
        </p:nvSpPr>
        <p:spPr>
          <a:xfrm>
            <a:off x="11349439" y="3464029"/>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roach &amp; Methodology</a:t>
            </a:r>
            <a:endParaRPr lang="en-US" sz="891" b="0" dirty="0">
              <a:solidFill>
                <a:schemeClr val="bg1"/>
              </a:solidFill>
              <a:latin typeface="Calibri" panose="020F0502020204030204" pitchFamily="34" charset="0"/>
            </a:endParaRPr>
          </a:p>
        </p:txBody>
      </p:sp>
      <p:sp>
        <p:nvSpPr>
          <p:cNvPr id="133" name="Rectangle 132">
            <a:extLst>
              <a:ext uri="{FF2B5EF4-FFF2-40B4-BE49-F238E27FC236}">
                <a16:creationId xmlns:a16="http://schemas.microsoft.com/office/drawing/2014/main" id="{2E334B7A-F745-49AD-803E-FD0D26F74A97}"/>
              </a:ext>
            </a:extLst>
          </p:cNvPr>
          <p:cNvSpPr/>
          <p:nvPr userDrawn="1"/>
        </p:nvSpPr>
        <p:spPr>
          <a:xfrm>
            <a:off x="11349439" y="4435932"/>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Timeline and Assumptions </a:t>
            </a:r>
            <a:endParaRPr lang="en-US" sz="891" b="0" dirty="0">
              <a:solidFill>
                <a:schemeClr val="bg1"/>
              </a:solidFill>
              <a:latin typeface="Calibri" panose="020F0502020204030204" pitchFamily="34" charset="0"/>
            </a:endParaRPr>
          </a:p>
        </p:txBody>
      </p:sp>
      <p:sp>
        <p:nvSpPr>
          <p:cNvPr id="134" name="Rectangle 133">
            <a:extLst>
              <a:ext uri="{FF2B5EF4-FFF2-40B4-BE49-F238E27FC236}">
                <a16:creationId xmlns:a16="http://schemas.microsoft.com/office/drawing/2014/main" id="{D571380E-A60C-4DBB-9E42-8DDC403DA12C}"/>
              </a:ext>
            </a:extLst>
          </p:cNvPr>
          <p:cNvSpPr/>
          <p:nvPr userDrawn="1"/>
        </p:nvSpPr>
        <p:spPr>
          <a:xfrm>
            <a:off x="11349439" y="541554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Team</a:t>
            </a:r>
            <a:endParaRPr lang="en-US" sz="891" b="0" dirty="0">
              <a:solidFill>
                <a:schemeClr val="bg1"/>
              </a:solidFill>
              <a:latin typeface="Calibri" panose="020F0502020204030204" pitchFamily="34" charset="0"/>
            </a:endParaRPr>
          </a:p>
        </p:txBody>
      </p:sp>
      <p:sp>
        <p:nvSpPr>
          <p:cNvPr id="135" name="Rectangle 134">
            <a:hlinkClick r:id="rId4" action="ppaction://hlinksldjump" tooltip="Appendix"/>
            <a:extLst>
              <a:ext uri="{FF2B5EF4-FFF2-40B4-BE49-F238E27FC236}">
                <a16:creationId xmlns:a16="http://schemas.microsoft.com/office/drawing/2014/main" id="{37508B04-8A1E-4095-9F3D-76EAB96CAEDE}"/>
              </a:ext>
            </a:extLst>
          </p:cNvPr>
          <p:cNvSpPr/>
          <p:nvPr userDrawn="1"/>
        </p:nvSpPr>
        <p:spPr bwMode="gray">
          <a:xfrm>
            <a:off x="11307787" y="5863690"/>
            <a:ext cx="884213" cy="531181"/>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136" name="TextBox 135">
            <a:extLst>
              <a:ext uri="{FF2B5EF4-FFF2-40B4-BE49-F238E27FC236}">
                <a16:creationId xmlns:a16="http://schemas.microsoft.com/office/drawing/2014/main" id="{C1C83C94-3725-4252-8B8E-0E63D55631D1}"/>
              </a:ext>
            </a:extLst>
          </p:cNvPr>
          <p:cNvSpPr txBox="1"/>
          <p:nvPr userDrawn="1"/>
        </p:nvSpPr>
        <p:spPr bwMode="gray">
          <a:xfrm>
            <a:off x="11621841" y="6525041"/>
            <a:ext cx="255537" cy="200440"/>
          </a:xfrm>
          <a:prstGeom prst="rect">
            <a:avLst/>
          </a:prstGeom>
        </p:spPr>
        <p:txBody>
          <a:bodyPr wrap="square" lIns="0" rIns="0" rtlCol="0" anchor="b" anchorCtr="0">
            <a:noAutofit/>
          </a:bodyPr>
          <a:lstStyle/>
          <a:p>
            <a:pPr algn="ctr">
              <a:lnSpc>
                <a:spcPts val="891"/>
              </a:lnSpc>
            </a:pPr>
            <a:fld id="{7CA6D80E-4757-49F8-A753-97B21278F7E3}" type="slidenum">
              <a:rPr lang="en-US" sz="691" b="1" smtClean="0">
                <a:solidFill>
                  <a:schemeClr val="bg1"/>
                </a:solidFill>
                <a:latin typeface="Calibri" panose="020F0502020204030204" pitchFamily="34" charset="0"/>
              </a:rPr>
              <a:pPr algn="ctr">
                <a:lnSpc>
                  <a:spcPts val="891"/>
                </a:lnSpc>
              </a:pPr>
              <a:t>‹#›</a:t>
            </a:fld>
            <a:endParaRPr lang="en-US" sz="691" b="1" dirty="0">
              <a:solidFill>
                <a:schemeClr val="bg1"/>
              </a:solidFill>
              <a:latin typeface="Calibri" panose="020F0502020204030204" pitchFamily="34" charset="0"/>
            </a:endParaRPr>
          </a:p>
        </p:txBody>
      </p:sp>
      <p:sp>
        <p:nvSpPr>
          <p:cNvPr id="137" name="Rectangle 136">
            <a:extLst>
              <a:ext uri="{FF2B5EF4-FFF2-40B4-BE49-F238E27FC236}">
                <a16:creationId xmlns:a16="http://schemas.microsoft.com/office/drawing/2014/main" id="{2035DA86-FE41-42B0-918A-7D15D32FCE21}"/>
              </a:ext>
            </a:extLst>
          </p:cNvPr>
          <p:cNvSpPr/>
          <p:nvPr userDrawn="1"/>
        </p:nvSpPr>
        <p:spPr bwMode="gray">
          <a:xfrm>
            <a:off x="11307787" y="1955994"/>
            <a:ext cx="884213" cy="978408"/>
          </a:xfrm>
          <a:prstGeom prst="rect">
            <a:avLst/>
          </a:prstGeom>
          <a:solidFill>
            <a:srgbClr val="00A3E0"/>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138" name="Rectangle 137">
            <a:extLst>
              <a:ext uri="{FF2B5EF4-FFF2-40B4-BE49-F238E27FC236}">
                <a16:creationId xmlns:a16="http://schemas.microsoft.com/office/drawing/2014/main" id="{B581F638-53E3-4627-A1A2-845D5F6A7B90}"/>
              </a:ext>
            </a:extLst>
          </p:cNvPr>
          <p:cNvSpPr/>
          <p:nvPr userDrawn="1"/>
        </p:nvSpPr>
        <p:spPr>
          <a:xfrm>
            <a:off x="11349439" y="248627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Capabilities</a:t>
            </a:r>
            <a:endParaRPr lang="en-US" sz="891" b="0" dirty="0">
              <a:solidFill>
                <a:schemeClr val="bg1"/>
              </a:solidFill>
              <a:latin typeface="Calibri" panose="020F0502020204030204" pitchFamily="34" charset="0"/>
            </a:endParaRPr>
          </a:p>
        </p:txBody>
      </p:sp>
      <p:grpSp>
        <p:nvGrpSpPr>
          <p:cNvPr id="139" name="Group 138">
            <a:extLst>
              <a:ext uri="{FF2B5EF4-FFF2-40B4-BE49-F238E27FC236}">
                <a16:creationId xmlns:a16="http://schemas.microsoft.com/office/drawing/2014/main" id="{B3F14A80-E7E9-48D0-8FA1-494046C5B8AC}"/>
              </a:ext>
            </a:extLst>
          </p:cNvPr>
          <p:cNvGrpSpPr/>
          <p:nvPr userDrawn="1"/>
        </p:nvGrpSpPr>
        <p:grpSpPr>
          <a:xfrm>
            <a:off x="11565911" y="2066214"/>
            <a:ext cx="367982" cy="367982"/>
            <a:chOff x="7104733" y="1340898"/>
            <a:chExt cx="367982" cy="367982"/>
          </a:xfrm>
          <a:solidFill>
            <a:schemeClr val="bg1"/>
          </a:solidFill>
        </p:grpSpPr>
        <p:grpSp>
          <p:nvGrpSpPr>
            <p:cNvPr id="140" name="Group 139">
              <a:extLst>
                <a:ext uri="{FF2B5EF4-FFF2-40B4-BE49-F238E27FC236}">
                  <a16:creationId xmlns:a16="http://schemas.microsoft.com/office/drawing/2014/main" id="{14F2021D-A27F-4402-9BF8-F2BBA3C6919E}"/>
                </a:ext>
              </a:extLst>
            </p:cNvPr>
            <p:cNvGrpSpPr/>
            <p:nvPr/>
          </p:nvGrpSpPr>
          <p:grpSpPr>
            <a:xfrm>
              <a:off x="7169563" y="1396188"/>
              <a:ext cx="224761" cy="257402"/>
              <a:chOff x="9812338" y="2919413"/>
              <a:chExt cx="382588" cy="438150"/>
            </a:xfrm>
            <a:grpFill/>
          </p:grpSpPr>
          <p:sp>
            <p:nvSpPr>
              <p:cNvPr id="142" name="Freeform 503">
                <a:extLst>
                  <a:ext uri="{FF2B5EF4-FFF2-40B4-BE49-F238E27FC236}">
                    <a16:creationId xmlns:a16="http://schemas.microsoft.com/office/drawing/2014/main" id="{CA751255-E8B2-46C9-B642-4676463DF6A0}"/>
                  </a:ext>
                </a:extLst>
              </p:cNvPr>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Freeform 504">
                <a:extLst>
                  <a:ext uri="{FF2B5EF4-FFF2-40B4-BE49-F238E27FC236}">
                    <a16:creationId xmlns:a16="http://schemas.microsoft.com/office/drawing/2014/main" id="{4E5D794D-A0E6-4568-9E2A-3B0C8FB9F7EA}"/>
                  </a:ext>
                </a:extLst>
              </p:cNvPr>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44" name="Freeform 505">
                <a:extLst>
                  <a:ext uri="{FF2B5EF4-FFF2-40B4-BE49-F238E27FC236}">
                    <a16:creationId xmlns:a16="http://schemas.microsoft.com/office/drawing/2014/main" id="{CF5E8C89-A30F-4CBB-9668-7D9925BD736D}"/>
                  </a:ext>
                </a:extLst>
              </p:cNvPr>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41" name="Freeform 547">
              <a:extLst>
                <a:ext uri="{FF2B5EF4-FFF2-40B4-BE49-F238E27FC236}">
                  <a16:creationId xmlns:a16="http://schemas.microsoft.com/office/drawing/2014/main" id="{9712089B-6B24-45E6-B7D2-F920E5E431D8}"/>
                </a:ext>
              </a:extLst>
            </p:cNvPr>
            <p:cNvSpPr>
              <a:spLocks noEditPoints="1"/>
            </p:cNvSpPr>
            <p:nvPr/>
          </p:nvSpPr>
          <p:spPr bwMode="auto">
            <a:xfrm>
              <a:off x="7104733" y="134089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32485113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6_Key statement teal">
    <p:bg>
      <p:bgPr>
        <a:solidFill>
          <a:srgbClr val="343434"/>
        </a:solidFill>
        <a:effectLst/>
      </p:bgPr>
    </p:bg>
    <p:spTree>
      <p:nvGrpSpPr>
        <p:cNvPr id="1" name=""/>
        <p:cNvGrpSpPr/>
        <p:nvPr/>
      </p:nvGrpSpPr>
      <p:grpSpPr>
        <a:xfrm>
          <a:off x="0" y="0"/>
          <a:ext cx="0" cy="0"/>
          <a:chOff x="0" y="0"/>
          <a:chExt cx="0" cy="0"/>
        </a:xfrm>
      </p:grpSpPr>
      <p:sp>
        <p:nvSpPr>
          <p:cNvPr id="59" name="Text Placeholder 8">
            <a:extLst>
              <a:ext uri="{FF2B5EF4-FFF2-40B4-BE49-F238E27FC236}">
                <a16:creationId xmlns:a16="http://schemas.microsoft.com/office/drawing/2014/main" id="{08198F33-BA62-4225-9551-E2CDD68ACCD8}"/>
              </a:ext>
            </a:extLst>
          </p:cNvPr>
          <p:cNvSpPr>
            <a:spLocks noGrp="1"/>
          </p:cNvSpPr>
          <p:nvPr>
            <p:ph type="body" sz="quarter" idx="13" hasCustomPrompt="1"/>
          </p:nvPr>
        </p:nvSpPr>
        <p:spPr>
          <a:xfrm>
            <a:off x="469909" y="736706"/>
            <a:ext cx="11252200" cy="757255"/>
          </a:xfrm>
          <a:prstGeom prst="rect">
            <a:avLst/>
          </a:prstGeom>
        </p:spPr>
        <p:txBody>
          <a:bodyPr lIns="0" tIns="0" rIns="0" bIns="0">
            <a:noAutofit/>
          </a:bodyPr>
          <a:lstStyle>
            <a:lvl1pPr marL="0" indent="0">
              <a:buNone/>
              <a:defRPr sz="1982" b="0">
                <a:solidFill>
                  <a:schemeClr val="bg1"/>
                </a:solidFill>
              </a:defRPr>
            </a:lvl1pPr>
          </a:lstStyle>
          <a:p>
            <a:pPr lvl="0"/>
            <a:r>
              <a:rPr lang="en-US" noProof="0" dirty="0"/>
              <a:t>Click to add subtitle</a:t>
            </a:r>
          </a:p>
        </p:txBody>
      </p:sp>
      <p:sp>
        <p:nvSpPr>
          <p:cNvPr id="60" name="Title Placeholder 1">
            <a:extLst>
              <a:ext uri="{FF2B5EF4-FFF2-40B4-BE49-F238E27FC236}">
                <a16:creationId xmlns:a16="http://schemas.microsoft.com/office/drawing/2014/main" id="{BDC72A00-958C-459F-971E-F8B29CABB969}"/>
              </a:ext>
            </a:extLst>
          </p:cNvPr>
          <p:cNvSpPr>
            <a:spLocks noGrp="1"/>
          </p:cNvSpPr>
          <p:nvPr>
            <p:ph type="title"/>
          </p:nvPr>
        </p:nvSpPr>
        <p:spPr>
          <a:xfrm>
            <a:off x="469909" y="402587"/>
            <a:ext cx="11252200" cy="334102"/>
          </a:xfrm>
          <a:prstGeom prst="rect">
            <a:avLst/>
          </a:prstGeom>
        </p:spPr>
        <p:txBody>
          <a:bodyPr vert="horz" lIns="0" tIns="0" rIns="0" bIns="0" rtlCol="0" anchor="t" anchorCtr="0">
            <a:noAutofit/>
          </a:bodyPr>
          <a:lstStyle>
            <a:lvl1pPr>
              <a:defRPr sz="1982">
                <a:solidFill>
                  <a:schemeClr val="bg1"/>
                </a:solidFill>
              </a:defRPr>
            </a:lvl1pPr>
          </a:lstStyle>
          <a:p>
            <a:r>
              <a:rPr lang="en-US" noProof="0" dirty="0"/>
              <a:t>Click to edit Master title style</a:t>
            </a:r>
          </a:p>
        </p:txBody>
      </p:sp>
      <p:sp>
        <p:nvSpPr>
          <p:cNvPr id="61" name="Text Placeholder 18">
            <a:extLst>
              <a:ext uri="{FF2B5EF4-FFF2-40B4-BE49-F238E27FC236}">
                <a16:creationId xmlns:a16="http://schemas.microsoft.com/office/drawing/2014/main" id="{353797D3-DF1B-487F-A65D-CD31F2A47832}"/>
              </a:ext>
            </a:extLst>
          </p:cNvPr>
          <p:cNvSpPr>
            <a:spLocks noGrp="1"/>
          </p:cNvSpPr>
          <p:nvPr>
            <p:ph idx="1"/>
          </p:nvPr>
        </p:nvSpPr>
        <p:spPr>
          <a:xfrm>
            <a:off x="469909" y="1665818"/>
            <a:ext cx="11252200" cy="4633383"/>
          </a:xfrm>
          <a:prstGeom prst="rect">
            <a:avLst/>
          </a:prstGeom>
        </p:spPr>
        <p:txBody>
          <a:bodyPr vert="horz" lIns="0" tIns="0" rIns="0" bIns="0" rtlCol="0">
            <a:noAutofit/>
          </a:bodyPr>
          <a:lstStyle>
            <a:lvl1pPr marL="0" indent="0" algn="l">
              <a:buFontTx/>
              <a:buNone/>
              <a:defRPr>
                <a:solidFill>
                  <a:schemeClr val="bg1"/>
                </a:solidFill>
              </a:defRPr>
            </a:lvl1pPr>
            <a:lvl2pPr marL="125862" indent="-125862" algn="l">
              <a:buClrTx/>
              <a:buSzPct val="100000"/>
              <a:buFont typeface="Arial" panose="020B0604020202020204" pitchFamily="34" charset="0"/>
              <a:buChar char="•"/>
              <a:defRPr>
                <a:solidFill>
                  <a:schemeClr val="bg1"/>
                </a:solidFill>
              </a:defRPr>
            </a:lvl2pPr>
            <a:lvl3pPr marL="276896" indent="-125862" algn="l">
              <a:buClrTx/>
              <a:buSzPct val="100000"/>
              <a:buFont typeface="Arial" panose="020B0604020202020204" pitchFamily="34" charset="0"/>
              <a:buChar char="−"/>
              <a:defRPr>
                <a:solidFill>
                  <a:schemeClr val="bg1"/>
                </a:solidFill>
              </a:defRPr>
            </a:lvl3pPr>
            <a:lvl4pPr marL="427929" indent="-125862" algn="l">
              <a:buClrTx/>
              <a:buSzPct val="100000"/>
              <a:buFont typeface="Arial" panose="020B0604020202020204" pitchFamily="34" charset="0"/>
              <a:buChar char="◦"/>
              <a:defRPr>
                <a:solidFill>
                  <a:schemeClr val="bg1"/>
                </a:solidFill>
              </a:defRPr>
            </a:lvl4pPr>
            <a:lvl5pPr marL="578963" indent="-125862" algn="l">
              <a:buClrTx/>
              <a:buSzPct val="100000"/>
              <a:buFont typeface="Arial" panose="020B0604020202020204" pitchFamily="34" charset="0"/>
              <a:buChar cha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grpSp>
        <p:nvGrpSpPr>
          <p:cNvPr id="73" name="Group 72">
            <a:extLst>
              <a:ext uri="{FF2B5EF4-FFF2-40B4-BE49-F238E27FC236}">
                <a16:creationId xmlns:a16="http://schemas.microsoft.com/office/drawing/2014/main" id="{B40C2050-7E2E-4B67-8F3A-0CD439740539}"/>
              </a:ext>
            </a:extLst>
          </p:cNvPr>
          <p:cNvGrpSpPr/>
          <p:nvPr userDrawn="1"/>
        </p:nvGrpSpPr>
        <p:grpSpPr>
          <a:xfrm>
            <a:off x="10835777" y="6454064"/>
            <a:ext cx="367881" cy="367881"/>
            <a:chOff x="2624423" y="132075"/>
            <a:chExt cx="864729" cy="864729"/>
          </a:xfrm>
        </p:grpSpPr>
        <p:sp>
          <p:nvSpPr>
            <p:cNvPr id="74" name="Oval 73">
              <a:extLst>
                <a:ext uri="{FF2B5EF4-FFF2-40B4-BE49-F238E27FC236}">
                  <a16:creationId xmlns:a16="http://schemas.microsoft.com/office/drawing/2014/main" id="{5FE2787F-6D06-4594-9263-0B04EBAEBE3A}"/>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75" name="Group 22">
              <a:extLst>
                <a:ext uri="{FF2B5EF4-FFF2-40B4-BE49-F238E27FC236}">
                  <a16:creationId xmlns:a16="http://schemas.microsoft.com/office/drawing/2014/main" id="{EBC93A6C-A0DD-451C-9C5F-3A4AC05A793C}"/>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76" name="Freeform 23">
                <a:extLst>
                  <a:ext uri="{FF2B5EF4-FFF2-40B4-BE49-F238E27FC236}">
                    <a16:creationId xmlns:a16="http://schemas.microsoft.com/office/drawing/2014/main" id="{6BE54730-3EDB-4BB7-9FF4-E32ABAB493B6}"/>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sp>
            <p:nvSpPr>
              <p:cNvPr id="77" name="Freeform 24">
                <a:extLst>
                  <a:ext uri="{FF2B5EF4-FFF2-40B4-BE49-F238E27FC236}">
                    <a16:creationId xmlns:a16="http://schemas.microsoft.com/office/drawing/2014/main" id="{971D552F-DD2A-4DC8-BF1A-BD99C865F121}"/>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grpSp>
      </p:grpSp>
      <p:sp>
        <p:nvSpPr>
          <p:cNvPr id="78" name="Oval 77">
            <a:hlinkClick r:id="rId2" action="ppaction://hlinksldjump" tooltip="Home"/>
            <a:extLst>
              <a:ext uri="{FF2B5EF4-FFF2-40B4-BE49-F238E27FC236}">
                <a16:creationId xmlns:a16="http://schemas.microsoft.com/office/drawing/2014/main" id="{B5E3FC66-0661-405F-BF5D-537886A1B40D}"/>
              </a:ext>
            </a:extLst>
          </p:cNvPr>
          <p:cNvSpPr/>
          <p:nvPr userDrawn="1"/>
        </p:nvSpPr>
        <p:spPr bwMode="gray">
          <a:xfrm>
            <a:off x="10795524" y="6454864"/>
            <a:ext cx="427074" cy="427074"/>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66" name="Rectangle 65">
            <a:hlinkClick r:id="rId3" action="ppaction://hlinksldjump" tooltip="Pricing and fees"/>
            <a:extLst>
              <a:ext uri="{FF2B5EF4-FFF2-40B4-BE49-F238E27FC236}">
                <a16:creationId xmlns:a16="http://schemas.microsoft.com/office/drawing/2014/main" id="{6C85502E-9FA6-4D2A-8AE5-411D1608AA74}"/>
              </a:ext>
            </a:extLst>
          </p:cNvPr>
          <p:cNvSpPr/>
          <p:nvPr userDrawn="1"/>
        </p:nvSpPr>
        <p:spPr bwMode="gray">
          <a:xfrm>
            <a:off x="11307641" y="3904466"/>
            <a:ext cx="884213" cy="975609"/>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67" name="Rectangle 66">
            <a:hlinkClick r:id="rId4" action="ppaction://hlinksldjump" tooltip="Client references"/>
            <a:extLst>
              <a:ext uri="{FF2B5EF4-FFF2-40B4-BE49-F238E27FC236}">
                <a16:creationId xmlns:a16="http://schemas.microsoft.com/office/drawing/2014/main" id="{1FAAB899-0767-4C67-AFE3-64DE39DE5AA6}"/>
              </a:ext>
            </a:extLst>
          </p:cNvPr>
          <p:cNvSpPr/>
          <p:nvPr userDrawn="1"/>
        </p:nvSpPr>
        <p:spPr bwMode="gray">
          <a:xfrm>
            <a:off x="11307787" y="2953369"/>
            <a:ext cx="884213" cy="965124"/>
          </a:xfrm>
          <a:prstGeom prst="rect">
            <a:avLst/>
          </a:prstGeom>
          <a:solidFill>
            <a:srgbClr val="046A38">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68" name="Rectangle 67">
            <a:extLst>
              <a:ext uri="{FF2B5EF4-FFF2-40B4-BE49-F238E27FC236}">
                <a16:creationId xmlns:a16="http://schemas.microsoft.com/office/drawing/2014/main" id="{B934452E-27F4-411F-AD7C-AAEEF24B351A}"/>
              </a:ext>
            </a:extLst>
          </p:cNvPr>
          <p:cNvSpPr/>
          <p:nvPr userDrawn="1"/>
        </p:nvSpPr>
        <p:spPr bwMode="gray">
          <a:xfrm>
            <a:off x="11307787" y="5745562"/>
            <a:ext cx="884213" cy="1112438"/>
          </a:xfrm>
          <a:prstGeom prst="rect">
            <a:avLst/>
          </a:prstGeom>
          <a:solidFill>
            <a:srgbClr val="343434"/>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69" name="Rectangle 68">
            <a:extLst>
              <a:ext uri="{FF2B5EF4-FFF2-40B4-BE49-F238E27FC236}">
                <a16:creationId xmlns:a16="http://schemas.microsoft.com/office/drawing/2014/main" id="{6D907470-A248-48B9-8A40-3F282D0786C8}"/>
              </a:ext>
            </a:extLst>
          </p:cNvPr>
          <p:cNvSpPr/>
          <p:nvPr userDrawn="1"/>
        </p:nvSpPr>
        <p:spPr>
          <a:xfrm>
            <a:off x="11349439" y="5969718"/>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endix</a:t>
            </a:r>
            <a:endParaRPr lang="en-US" sz="891" b="0" dirty="0">
              <a:solidFill>
                <a:schemeClr val="bg1"/>
              </a:solidFill>
              <a:latin typeface="Calibri" panose="020F0502020204030204" pitchFamily="34" charset="0"/>
            </a:endParaRPr>
          </a:p>
        </p:txBody>
      </p:sp>
      <p:grpSp>
        <p:nvGrpSpPr>
          <p:cNvPr id="70" name="Group 69">
            <a:extLst>
              <a:ext uri="{FF2B5EF4-FFF2-40B4-BE49-F238E27FC236}">
                <a16:creationId xmlns:a16="http://schemas.microsoft.com/office/drawing/2014/main" id="{FA382298-5FA0-4E27-B707-74214319422A}"/>
              </a:ext>
            </a:extLst>
          </p:cNvPr>
          <p:cNvGrpSpPr/>
          <p:nvPr userDrawn="1"/>
        </p:nvGrpSpPr>
        <p:grpSpPr>
          <a:xfrm>
            <a:off x="11501750" y="6555510"/>
            <a:ext cx="496285" cy="143992"/>
            <a:chOff x="12956047" y="8113587"/>
            <a:chExt cx="496285" cy="143992"/>
          </a:xfrm>
        </p:grpSpPr>
        <p:sp>
          <p:nvSpPr>
            <p:cNvPr id="71" name="object 21">
              <a:hlinkClick r:id="" action="ppaction://hlinkshowjump?jump=nextslide" highlightClick="1"/>
              <a:extLst>
                <a:ext uri="{FF2B5EF4-FFF2-40B4-BE49-F238E27FC236}">
                  <a16:creationId xmlns:a16="http://schemas.microsoft.com/office/drawing/2014/main" id="{559D8513-CE40-4CAF-81A9-D1ACB4AE6A71}"/>
                </a:ext>
              </a:extLst>
            </p:cNvPr>
            <p:cNvSpPr/>
            <p:nvPr userDrawn="1"/>
          </p:nvSpPr>
          <p:spPr>
            <a:xfrm>
              <a:off x="13308327" y="8113587"/>
              <a:ext cx="144005" cy="143992"/>
            </a:xfrm>
            <a:prstGeom prst="rect">
              <a:avLst/>
            </a:prstGeom>
            <a:blipFill>
              <a:blip r:embed="rId5" cstate="screen">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endParaRPr sz="2773" dirty="0">
                <a:latin typeface="Calibri" panose="020F0502020204030204" pitchFamily="34" charset="0"/>
              </a:endParaRPr>
            </a:p>
          </p:txBody>
        </p:sp>
        <p:sp>
          <p:nvSpPr>
            <p:cNvPr id="79" name="object 22">
              <a:hlinkClick r:id="" action="ppaction://hlinkshowjump?jump=previousslide" highlightClick="1"/>
              <a:extLst>
                <a:ext uri="{FF2B5EF4-FFF2-40B4-BE49-F238E27FC236}">
                  <a16:creationId xmlns:a16="http://schemas.microsoft.com/office/drawing/2014/main" id="{43A43445-EA00-4A60-967F-D7D9F60EA328}"/>
                </a:ext>
              </a:extLst>
            </p:cNvPr>
            <p:cNvSpPr/>
            <p:nvPr userDrawn="1"/>
          </p:nvSpPr>
          <p:spPr>
            <a:xfrm>
              <a:off x="12956047" y="8113587"/>
              <a:ext cx="144005" cy="143992"/>
            </a:xfrm>
            <a:prstGeom prst="rect">
              <a:avLst/>
            </a:prstGeom>
            <a:blipFill>
              <a:blip r:embed="rId7" cstate="screen">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a:blipFill>
            <a:ln>
              <a:noFill/>
            </a:ln>
          </p:spPr>
          <p:txBody>
            <a:bodyPr wrap="square" lIns="0" tIns="0" rIns="0" bIns="0" rtlCol="0"/>
            <a:lstStyle/>
            <a:p>
              <a:endParaRPr sz="2773" dirty="0">
                <a:latin typeface="Calibri" panose="020F0502020204030204" pitchFamily="34" charset="0"/>
              </a:endParaRPr>
            </a:p>
          </p:txBody>
        </p:sp>
      </p:grpSp>
      <p:grpSp>
        <p:nvGrpSpPr>
          <p:cNvPr id="80" name="Group 79">
            <a:extLst>
              <a:ext uri="{FF2B5EF4-FFF2-40B4-BE49-F238E27FC236}">
                <a16:creationId xmlns:a16="http://schemas.microsoft.com/office/drawing/2014/main" id="{6A57A2BA-92C0-45C4-8E16-5446BCD3D9C2}"/>
              </a:ext>
            </a:extLst>
          </p:cNvPr>
          <p:cNvGrpSpPr/>
          <p:nvPr userDrawn="1"/>
        </p:nvGrpSpPr>
        <p:grpSpPr>
          <a:xfrm>
            <a:off x="11307787" y="978701"/>
            <a:ext cx="884213" cy="978408"/>
            <a:chOff x="10576386" y="144060"/>
            <a:chExt cx="884213" cy="978408"/>
          </a:xfrm>
        </p:grpSpPr>
        <p:sp>
          <p:nvSpPr>
            <p:cNvPr id="81" name="Rectangle 80">
              <a:extLst>
                <a:ext uri="{FF2B5EF4-FFF2-40B4-BE49-F238E27FC236}">
                  <a16:creationId xmlns:a16="http://schemas.microsoft.com/office/drawing/2014/main" id="{452B2C53-C406-4353-93AE-531967BF8CB0}"/>
                </a:ext>
              </a:extLst>
            </p:cNvPr>
            <p:cNvSpPr/>
            <p:nvPr userDrawn="1"/>
          </p:nvSpPr>
          <p:spPr bwMode="gray">
            <a:xfrm>
              <a:off x="10576386" y="144060"/>
              <a:ext cx="884213" cy="978408"/>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82" name="Group 592">
              <a:extLst>
                <a:ext uri="{FF2B5EF4-FFF2-40B4-BE49-F238E27FC236}">
                  <a16:creationId xmlns:a16="http://schemas.microsoft.com/office/drawing/2014/main" id="{2302453D-9390-435B-918B-48353FBD1A65}"/>
                </a:ext>
              </a:extLst>
            </p:cNvPr>
            <p:cNvGrpSpPr>
              <a:grpSpLocks/>
            </p:cNvGrpSpPr>
            <p:nvPr userDrawn="1"/>
          </p:nvGrpSpPr>
          <p:grpSpPr bwMode="auto">
            <a:xfrm>
              <a:off x="10835612" y="271928"/>
              <a:ext cx="365760" cy="369676"/>
              <a:chOff x="373" y="1933"/>
              <a:chExt cx="341" cy="340"/>
            </a:xfrm>
            <a:solidFill>
              <a:schemeClr val="bg1"/>
            </a:solidFill>
          </p:grpSpPr>
          <p:sp>
            <p:nvSpPr>
              <p:cNvPr id="83" name="Freeform 82">
                <a:extLst>
                  <a:ext uri="{FF2B5EF4-FFF2-40B4-BE49-F238E27FC236}">
                    <a16:creationId xmlns:a16="http://schemas.microsoft.com/office/drawing/2014/main" id="{2B96DFC0-3179-4202-9D5F-05E1B8DF75BC}"/>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sp>
            <p:nvSpPr>
              <p:cNvPr id="84" name="Freeform 83">
                <a:extLst>
                  <a:ext uri="{FF2B5EF4-FFF2-40B4-BE49-F238E27FC236}">
                    <a16:creationId xmlns:a16="http://schemas.microsoft.com/office/drawing/2014/main" id="{EF767435-580F-47EE-BF25-5FD8E9D10125}"/>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139" name="Group 138">
            <a:extLst>
              <a:ext uri="{FF2B5EF4-FFF2-40B4-BE49-F238E27FC236}">
                <a16:creationId xmlns:a16="http://schemas.microsoft.com/office/drawing/2014/main" id="{9BB39C06-F26A-4111-BC2F-03379F92F894}"/>
              </a:ext>
            </a:extLst>
          </p:cNvPr>
          <p:cNvGrpSpPr/>
          <p:nvPr userDrawn="1"/>
        </p:nvGrpSpPr>
        <p:grpSpPr>
          <a:xfrm>
            <a:off x="11307787" y="0"/>
            <a:ext cx="884213" cy="978408"/>
            <a:chOff x="11320453" y="0"/>
            <a:chExt cx="884213" cy="978408"/>
          </a:xfrm>
        </p:grpSpPr>
        <p:sp>
          <p:nvSpPr>
            <p:cNvPr id="140" name="Rectangle 139">
              <a:extLst>
                <a:ext uri="{FF2B5EF4-FFF2-40B4-BE49-F238E27FC236}">
                  <a16:creationId xmlns:a16="http://schemas.microsoft.com/office/drawing/2014/main" id="{65FC472A-7D59-4D54-8FC9-7D6FA5E1EA47}"/>
                </a:ext>
              </a:extLst>
            </p:cNvPr>
            <p:cNvSpPr/>
            <p:nvPr userDrawn="1"/>
          </p:nvSpPr>
          <p:spPr bwMode="gray">
            <a:xfrm>
              <a:off x="11320453" y="0"/>
              <a:ext cx="884213" cy="978408"/>
            </a:xfrm>
            <a:prstGeom prst="rect">
              <a:avLst/>
            </a:prstGeom>
            <a:solidFill>
              <a:srgbClr val="0055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41" name="Group 140">
              <a:extLst>
                <a:ext uri="{FF2B5EF4-FFF2-40B4-BE49-F238E27FC236}">
                  <a16:creationId xmlns:a16="http://schemas.microsoft.com/office/drawing/2014/main" id="{9F17A192-3FD8-48E6-B53D-9EF7090C6044}"/>
                </a:ext>
              </a:extLst>
            </p:cNvPr>
            <p:cNvGrpSpPr/>
            <p:nvPr userDrawn="1"/>
          </p:nvGrpSpPr>
          <p:grpSpPr>
            <a:xfrm>
              <a:off x="11578568" y="107960"/>
              <a:ext cx="367982" cy="367982"/>
              <a:chOff x="6042955" y="3704076"/>
              <a:chExt cx="367982" cy="367982"/>
            </a:xfrm>
            <a:solidFill>
              <a:schemeClr val="bg1"/>
            </a:solidFill>
          </p:grpSpPr>
          <p:grpSp>
            <p:nvGrpSpPr>
              <p:cNvPr id="142" name="Group 141">
                <a:extLst>
                  <a:ext uri="{FF2B5EF4-FFF2-40B4-BE49-F238E27FC236}">
                    <a16:creationId xmlns:a16="http://schemas.microsoft.com/office/drawing/2014/main" id="{58A0B01D-64B0-4096-9E7F-DECD3B5567F6}"/>
                  </a:ext>
                </a:extLst>
              </p:cNvPr>
              <p:cNvGrpSpPr/>
              <p:nvPr/>
            </p:nvGrpSpPr>
            <p:grpSpPr>
              <a:xfrm>
                <a:off x="6131110" y="3758524"/>
                <a:ext cx="207980" cy="259087"/>
                <a:chOff x="1690688" y="5349875"/>
                <a:chExt cx="465138" cy="579438"/>
              </a:xfrm>
              <a:grpFill/>
            </p:grpSpPr>
            <p:sp>
              <p:nvSpPr>
                <p:cNvPr id="144" name="Freeform 68">
                  <a:extLst>
                    <a:ext uri="{FF2B5EF4-FFF2-40B4-BE49-F238E27FC236}">
                      <a16:creationId xmlns:a16="http://schemas.microsoft.com/office/drawing/2014/main" id="{6B823961-1297-4728-AA3F-690E6A76EF2B}"/>
                    </a:ext>
                  </a:extLst>
                </p:cNvPr>
                <p:cNvSpPr>
                  <a:spLocks/>
                </p:cNvSpPr>
                <p:nvPr/>
              </p:nvSpPr>
              <p:spPr bwMode="auto">
                <a:xfrm>
                  <a:off x="1781175" y="577850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45" name="Freeform 69">
                  <a:extLst>
                    <a:ext uri="{FF2B5EF4-FFF2-40B4-BE49-F238E27FC236}">
                      <a16:creationId xmlns:a16="http://schemas.microsoft.com/office/drawing/2014/main" id="{2CE5E292-BC45-4468-B71B-4A6ADB984718}"/>
                    </a:ext>
                  </a:extLst>
                </p:cNvPr>
                <p:cNvSpPr>
                  <a:spLocks/>
                </p:cNvSpPr>
                <p:nvPr/>
              </p:nvSpPr>
              <p:spPr bwMode="auto">
                <a:xfrm>
                  <a:off x="1781175" y="569595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46" name="Freeform 70">
                  <a:extLst>
                    <a:ext uri="{FF2B5EF4-FFF2-40B4-BE49-F238E27FC236}">
                      <a16:creationId xmlns:a16="http://schemas.microsoft.com/office/drawing/2014/main" id="{0BD6E49D-6BB9-4215-AC6E-CEF99CF5DFE5}"/>
                    </a:ext>
                  </a:extLst>
                </p:cNvPr>
                <p:cNvSpPr>
                  <a:spLocks/>
                </p:cNvSpPr>
                <p:nvPr/>
              </p:nvSpPr>
              <p:spPr bwMode="auto">
                <a:xfrm>
                  <a:off x="1781175" y="5614988"/>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47" name="Freeform 71">
                  <a:extLst>
                    <a:ext uri="{FF2B5EF4-FFF2-40B4-BE49-F238E27FC236}">
                      <a16:creationId xmlns:a16="http://schemas.microsoft.com/office/drawing/2014/main" id="{BEC31180-1130-48F0-A010-446019D55F3B}"/>
                    </a:ext>
                  </a:extLst>
                </p:cNvPr>
                <p:cNvSpPr>
                  <a:spLocks/>
                </p:cNvSpPr>
                <p:nvPr/>
              </p:nvSpPr>
              <p:spPr bwMode="auto">
                <a:xfrm>
                  <a:off x="1781175" y="5534025"/>
                  <a:ext cx="136525" cy="20638"/>
                </a:xfrm>
                <a:custGeom>
                  <a:avLst/>
                  <a:gdLst>
                    <a:gd name="T0" fmla="*/ 5 w 57"/>
                    <a:gd name="T1" fmla="*/ 9 h 9"/>
                    <a:gd name="T2" fmla="*/ 52 w 57"/>
                    <a:gd name="T3" fmla="*/ 9 h 9"/>
                    <a:gd name="T4" fmla="*/ 57 w 57"/>
                    <a:gd name="T5" fmla="*/ 5 h 9"/>
                    <a:gd name="T6" fmla="*/ 52 w 57"/>
                    <a:gd name="T7" fmla="*/ 0 h 9"/>
                    <a:gd name="T8" fmla="*/ 5 w 57"/>
                    <a:gd name="T9" fmla="*/ 0 h 9"/>
                    <a:gd name="T10" fmla="*/ 0 w 57"/>
                    <a:gd name="T11" fmla="*/ 5 h 9"/>
                    <a:gd name="T12" fmla="*/ 5 w 5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57" h="9">
                      <a:moveTo>
                        <a:pt x="5" y="9"/>
                      </a:moveTo>
                      <a:cubicBezTo>
                        <a:pt x="52" y="9"/>
                        <a:pt x="52" y="9"/>
                        <a:pt x="52" y="9"/>
                      </a:cubicBezTo>
                      <a:cubicBezTo>
                        <a:pt x="54" y="9"/>
                        <a:pt x="57" y="7"/>
                        <a:pt x="57" y="5"/>
                      </a:cubicBezTo>
                      <a:cubicBezTo>
                        <a:pt x="57" y="2"/>
                        <a:pt x="54" y="0"/>
                        <a:pt x="52"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48" name="Freeform 72">
                  <a:extLst>
                    <a:ext uri="{FF2B5EF4-FFF2-40B4-BE49-F238E27FC236}">
                      <a16:creationId xmlns:a16="http://schemas.microsoft.com/office/drawing/2014/main" id="{5E1B587E-1556-4EFA-BCEE-B0244F9C99D3}"/>
                    </a:ext>
                  </a:extLst>
                </p:cNvPr>
                <p:cNvSpPr>
                  <a:spLocks noEditPoints="1"/>
                </p:cNvSpPr>
                <p:nvPr/>
              </p:nvSpPr>
              <p:spPr bwMode="auto">
                <a:xfrm>
                  <a:off x="1690688" y="5349875"/>
                  <a:ext cx="465138" cy="579438"/>
                </a:xfrm>
                <a:custGeom>
                  <a:avLst/>
                  <a:gdLst>
                    <a:gd name="T0" fmla="*/ 190 w 194"/>
                    <a:gd name="T1" fmla="*/ 37 h 242"/>
                    <a:gd name="T2" fmla="*/ 156 w 194"/>
                    <a:gd name="T3" fmla="*/ 4 h 242"/>
                    <a:gd name="T4" fmla="*/ 147 w 194"/>
                    <a:gd name="T5" fmla="*/ 0 h 242"/>
                    <a:gd name="T6" fmla="*/ 147 w 194"/>
                    <a:gd name="T7" fmla="*/ 0 h 242"/>
                    <a:gd name="T8" fmla="*/ 13 w 194"/>
                    <a:gd name="T9" fmla="*/ 0 h 242"/>
                    <a:gd name="T10" fmla="*/ 0 w 194"/>
                    <a:gd name="T11" fmla="*/ 13 h 242"/>
                    <a:gd name="T12" fmla="*/ 0 w 194"/>
                    <a:gd name="T13" fmla="*/ 229 h 242"/>
                    <a:gd name="T14" fmla="*/ 13 w 194"/>
                    <a:gd name="T15" fmla="*/ 242 h 242"/>
                    <a:gd name="T16" fmla="*/ 181 w 194"/>
                    <a:gd name="T17" fmla="*/ 242 h 242"/>
                    <a:gd name="T18" fmla="*/ 194 w 194"/>
                    <a:gd name="T19" fmla="*/ 229 h 242"/>
                    <a:gd name="T20" fmla="*/ 194 w 194"/>
                    <a:gd name="T21" fmla="*/ 46 h 242"/>
                    <a:gd name="T22" fmla="*/ 190 w 194"/>
                    <a:gd name="T23" fmla="*/ 37 h 242"/>
                    <a:gd name="T24" fmla="*/ 180 w 194"/>
                    <a:gd name="T25" fmla="*/ 41 h 242"/>
                    <a:gd name="T26" fmla="*/ 152 w 194"/>
                    <a:gd name="T27" fmla="*/ 41 h 242"/>
                    <a:gd name="T28" fmla="*/ 152 w 194"/>
                    <a:gd name="T29" fmla="*/ 13 h 242"/>
                    <a:gd name="T30" fmla="*/ 180 w 194"/>
                    <a:gd name="T31" fmla="*/ 41 h 242"/>
                    <a:gd name="T32" fmla="*/ 181 w 194"/>
                    <a:gd name="T33" fmla="*/ 232 h 242"/>
                    <a:gd name="T34" fmla="*/ 13 w 194"/>
                    <a:gd name="T35" fmla="*/ 232 h 242"/>
                    <a:gd name="T36" fmla="*/ 9 w 194"/>
                    <a:gd name="T37" fmla="*/ 229 h 242"/>
                    <a:gd name="T38" fmla="*/ 9 w 194"/>
                    <a:gd name="T39" fmla="*/ 13 h 242"/>
                    <a:gd name="T40" fmla="*/ 13 w 194"/>
                    <a:gd name="T41" fmla="*/ 10 h 242"/>
                    <a:gd name="T42" fmla="*/ 142 w 194"/>
                    <a:gd name="T43" fmla="*/ 10 h 242"/>
                    <a:gd name="T44" fmla="*/ 142 w 194"/>
                    <a:gd name="T45" fmla="*/ 46 h 242"/>
                    <a:gd name="T46" fmla="*/ 147 w 194"/>
                    <a:gd name="T47" fmla="*/ 51 h 242"/>
                    <a:gd name="T48" fmla="*/ 184 w 194"/>
                    <a:gd name="T49" fmla="*/ 51 h 242"/>
                    <a:gd name="T50" fmla="*/ 184 w 194"/>
                    <a:gd name="T51" fmla="*/ 229 h 242"/>
                    <a:gd name="T52" fmla="*/ 181 w 194"/>
                    <a:gd name="T53"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4" h="242">
                      <a:moveTo>
                        <a:pt x="190" y="37"/>
                      </a:moveTo>
                      <a:cubicBezTo>
                        <a:pt x="156" y="4"/>
                        <a:pt x="156" y="4"/>
                        <a:pt x="156" y="4"/>
                      </a:cubicBezTo>
                      <a:cubicBezTo>
                        <a:pt x="153" y="1"/>
                        <a:pt x="150" y="0"/>
                        <a:pt x="147" y="0"/>
                      </a:cubicBezTo>
                      <a:cubicBezTo>
                        <a:pt x="147" y="0"/>
                        <a:pt x="147" y="0"/>
                        <a:pt x="147" y="0"/>
                      </a:cubicBezTo>
                      <a:cubicBezTo>
                        <a:pt x="13" y="0"/>
                        <a:pt x="13" y="0"/>
                        <a:pt x="13" y="0"/>
                      </a:cubicBezTo>
                      <a:cubicBezTo>
                        <a:pt x="5" y="0"/>
                        <a:pt x="0" y="6"/>
                        <a:pt x="0" y="13"/>
                      </a:cubicBezTo>
                      <a:cubicBezTo>
                        <a:pt x="0" y="229"/>
                        <a:pt x="0" y="229"/>
                        <a:pt x="0" y="229"/>
                      </a:cubicBezTo>
                      <a:cubicBezTo>
                        <a:pt x="0" y="236"/>
                        <a:pt x="5" y="242"/>
                        <a:pt x="13" y="242"/>
                      </a:cubicBezTo>
                      <a:cubicBezTo>
                        <a:pt x="181" y="242"/>
                        <a:pt x="181" y="242"/>
                        <a:pt x="181" y="242"/>
                      </a:cubicBezTo>
                      <a:cubicBezTo>
                        <a:pt x="188" y="242"/>
                        <a:pt x="194" y="236"/>
                        <a:pt x="194" y="229"/>
                      </a:cubicBezTo>
                      <a:cubicBezTo>
                        <a:pt x="194" y="46"/>
                        <a:pt x="194" y="46"/>
                        <a:pt x="194" y="46"/>
                      </a:cubicBezTo>
                      <a:cubicBezTo>
                        <a:pt x="194" y="43"/>
                        <a:pt x="192" y="39"/>
                        <a:pt x="190" y="37"/>
                      </a:cubicBezTo>
                      <a:close/>
                      <a:moveTo>
                        <a:pt x="180" y="41"/>
                      </a:moveTo>
                      <a:cubicBezTo>
                        <a:pt x="152" y="41"/>
                        <a:pt x="152" y="41"/>
                        <a:pt x="152" y="41"/>
                      </a:cubicBezTo>
                      <a:cubicBezTo>
                        <a:pt x="152" y="13"/>
                        <a:pt x="152" y="13"/>
                        <a:pt x="152" y="13"/>
                      </a:cubicBezTo>
                      <a:lnTo>
                        <a:pt x="180" y="41"/>
                      </a:lnTo>
                      <a:close/>
                      <a:moveTo>
                        <a:pt x="181" y="232"/>
                      </a:moveTo>
                      <a:cubicBezTo>
                        <a:pt x="13" y="232"/>
                        <a:pt x="13" y="232"/>
                        <a:pt x="13" y="232"/>
                      </a:cubicBezTo>
                      <a:cubicBezTo>
                        <a:pt x="11" y="232"/>
                        <a:pt x="9" y="231"/>
                        <a:pt x="9" y="229"/>
                      </a:cubicBezTo>
                      <a:cubicBezTo>
                        <a:pt x="9" y="13"/>
                        <a:pt x="9" y="13"/>
                        <a:pt x="9" y="13"/>
                      </a:cubicBezTo>
                      <a:cubicBezTo>
                        <a:pt x="9" y="11"/>
                        <a:pt x="11" y="10"/>
                        <a:pt x="13" y="10"/>
                      </a:cubicBezTo>
                      <a:cubicBezTo>
                        <a:pt x="142" y="10"/>
                        <a:pt x="142" y="10"/>
                        <a:pt x="142" y="10"/>
                      </a:cubicBezTo>
                      <a:cubicBezTo>
                        <a:pt x="142" y="46"/>
                        <a:pt x="142" y="46"/>
                        <a:pt x="142" y="46"/>
                      </a:cubicBezTo>
                      <a:cubicBezTo>
                        <a:pt x="142" y="49"/>
                        <a:pt x="144" y="51"/>
                        <a:pt x="147" y="51"/>
                      </a:cubicBezTo>
                      <a:cubicBezTo>
                        <a:pt x="184" y="51"/>
                        <a:pt x="184" y="51"/>
                        <a:pt x="184" y="51"/>
                      </a:cubicBezTo>
                      <a:cubicBezTo>
                        <a:pt x="184" y="229"/>
                        <a:pt x="184" y="229"/>
                        <a:pt x="184" y="229"/>
                      </a:cubicBezTo>
                      <a:cubicBezTo>
                        <a:pt x="184" y="231"/>
                        <a:pt x="182" y="232"/>
                        <a:pt x="181" y="2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43" name="Freeform 547">
                <a:extLst>
                  <a:ext uri="{FF2B5EF4-FFF2-40B4-BE49-F238E27FC236}">
                    <a16:creationId xmlns:a16="http://schemas.microsoft.com/office/drawing/2014/main" id="{E05B9567-C06F-4895-B96C-079437953971}"/>
                  </a:ext>
                </a:extLst>
              </p:cNvPr>
              <p:cNvSpPr>
                <a:spLocks noEditPoints="1"/>
              </p:cNvSpPr>
              <p:nvPr/>
            </p:nvSpPr>
            <p:spPr bwMode="auto">
              <a:xfrm>
                <a:off x="6042955" y="370407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149" name="Group 148">
            <a:extLst>
              <a:ext uri="{FF2B5EF4-FFF2-40B4-BE49-F238E27FC236}">
                <a16:creationId xmlns:a16="http://schemas.microsoft.com/office/drawing/2014/main" id="{52535618-950F-4AD7-9879-71AC75964C40}"/>
              </a:ext>
            </a:extLst>
          </p:cNvPr>
          <p:cNvGrpSpPr/>
          <p:nvPr userDrawn="1"/>
        </p:nvGrpSpPr>
        <p:grpSpPr>
          <a:xfrm>
            <a:off x="11307787" y="2933749"/>
            <a:ext cx="884213" cy="978408"/>
            <a:chOff x="10576386" y="144060"/>
            <a:chExt cx="884213" cy="978408"/>
          </a:xfrm>
          <a:solidFill>
            <a:srgbClr val="00ABAB"/>
          </a:solidFill>
        </p:grpSpPr>
        <p:sp>
          <p:nvSpPr>
            <p:cNvPr id="150" name="Rectangle 149">
              <a:extLst>
                <a:ext uri="{FF2B5EF4-FFF2-40B4-BE49-F238E27FC236}">
                  <a16:creationId xmlns:a16="http://schemas.microsoft.com/office/drawing/2014/main" id="{F323AD46-8660-48EE-92AD-6D2A6F4AA1C9}"/>
                </a:ext>
              </a:extLst>
            </p:cNvPr>
            <p:cNvSpPr/>
            <p:nvPr userDrawn="1"/>
          </p:nvSpPr>
          <p:spPr bwMode="gray">
            <a:xfrm>
              <a:off x="10576386" y="144060"/>
              <a:ext cx="884213" cy="978408"/>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51" name="Group 150">
              <a:extLst>
                <a:ext uri="{FF2B5EF4-FFF2-40B4-BE49-F238E27FC236}">
                  <a16:creationId xmlns:a16="http://schemas.microsoft.com/office/drawing/2014/main" id="{4B2371B7-590D-4ABB-BDC0-360DEF0B7FFD}"/>
                </a:ext>
              </a:extLst>
            </p:cNvPr>
            <p:cNvGrpSpPr/>
            <p:nvPr userDrawn="1"/>
          </p:nvGrpSpPr>
          <p:grpSpPr>
            <a:xfrm>
              <a:off x="10834501" y="254280"/>
              <a:ext cx="367982" cy="367982"/>
              <a:chOff x="7153126" y="1943100"/>
              <a:chExt cx="367982" cy="367982"/>
            </a:xfrm>
            <a:grpFill/>
          </p:grpSpPr>
          <p:sp>
            <p:nvSpPr>
              <p:cNvPr id="152" name="Freeform 903">
                <a:extLst>
                  <a:ext uri="{FF2B5EF4-FFF2-40B4-BE49-F238E27FC236}">
                    <a16:creationId xmlns:a16="http://schemas.microsoft.com/office/drawing/2014/main" id="{61F505EF-133A-48E6-A4FA-8980F74FC532}"/>
                  </a:ext>
                </a:extLst>
              </p:cNvPr>
              <p:cNvSpPr>
                <a:spLocks noEditPoints="1"/>
              </p:cNvSpPr>
              <p:nvPr/>
            </p:nvSpPr>
            <p:spPr bwMode="auto">
              <a:xfrm>
                <a:off x="7153126" y="1943100"/>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1982"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53" name="Freeform 118">
                <a:extLst>
                  <a:ext uri="{FF2B5EF4-FFF2-40B4-BE49-F238E27FC236}">
                    <a16:creationId xmlns:a16="http://schemas.microsoft.com/office/drawing/2014/main" id="{B4CF30F2-52CB-48DB-A00A-78AA01E6D16A}"/>
                  </a:ext>
                </a:extLst>
              </p:cNvPr>
              <p:cNvSpPr>
                <a:spLocks noChangeAspect="1"/>
              </p:cNvSpPr>
              <p:nvPr/>
            </p:nvSpPr>
            <p:spPr bwMode="auto">
              <a:xfrm>
                <a:off x="7213994" y="1999986"/>
                <a:ext cx="230527" cy="221307"/>
              </a:xfrm>
              <a:custGeom>
                <a:avLst/>
                <a:gdLst>
                  <a:gd name="T0" fmla="*/ 183 w 233"/>
                  <a:gd name="T1" fmla="*/ 167 h 224"/>
                  <a:gd name="T2" fmla="*/ 142 w 233"/>
                  <a:gd name="T3" fmla="*/ 126 h 224"/>
                  <a:gd name="T4" fmla="*/ 156 w 233"/>
                  <a:gd name="T5" fmla="*/ 96 h 224"/>
                  <a:gd name="T6" fmla="*/ 167 w 233"/>
                  <a:gd name="T7" fmla="*/ 75 h 224"/>
                  <a:gd name="T8" fmla="*/ 163 w 233"/>
                  <a:gd name="T9" fmla="*/ 65 h 224"/>
                  <a:gd name="T10" fmla="*/ 166 w 233"/>
                  <a:gd name="T11" fmla="*/ 43 h 224"/>
                  <a:gd name="T12" fmla="*/ 117 w 233"/>
                  <a:gd name="T13" fmla="*/ 0 h 224"/>
                  <a:gd name="T14" fmla="*/ 67 w 233"/>
                  <a:gd name="T15" fmla="*/ 43 h 224"/>
                  <a:gd name="T16" fmla="*/ 70 w 233"/>
                  <a:gd name="T17" fmla="*/ 65 h 224"/>
                  <a:gd name="T18" fmla="*/ 66 w 233"/>
                  <a:gd name="T19" fmla="*/ 75 h 224"/>
                  <a:gd name="T20" fmla="*/ 77 w 233"/>
                  <a:gd name="T21" fmla="*/ 96 h 224"/>
                  <a:gd name="T22" fmla="*/ 91 w 233"/>
                  <a:gd name="T23" fmla="*/ 126 h 224"/>
                  <a:gd name="T24" fmla="*/ 51 w 233"/>
                  <a:gd name="T25" fmla="*/ 167 h 224"/>
                  <a:gd name="T26" fmla="*/ 0 w 233"/>
                  <a:gd name="T27" fmla="*/ 197 h 224"/>
                  <a:gd name="T28" fmla="*/ 0 w 233"/>
                  <a:gd name="T29" fmla="*/ 224 h 224"/>
                  <a:gd name="T30" fmla="*/ 117 w 233"/>
                  <a:gd name="T31" fmla="*/ 224 h 224"/>
                  <a:gd name="T32" fmla="*/ 233 w 233"/>
                  <a:gd name="T33" fmla="*/ 224 h 224"/>
                  <a:gd name="T34" fmla="*/ 233 w 233"/>
                  <a:gd name="T35" fmla="*/ 197 h 224"/>
                  <a:gd name="T36" fmla="*/ 183 w 233"/>
                  <a:gd name="T37" fmla="*/ 16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3" h="224">
                    <a:moveTo>
                      <a:pt x="183" y="167"/>
                    </a:moveTo>
                    <a:cubicBezTo>
                      <a:pt x="152" y="156"/>
                      <a:pt x="142" y="146"/>
                      <a:pt x="142" y="126"/>
                    </a:cubicBezTo>
                    <a:cubicBezTo>
                      <a:pt x="142" y="114"/>
                      <a:pt x="152" y="118"/>
                      <a:pt x="156" y="96"/>
                    </a:cubicBezTo>
                    <a:cubicBezTo>
                      <a:pt x="157" y="87"/>
                      <a:pt x="166" y="96"/>
                      <a:pt x="167" y="75"/>
                    </a:cubicBezTo>
                    <a:cubicBezTo>
                      <a:pt x="167" y="67"/>
                      <a:pt x="163" y="65"/>
                      <a:pt x="163" y="65"/>
                    </a:cubicBezTo>
                    <a:cubicBezTo>
                      <a:pt x="163" y="65"/>
                      <a:pt x="165" y="52"/>
                      <a:pt x="166" y="43"/>
                    </a:cubicBezTo>
                    <a:cubicBezTo>
                      <a:pt x="167" y="31"/>
                      <a:pt x="159" y="0"/>
                      <a:pt x="117" y="0"/>
                    </a:cubicBezTo>
                    <a:cubicBezTo>
                      <a:pt x="74" y="0"/>
                      <a:pt x="66" y="31"/>
                      <a:pt x="67" y="43"/>
                    </a:cubicBezTo>
                    <a:cubicBezTo>
                      <a:pt x="68" y="52"/>
                      <a:pt x="70" y="65"/>
                      <a:pt x="70" y="65"/>
                    </a:cubicBezTo>
                    <a:cubicBezTo>
                      <a:pt x="70" y="65"/>
                      <a:pt x="66" y="67"/>
                      <a:pt x="66" y="75"/>
                    </a:cubicBezTo>
                    <a:cubicBezTo>
                      <a:pt x="67" y="96"/>
                      <a:pt x="76" y="87"/>
                      <a:pt x="77" y="96"/>
                    </a:cubicBezTo>
                    <a:cubicBezTo>
                      <a:pt x="82" y="118"/>
                      <a:pt x="91" y="114"/>
                      <a:pt x="91" y="126"/>
                    </a:cubicBezTo>
                    <a:cubicBezTo>
                      <a:pt x="91" y="146"/>
                      <a:pt x="81" y="156"/>
                      <a:pt x="51" y="167"/>
                    </a:cubicBezTo>
                    <a:cubicBezTo>
                      <a:pt x="20" y="178"/>
                      <a:pt x="0" y="190"/>
                      <a:pt x="0" y="197"/>
                    </a:cubicBezTo>
                    <a:cubicBezTo>
                      <a:pt x="0" y="205"/>
                      <a:pt x="0" y="224"/>
                      <a:pt x="0" y="224"/>
                    </a:cubicBezTo>
                    <a:cubicBezTo>
                      <a:pt x="117" y="224"/>
                      <a:pt x="117" y="224"/>
                      <a:pt x="117" y="224"/>
                    </a:cubicBezTo>
                    <a:cubicBezTo>
                      <a:pt x="233" y="224"/>
                      <a:pt x="233" y="224"/>
                      <a:pt x="233" y="224"/>
                    </a:cubicBezTo>
                    <a:cubicBezTo>
                      <a:pt x="233" y="224"/>
                      <a:pt x="233" y="205"/>
                      <a:pt x="233" y="197"/>
                    </a:cubicBezTo>
                    <a:cubicBezTo>
                      <a:pt x="233" y="190"/>
                      <a:pt x="213" y="178"/>
                      <a:pt x="183" y="167"/>
                    </a:cubicBez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154" name="Group 153">
            <a:extLst>
              <a:ext uri="{FF2B5EF4-FFF2-40B4-BE49-F238E27FC236}">
                <a16:creationId xmlns:a16="http://schemas.microsoft.com/office/drawing/2014/main" id="{CB4FE53B-15EF-490D-BEA2-F8045E446B21}"/>
              </a:ext>
            </a:extLst>
          </p:cNvPr>
          <p:cNvGrpSpPr/>
          <p:nvPr userDrawn="1"/>
        </p:nvGrpSpPr>
        <p:grpSpPr>
          <a:xfrm>
            <a:off x="11307787" y="3885439"/>
            <a:ext cx="884213" cy="1008246"/>
            <a:chOff x="10576385" y="152400"/>
            <a:chExt cx="884213" cy="978408"/>
          </a:xfrm>
        </p:grpSpPr>
        <p:sp>
          <p:nvSpPr>
            <p:cNvPr id="155" name="Rectangle 154">
              <a:extLst>
                <a:ext uri="{FF2B5EF4-FFF2-40B4-BE49-F238E27FC236}">
                  <a16:creationId xmlns:a16="http://schemas.microsoft.com/office/drawing/2014/main" id="{88D691AE-DA2F-4DF1-AC3F-DDF1627E3081}"/>
                </a:ext>
              </a:extLst>
            </p:cNvPr>
            <p:cNvSpPr/>
            <p:nvPr userDrawn="1"/>
          </p:nvSpPr>
          <p:spPr bwMode="gray">
            <a:xfrm>
              <a:off x="10576385" y="152400"/>
              <a:ext cx="884213" cy="978408"/>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56" name="Group 48">
              <a:extLst>
                <a:ext uri="{FF2B5EF4-FFF2-40B4-BE49-F238E27FC236}">
                  <a16:creationId xmlns:a16="http://schemas.microsoft.com/office/drawing/2014/main" id="{8EE494FB-3BDC-4EDF-8EC3-4A82DD3087A1}"/>
                </a:ext>
              </a:extLst>
            </p:cNvPr>
            <p:cNvGrpSpPr>
              <a:grpSpLocks noChangeAspect="1"/>
            </p:cNvGrpSpPr>
            <p:nvPr userDrawn="1"/>
          </p:nvGrpSpPr>
          <p:grpSpPr bwMode="auto">
            <a:xfrm>
              <a:off x="10834676" y="260360"/>
              <a:ext cx="367631" cy="367631"/>
              <a:chOff x="4277" y="1990"/>
              <a:chExt cx="340" cy="340"/>
            </a:xfrm>
            <a:solidFill>
              <a:schemeClr val="bg1"/>
            </a:solidFill>
          </p:grpSpPr>
          <p:sp>
            <p:nvSpPr>
              <p:cNvPr id="157" name="Freeform 49">
                <a:extLst>
                  <a:ext uri="{FF2B5EF4-FFF2-40B4-BE49-F238E27FC236}">
                    <a16:creationId xmlns:a16="http://schemas.microsoft.com/office/drawing/2014/main" id="{17AD528F-9C4F-45E9-B80B-A32ADF2C35B1}"/>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58" name="Freeform 50">
                <a:extLst>
                  <a:ext uri="{FF2B5EF4-FFF2-40B4-BE49-F238E27FC236}">
                    <a16:creationId xmlns:a16="http://schemas.microsoft.com/office/drawing/2014/main" id="{6E138BF3-BBA7-4F81-912B-C243DF5AC18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grpSp>
        <p:nvGrpSpPr>
          <p:cNvPr id="159" name="Group 158">
            <a:extLst>
              <a:ext uri="{FF2B5EF4-FFF2-40B4-BE49-F238E27FC236}">
                <a16:creationId xmlns:a16="http://schemas.microsoft.com/office/drawing/2014/main" id="{0EE0564B-4411-4F83-B317-594B84DA0DB8}"/>
              </a:ext>
            </a:extLst>
          </p:cNvPr>
          <p:cNvGrpSpPr/>
          <p:nvPr userDrawn="1"/>
        </p:nvGrpSpPr>
        <p:grpSpPr>
          <a:xfrm>
            <a:off x="11307787" y="4885264"/>
            <a:ext cx="884213" cy="978408"/>
            <a:chOff x="10576385" y="152400"/>
            <a:chExt cx="884213" cy="978408"/>
          </a:xfrm>
        </p:grpSpPr>
        <p:sp>
          <p:nvSpPr>
            <p:cNvPr id="160" name="Rectangle 159">
              <a:extLst>
                <a:ext uri="{FF2B5EF4-FFF2-40B4-BE49-F238E27FC236}">
                  <a16:creationId xmlns:a16="http://schemas.microsoft.com/office/drawing/2014/main" id="{EF9C0ABE-D2F0-46AD-9A12-179F940F05DC}"/>
                </a:ext>
              </a:extLst>
            </p:cNvPr>
            <p:cNvSpPr/>
            <p:nvPr userDrawn="1"/>
          </p:nvSpPr>
          <p:spPr bwMode="gray">
            <a:xfrm>
              <a:off x="10576385" y="152400"/>
              <a:ext cx="884213" cy="978408"/>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61" name="Group 555">
              <a:extLst>
                <a:ext uri="{FF2B5EF4-FFF2-40B4-BE49-F238E27FC236}">
                  <a16:creationId xmlns:a16="http://schemas.microsoft.com/office/drawing/2014/main" id="{FE33A27F-57F3-4359-A4CE-61F85444064D}"/>
                </a:ext>
              </a:extLst>
            </p:cNvPr>
            <p:cNvGrpSpPr>
              <a:grpSpLocks noChangeAspect="1"/>
            </p:cNvGrpSpPr>
            <p:nvPr userDrawn="1"/>
          </p:nvGrpSpPr>
          <p:grpSpPr bwMode="auto">
            <a:xfrm>
              <a:off x="10833438" y="257395"/>
              <a:ext cx="370106" cy="369021"/>
              <a:chOff x="1130" y="1948"/>
              <a:chExt cx="341" cy="340"/>
            </a:xfrm>
            <a:solidFill>
              <a:schemeClr val="bg1"/>
            </a:solidFill>
          </p:grpSpPr>
          <p:sp>
            <p:nvSpPr>
              <p:cNvPr id="162" name="Freeform 556">
                <a:extLst>
                  <a:ext uri="{FF2B5EF4-FFF2-40B4-BE49-F238E27FC236}">
                    <a16:creationId xmlns:a16="http://schemas.microsoft.com/office/drawing/2014/main" id="{9195C5F7-1EEE-4EF7-B979-B3D2BAEB7AB5}"/>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63" name="Freeform 557">
                <a:extLst>
                  <a:ext uri="{FF2B5EF4-FFF2-40B4-BE49-F238E27FC236}">
                    <a16:creationId xmlns:a16="http://schemas.microsoft.com/office/drawing/2014/main" id="{0B9538E8-019F-4B1D-A1EC-ACCDCB03E039}"/>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64" name="Freeform 558">
                <a:extLst>
                  <a:ext uri="{FF2B5EF4-FFF2-40B4-BE49-F238E27FC236}">
                    <a16:creationId xmlns:a16="http://schemas.microsoft.com/office/drawing/2014/main" id="{005E2682-1E6B-439A-A456-BA5EFC751271}"/>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65" name="Freeform 559">
                <a:extLst>
                  <a:ext uri="{FF2B5EF4-FFF2-40B4-BE49-F238E27FC236}">
                    <a16:creationId xmlns:a16="http://schemas.microsoft.com/office/drawing/2014/main" id="{50782D0F-C253-485F-A5C1-D4CE2265D525}"/>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66" name="Freeform 560">
                <a:extLst>
                  <a:ext uri="{FF2B5EF4-FFF2-40B4-BE49-F238E27FC236}">
                    <a16:creationId xmlns:a16="http://schemas.microsoft.com/office/drawing/2014/main" id="{5C432577-4E76-40D9-B251-C8BBB77BA002}"/>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sp>
        <p:nvSpPr>
          <p:cNvPr id="167" name="Rectangle 166">
            <a:extLst>
              <a:ext uri="{FF2B5EF4-FFF2-40B4-BE49-F238E27FC236}">
                <a16:creationId xmlns:a16="http://schemas.microsoft.com/office/drawing/2014/main" id="{0E50772F-1BDB-4F39-A749-4285C798E568}"/>
              </a:ext>
            </a:extLst>
          </p:cNvPr>
          <p:cNvSpPr/>
          <p:nvPr userDrawn="1"/>
        </p:nvSpPr>
        <p:spPr>
          <a:xfrm>
            <a:off x="11349439" y="1508981"/>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Executive summary</a:t>
            </a:r>
            <a:endParaRPr lang="en-US" sz="891" b="0" dirty="0">
              <a:solidFill>
                <a:schemeClr val="bg1"/>
              </a:solidFill>
              <a:latin typeface="Calibri" panose="020F0502020204030204" pitchFamily="34" charset="0"/>
            </a:endParaRPr>
          </a:p>
        </p:txBody>
      </p:sp>
      <p:sp>
        <p:nvSpPr>
          <p:cNvPr id="168" name="Rectangle 167">
            <a:extLst>
              <a:ext uri="{FF2B5EF4-FFF2-40B4-BE49-F238E27FC236}">
                <a16:creationId xmlns:a16="http://schemas.microsoft.com/office/drawing/2014/main" id="{86181D55-D3EF-4EAF-8728-CAAC57B6CE83}"/>
              </a:ext>
            </a:extLst>
          </p:cNvPr>
          <p:cNvSpPr/>
          <p:nvPr userDrawn="1"/>
        </p:nvSpPr>
        <p:spPr>
          <a:xfrm>
            <a:off x="11349439" y="521940"/>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Cover </a:t>
            </a:r>
          </a:p>
          <a:p>
            <a:pPr algn="ctr"/>
            <a:r>
              <a:rPr lang="en-US" sz="891" b="0" i="0" spc="-25" dirty="0">
                <a:solidFill>
                  <a:schemeClr val="bg1"/>
                </a:solidFill>
                <a:latin typeface="Calibri" panose="020F0502020204030204" pitchFamily="34" charset="0"/>
                <a:cs typeface="Open Sans Light"/>
              </a:rPr>
              <a:t>letter</a:t>
            </a:r>
            <a:endParaRPr lang="en-US" sz="891" b="0" dirty="0">
              <a:solidFill>
                <a:schemeClr val="bg1"/>
              </a:solidFill>
              <a:latin typeface="Calibri" panose="020F0502020204030204" pitchFamily="34" charset="0"/>
            </a:endParaRPr>
          </a:p>
        </p:txBody>
      </p:sp>
      <p:sp>
        <p:nvSpPr>
          <p:cNvPr id="169" name="Rectangle 168">
            <a:extLst>
              <a:ext uri="{FF2B5EF4-FFF2-40B4-BE49-F238E27FC236}">
                <a16:creationId xmlns:a16="http://schemas.microsoft.com/office/drawing/2014/main" id="{D803F228-5429-4EBB-A8E1-F4BD4F281C2A}"/>
              </a:ext>
            </a:extLst>
          </p:cNvPr>
          <p:cNvSpPr/>
          <p:nvPr userDrawn="1"/>
        </p:nvSpPr>
        <p:spPr>
          <a:xfrm>
            <a:off x="11349439" y="3464029"/>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roach &amp; Methodology</a:t>
            </a:r>
            <a:endParaRPr lang="en-US" sz="891" b="0" dirty="0">
              <a:solidFill>
                <a:schemeClr val="bg1"/>
              </a:solidFill>
              <a:latin typeface="Calibri" panose="020F0502020204030204" pitchFamily="34" charset="0"/>
            </a:endParaRPr>
          </a:p>
        </p:txBody>
      </p:sp>
      <p:sp>
        <p:nvSpPr>
          <p:cNvPr id="170" name="Rectangle 169">
            <a:extLst>
              <a:ext uri="{FF2B5EF4-FFF2-40B4-BE49-F238E27FC236}">
                <a16:creationId xmlns:a16="http://schemas.microsoft.com/office/drawing/2014/main" id="{2E334B7A-F745-49AD-803E-FD0D26F74A97}"/>
              </a:ext>
            </a:extLst>
          </p:cNvPr>
          <p:cNvSpPr/>
          <p:nvPr userDrawn="1"/>
        </p:nvSpPr>
        <p:spPr>
          <a:xfrm>
            <a:off x="11349439" y="4435932"/>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Timeline and Assumptions </a:t>
            </a:r>
            <a:endParaRPr lang="en-US" sz="891" b="0" dirty="0">
              <a:solidFill>
                <a:schemeClr val="bg1"/>
              </a:solidFill>
              <a:latin typeface="Calibri" panose="020F0502020204030204" pitchFamily="34" charset="0"/>
            </a:endParaRPr>
          </a:p>
        </p:txBody>
      </p:sp>
      <p:sp>
        <p:nvSpPr>
          <p:cNvPr id="171" name="Rectangle 170">
            <a:extLst>
              <a:ext uri="{FF2B5EF4-FFF2-40B4-BE49-F238E27FC236}">
                <a16:creationId xmlns:a16="http://schemas.microsoft.com/office/drawing/2014/main" id="{D571380E-A60C-4DBB-9E42-8DDC403DA12C}"/>
              </a:ext>
            </a:extLst>
          </p:cNvPr>
          <p:cNvSpPr/>
          <p:nvPr userDrawn="1"/>
        </p:nvSpPr>
        <p:spPr>
          <a:xfrm>
            <a:off x="11349439" y="541554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Team</a:t>
            </a:r>
            <a:endParaRPr lang="en-US" sz="891" b="0" dirty="0">
              <a:solidFill>
                <a:schemeClr val="bg1"/>
              </a:solidFill>
              <a:latin typeface="Calibri" panose="020F0502020204030204" pitchFamily="34" charset="0"/>
            </a:endParaRPr>
          </a:p>
        </p:txBody>
      </p:sp>
      <p:sp>
        <p:nvSpPr>
          <p:cNvPr id="172" name="Rectangle 171">
            <a:hlinkClick r:id="rId4" action="ppaction://hlinksldjump" tooltip="Appendix"/>
            <a:extLst>
              <a:ext uri="{FF2B5EF4-FFF2-40B4-BE49-F238E27FC236}">
                <a16:creationId xmlns:a16="http://schemas.microsoft.com/office/drawing/2014/main" id="{37508B04-8A1E-4095-9F3D-76EAB96CAEDE}"/>
              </a:ext>
            </a:extLst>
          </p:cNvPr>
          <p:cNvSpPr/>
          <p:nvPr userDrawn="1"/>
        </p:nvSpPr>
        <p:spPr bwMode="gray">
          <a:xfrm>
            <a:off x="11307787" y="5863690"/>
            <a:ext cx="884213" cy="531181"/>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173" name="TextBox 172">
            <a:extLst>
              <a:ext uri="{FF2B5EF4-FFF2-40B4-BE49-F238E27FC236}">
                <a16:creationId xmlns:a16="http://schemas.microsoft.com/office/drawing/2014/main" id="{C1C83C94-3725-4252-8B8E-0E63D55631D1}"/>
              </a:ext>
            </a:extLst>
          </p:cNvPr>
          <p:cNvSpPr txBox="1"/>
          <p:nvPr userDrawn="1"/>
        </p:nvSpPr>
        <p:spPr bwMode="gray">
          <a:xfrm>
            <a:off x="11621841" y="6525041"/>
            <a:ext cx="255537" cy="200440"/>
          </a:xfrm>
          <a:prstGeom prst="rect">
            <a:avLst/>
          </a:prstGeom>
        </p:spPr>
        <p:txBody>
          <a:bodyPr wrap="square" lIns="0" rIns="0" rtlCol="0" anchor="b" anchorCtr="0">
            <a:noAutofit/>
          </a:bodyPr>
          <a:lstStyle/>
          <a:p>
            <a:pPr algn="ctr">
              <a:lnSpc>
                <a:spcPts val="891"/>
              </a:lnSpc>
            </a:pPr>
            <a:fld id="{7CA6D80E-4757-49F8-A753-97B21278F7E3}" type="slidenum">
              <a:rPr lang="en-US" sz="691" b="1" smtClean="0">
                <a:solidFill>
                  <a:schemeClr val="bg1"/>
                </a:solidFill>
                <a:latin typeface="Calibri" panose="020F0502020204030204" pitchFamily="34" charset="0"/>
              </a:rPr>
              <a:pPr algn="ctr">
                <a:lnSpc>
                  <a:spcPts val="891"/>
                </a:lnSpc>
              </a:pPr>
              <a:t>‹#›</a:t>
            </a:fld>
            <a:endParaRPr lang="en-US" sz="691" b="1" dirty="0">
              <a:solidFill>
                <a:schemeClr val="bg1"/>
              </a:solidFill>
              <a:latin typeface="Calibri" panose="020F0502020204030204" pitchFamily="34" charset="0"/>
            </a:endParaRPr>
          </a:p>
        </p:txBody>
      </p:sp>
      <p:sp>
        <p:nvSpPr>
          <p:cNvPr id="174" name="Rectangle 173">
            <a:extLst>
              <a:ext uri="{FF2B5EF4-FFF2-40B4-BE49-F238E27FC236}">
                <a16:creationId xmlns:a16="http://schemas.microsoft.com/office/drawing/2014/main" id="{2035DA86-FE41-42B0-918A-7D15D32FCE21}"/>
              </a:ext>
            </a:extLst>
          </p:cNvPr>
          <p:cNvSpPr/>
          <p:nvPr userDrawn="1"/>
        </p:nvSpPr>
        <p:spPr bwMode="gray">
          <a:xfrm>
            <a:off x="11307787" y="1955994"/>
            <a:ext cx="884213" cy="978408"/>
          </a:xfrm>
          <a:prstGeom prst="rect">
            <a:avLst/>
          </a:prstGeom>
          <a:solidFill>
            <a:srgbClr val="00A3E0"/>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175" name="Rectangle 174">
            <a:extLst>
              <a:ext uri="{FF2B5EF4-FFF2-40B4-BE49-F238E27FC236}">
                <a16:creationId xmlns:a16="http://schemas.microsoft.com/office/drawing/2014/main" id="{B581F638-53E3-4627-A1A2-845D5F6A7B90}"/>
              </a:ext>
            </a:extLst>
          </p:cNvPr>
          <p:cNvSpPr/>
          <p:nvPr userDrawn="1"/>
        </p:nvSpPr>
        <p:spPr>
          <a:xfrm>
            <a:off x="11349439" y="248627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Capabilities</a:t>
            </a:r>
            <a:endParaRPr lang="en-US" sz="891" b="0" dirty="0">
              <a:solidFill>
                <a:schemeClr val="bg1"/>
              </a:solidFill>
              <a:latin typeface="Calibri" panose="020F0502020204030204" pitchFamily="34" charset="0"/>
            </a:endParaRPr>
          </a:p>
        </p:txBody>
      </p:sp>
      <p:grpSp>
        <p:nvGrpSpPr>
          <p:cNvPr id="176" name="Group 175">
            <a:extLst>
              <a:ext uri="{FF2B5EF4-FFF2-40B4-BE49-F238E27FC236}">
                <a16:creationId xmlns:a16="http://schemas.microsoft.com/office/drawing/2014/main" id="{B3F14A80-E7E9-48D0-8FA1-494046C5B8AC}"/>
              </a:ext>
            </a:extLst>
          </p:cNvPr>
          <p:cNvGrpSpPr/>
          <p:nvPr userDrawn="1"/>
        </p:nvGrpSpPr>
        <p:grpSpPr>
          <a:xfrm>
            <a:off x="11565911" y="2066214"/>
            <a:ext cx="367982" cy="367982"/>
            <a:chOff x="7104733" y="1340898"/>
            <a:chExt cx="367982" cy="367982"/>
          </a:xfrm>
          <a:solidFill>
            <a:schemeClr val="bg1"/>
          </a:solidFill>
        </p:grpSpPr>
        <p:grpSp>
          <p:nvGrpSpPr>
            <p:cNvPr id="177" name="Group 176">
              <a:extLst>
                <a:ext uri="{FF2B5EF4-FFF2-40B4-BE49-F238E27FC236}">
                  <a16:creationId xmlns:a16="http://schemas.microsoft.com/office/drawing/2014/main" id="{14F2021D-A27F-4402-9BF8-F2BBA3C6919E}"/>
                </a:ext>
              </a:extLst>
            </p:cNvPr>
            <p:cNvGrpSpPr/>
            <p:nvPr/>
          </p:nvGrpSpPr>
          <p:grpSpPr>
            <a:xfrm>
              <a:off x="7169563" y="1396188"/>
              <a:ext cx="224761" cy="257402"/>
              <a:chOff x="9812338" y="2919413"/>
              <a:chExt cx="382588" cy="438150"/>
            </a:xfrm>
            <a:grpFill/>
          </p:grpSpPr>
          <p:sp>
            <p:nvSpPr>
              <p:cNvPr id="179" name="Freeform 503">
                <a:extLst>
                  <a:ext uri="{FF2B5EF4-FFF2-40B4-BE49-F238E27FC236}">
                    <a16:creationId xmlns:a16="http://schemas.microsoft.com/office/drawing/2014/main" id="{CA751255-E8B2-46C9-B642-4676463DF6A0}"/>
                  </a:ext>
                </a:extLst>
              </p:cNvPr>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80" name="Freeform 504">
                <a:extLst>
                  <a:ext uri="{FF2B5EF4-FFF2-40B4-BE49-F238E27FC236}">
                    <a16:creationId xmlns:a16="http://schemas.microsoft.com/office/drawing/2014/main" id="{4E5D794D-A0E6-4568-9E2A-3B0C8FB9F7EA}"/>
                  </a:ext>
                </a:extLst>
              </p:cNvPr>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81" name="Freeform 505">
                <a:extLst>
                  <a:ext uri="{FF2B5EF4-FFF2-40B4-BE49-F238E27FC236}">
                    <a16:creationId xmlns:a16="http://schemas.microsoft.com/office/drawing/2014/main" id="{CF5E8C89-A30F-4CBB-9668-7D9925BD736D}"/>
                  </a:ext>
                </a:extLst>
              </p:cNvPr>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78" name="Freeform 547">
              <a:extLst>
                <a:ext uri="{FF2B5EF4-FFF2-40B4-BE49-F238E27FC236}">
                  <a16:creationId xmlns:a16="http://schemas.microsoft.com/office/drawing/2014/main" id="{9712089B-6B24-45E6-B7D2-F920E5E431D8}"/>
                </a:ext>
              </a:extLst>
            </p:cNvPr>
            <p:cNvSpPr>
              <a:spLocks noEditPoints="1"/>
            </p:cNvSpPr>
            <p:nvPr/>
          </p:nvSpPr>
          <p:spPr bwMode="auto">
            <a:xfrm>
              <a:off x="7104733" y="134089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194703390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81"/>
            <a:ext cx="9029604" cy="4708525"/>
          </a:xfrm>
          <a:prstGeom prst="rect">
            <a:avLst/>
          </a:prstGeom>
        </p:spPr>
        <p:txBody>
          <a:bodyPr>
            <a:noAutofit/>
          </a:bodyPr>
          <a:lstStyle>
            <a:lvl1pPr>
              <a:spcBef>
                <a:spcPts val="4755"/>
              </a:spcBef>
              <a:defRPr sz="2773">
                <a:solidFill>
                  <a:schemeClr val="tx1"/>
                </a:solidFill>
              </a:defRPr>
            </a:lvl1pPr>
            <a:lvl2pPr marL="604120" indent="-604120">
              <a:defRPr sz="3964">
                <a:solidFill>
                  <a:schemeClr val="bg2"/>
                </a:solidFill>
              </a:defRPr>
            </a:lvl2pPr>
            <a:lvl3pPr>
              <a:defRPr sz="3964">
                <a:solidFill>
                  <a:schemeClr val="bg2"/>
                </a:solidFill>
              </a:defRPr>
            </a:lvl3pPr>
            <a:lvl4pPr>
              <a:defRPr sz="3964">
                <a:solidFill>
                  <a:schemeClr val="bg2"/>
                </a:solidFill>
              </a:defRPr>
            </a:lvl4pPr>
            <a:lvl5pPr>
              <a:defRPr sz="3964">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066954423"/>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47" Type="http://schemas.openxmlformats.org/officeDocument/2006/relationships/image" Target="../media/image3.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microsoft.com/office/2007/relationships/hdphoto" Target="../media/hdphoto2.wdp"/><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microsoft.com/office/2007/relationships/hdphoto" Target="../media/hdphoto1.wdp"/><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7" name="Rectangle 66">
            <a:hlinkClick r:id="" action="ppaction://noaction"/>
            <a:extLst>
              <a:ext uri="{FF2B5EF4-FFF2-40B4-BE49-F238E27FC236}">
                <a16:creationId xmlns:a16="http://schemas.microsoft.com/office/drawing/2014/main" id="{6C85502E-9FA6-4D2A-8AE5-411D1608AA74}"/>
              </a:ext>
            </a:extLst>
          </p:cNvPr>
          <p:cNvSpPr/>
          <p:nvPr userDrawn="1"/>
        </p:nvSpPr>
        <p:spPr bwMode="gray">
          <a:xfrm>
            <a:off x="11307641" y="3904466"/>
            <a:ext cx="884213" cy="975609"/>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66" name="Rectangle 65">
            <a:hlinkClick r:id="" action="ppaction://noaction"/>
            <a:extLst>
              <a:ext uri="{FF2B5EF4-FFF2-40B4-BE49-F238E27FC236}">
                <a16:creationId xmlns:a16="http://schemas.microsoft.com/office/drawing/2014/main" id="{1FAAB899-0767-4C67-AFE3-64DE39DE5AA6}"/>
              </a:ext>
            </a:extLst>
          </p:cNvPr>
          <p:cNvSpPr/>
          <p:nvPr userDrawn="1"/>
        </p:nvSpPr>
        <p:spPr bwMode="gray">
          <a:xfrm>
            <a:off x="11307787" y="2953369"/>
            <a:ext cx="884213" cy="965124"/>
          </a:xfrm>
          <a:prstGeom prst="rect">
            <a:avLst/>
          </a:prstGeom>
          <a:solidFill>
            <a:srgbClr val="046A38">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74" name="Rectangle 73">
            <a:extLst>
              <a:ext uri="{FF2B5EF4-FFF2-40B4-BE49-F238E27FC236}">
                <a16:creationId xmlns:a16="http://schemas.microsoft.com/office/drawing/2014/main" id="{B934452E-27F4-411F-AD7C-AAEEF24B351A}"/>
              </a:ext>
            </a:extLst>
          </p:cNvPr>
          <p:cNvSpPr/>
          <p:nvPr userDrawn="1"/>
        </p:nvSpPr>
        <p:spPr bwMode="gray">
          <a:xfrm>
            <a:off x="11307787" y="5745562"/>
            <a:ext cx="884213" cy="1112438"/>
          </a:xfrm>
          <a:prstGeom prst="rect">
            <a:avLst/>
          </a:prstGeom>
          <a:solidFill>
            <a:srgbClr val="343434"/>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75" name="Rectangle 74">
            <a:extLst>
              <a:ext uri="{FF2B5EF4-FFF2-40B4-BE49-F238E27FC236}">
                <a16:creationId xmlns:a16="http://schemas.microsoft.com/office/drawing/2014/main" id="{6D907470-A248-48B9-8A40-3F282D0786C8}"/>
              </a:ext>
            </a:extLst>
          </p:cNvPr>
          <p:cNvSpPr/>
          <p:nvPr userDrawn="1"/>
        </p:nvSpPr>
        <p:spPr>
          <a:xfrm>
            <a:off x="11349439" y="5969718"/>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endix</a:t>
            </a:r>
            <a:endParaRPr lang="en-US" sz="891" b="0" dirty="0">
              <a:solidFill>
                <a:schemeClr val="bg1"/>
              </a:solidFill>
              <a:latin typeface="Calibri" panose="020F0502020204030204" pitchFamily="34" charset="0"/>
            </a:endParaRPr>
          </a:p>
        </p:txBody>
      </p:sp>
      <p:grpSp>
        <p:nvGrpSpPr>
          <p:cNvPr id="128" name="Group 127">
            <a:extLst>
              <a:ext uri="{FF2B5EF4-FFF2-40B4-BE49-F238E27FC236}">
                <a16:creationId xmlns:a16="http://schemas.microsoft.com/office/drawing/2014/main" id="{FA382298-5FA0-4E27-B707-74214319422A}"/>
              </a:ext>
            </a:extLst>
          </p:cNvPr>
          <p:cNvGrpSpPr/>
          <p:nvPr userDrawn="1"/>
        </p:nvGrpSpPr>
        <p:grpSpPr>
          <a:xfrm>
            <a:off x="11501750" y="6555510"/>
            <a:ext cx="496285" cy="143992"/>
            <a:chOff x="12956047" y="8113587"/>
            <a:chExt cx="496285" cy="143992"/>
          </a:xfrm>
        </p:grpSpPr>
        <p:sp>
          <p:nvSpPr>
            <p:cNvPr id="129" name="object 21">
              <a:hlinkClick r:id="" action="ppaction://hlinkshowjump?jump=nextslide" highlightClick="1"/>
              <a:extLst>
                <a:ext uri="{FF2B5EF4-FFF2-40B4-BE49-F238E27FC236}">
                  <a16:creationId xmlns:a16="http://schemas.microsoft.com/office/drawing/2014/main" id="{559D8513-CE40-4CAF-81A9-D1ACB4AE6A71}"/>
                </a:ext>
              </a:extLst>
            </p:cNvPr>
            <p:cNvSpPr/>
            <p:nvPr userDrawn="1"/>
          </p:nvSpPr>
          <p:spPr>
            <a:xfrm>
              <a:off x="13308327" y="8113587"/>
              <a:ext cx="144005" cy="143992"/>
            </a:xfrm>
            <a:prstGeom prst="rect">
              <a:avLst/>
            </a:prstGeom>
            <a:blipFill>
              <a:blip r:embed="rId42" cstate="screen">
                <a:extLst>
                  <a:ext uri="{BEBA8EAE-BF5A-486C-A8C5-ECC9F3942E4B}">
                    <a14:imgProps xmlns:a14="http://schemas.microsoft.com/office/drawing/2010/main">
                      <a14:imgLayer r:embed="rId43">
                        <a14:imgEffect>
                          <a14:saturation sat="0"/>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endParaRPr sz="2773" dirty="0">
                <a:latin typeface="Calibri" panose="020F0502020204030204" pitchFamily="34" charset="0"/>
              </a:endParaRPr>
            </a:p>
          </p:txBody>
        </p:sp>
        <p:sp>
          <p:nvSpPr>
            <p:cNvPr id="130" name="object 22">
              <a:hlinkClick r:id="" action="ppaction://hlinkshowjump?jump=previousslide" highlightClick="1"/>
              <a:extLst>
                <a:ext uri="{FF2B5EF4-FFF2-40B4-BE49-F238E27FC236}">
                  <a16:creationId xmlns:a16="http://schemas.microsoft.com/office/drawing/2014/main" id="{43A43445-EA00-4A60-967F-D7D9F60EA328}"/>
                </a:ext>
              </a:extLst>
            </p:cNvPr>
            <p:cNvSpPr/>
            <p:nvPr userDrawn="1"/>
          </p:nvSpPr>
          <p:spPr>
            <a:xfrm>
              <a:off x="12956047" y="8113587"/>
              <a:ext cx="144005" cy="143992"/>
            </a:xfrm>
            <a:prstGeom prst="rect">
              <a:avLst/>
            </a:prstGeom>
            <a:blipFill>
              <a:blip r:embed="rId44" cstate="screen">
                <a:extLst>
                  <a:ext uri="{BEBA8EAE-BF5A-486C-A8C5-ECC9F3942E4B}">
                    <a14:imgProps xmlns:a14="http://schemas.microsoft.com/office/drawing/2010/main">
                      <a14:imgLayer r:embed="rId45">
                        <a14:imgEffect>
                          <a14:saturation sat="0"/>
                        </a14:imgEffect>
                      </a14:imgLayer>
                    </a14:imgProps>
                  </a:ext>
                  <a:ext uri="{28A0092B-C50C-407E-A947-70E740481C1C}">
                    <a14:useLocalDpi xmlns:a14="http://schemas.microsoft.com/office/drawing/2010/main"/>
                  </a:ext>
                </a:extLst>
              </a:blip>
              <a:stretch>
                <a:fillRect/>
              </a:stretch>
            </a:blipFill>
            <a:ln>
              <a:noFill/>
            </a:ln>
          </p:spPr>
          <p:txBody>
            <a:bodyPr wrap="square" lIns="0" tIns="0" rIns="0" bIns="0" rtlCol="0"/>
            <a:lstStyle/>
            <a:p>
              <a:endParaRPr sz="2773" dirty="0">
                <a:latin typeface="Calibri" panose="020F0502020204030204" pitchFamily="34" charset="0"/>
              </a:endParaRPr>
            </a:p>
          </p:txBody>
        </p:sp>
      </p:grpSp>
      <p:graphicFrame>
        <p:nvGraphicFramePr>
          <p:cNvPr id="4" name="Object 3" hidden="1"/>
          <p:cNvGraphicFramePr>
            <a:graphicFrameLocks noChangeAspect="1"/>
          </p:cNvGraphicFramePr>
          <p:nvPr userDrawn="1">
            <p:custDataLst>
              <p:tags r:id="rId41"/>
            </p:custDataLst>
          </p:nvPr>
        </p:nvGraphicFramePr>
        <p:xfrm>
          <a:off x="2119" y="1607"/>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60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604"/>
            <a:ext cx="10251905"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userDrawn="1">
            <p:ph type="body" idx="1"/>
          </p:nvPr>
        </p:nvSpPr>
        <p:spPr>
          <a:xfrm>
            <a:off x="469909" y="1665290"/>
            <a:ext cx="10264159"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6" name="Group 5">
            <a:extLst>
              <a:ext uri="{FF2B5EF4-FFF2-40B4-BE49-F238E27FC236}">
                <a16:creationId xmlns:a16="http://schemas.microsoft.com/office/drawing/2014/main" id="{6A57A2BA-92C0-45C4-8E16-5446BCD3D9C2}"/>
              </a:ext>
            </a:extLst>
          </p:cNvPr>
          <p:cNvGrpSpPr/>
          <p:nvPr userDrawn="1"/>
        </p:nvGrpSpPr>
        <p:grpSpPr>
          <a:xfrm>
            <a:off x="11307787" y="978701"/>
            <a:ext cx="884213" cy="978408"/>
            <a:chOff x="10576386" y="144060"/>
            <a:chExt cx="884213" cy="978408"/>
          </a:xfrm>
        </p:grpSpPr>
        <p:sp>
          <p:nvSpPr>
            <p:cNvPr id="76" name="Rectangle 75">
              <a:extLst>
                <a:ext uri="{FF2B5EF4-FFF2-40B4-BE49-F238E27FC236}">
                  <a16:creationId xmlns:a16="http://schemas.microsoft.com/office/drawing/2014/main" id="{452B2C53-C406-4353-93AE-531967BF8CB0}"/>
                </a:ext>
              </a:extLst>
            </p:cNvPr>
            <p:cNvSpPr/>
            <p:nvPr userDrawn="1"/>
          </p:nvSpPr>
          <p:spPr bwMode="gray">
            <a:xfrm>
              <a:off x="10576386" y="144060"/>
              <a:ext cx="884213" cy="978408"/>
            </a:xfrm>
            <a:prstGeom prst="rect">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77" name="Group 592">
              <a:extLst>
                <a:ext uri="{FF2B5EF4-FFF2-40B4-BE49-F238E27FC236}">
                  <a16:creationId xmlns:a16="http://schemas.microsoft.com/office/drawing/2014/main" id="{2302453D-9390-435B-918B-48353FBD1A65}"/>
                </a:ext>
              </a:extLst>
            </p:cNvPr>
            <p:cNvGrpSpPr>
              <a:grpSpLocks/>
            </p:cNvGrpSpPr>
            <p:nvPr userDrawn="1"/>
          </p:nvGrpSpPr>
          <p:grpSpPr bwMode="auto">
            <a:xfrm>
              <a:off x="10835612" y="271928"/>
              <a:ext cx="365760" cy="369676"/>
              <a:chOff x="373" y="1933"/>
              <a:chExt cx="341" cy="340"/>
            </a:xfrm>
            <a:solidFill>
              <a:schemeClr val="bg1"/>
            </a:solidFill>
          </p:grpSpPr>
          <p:sp>
            <p:nvSpPr>
              <p:cNvPr id="78" name="Freeform 77">
                <a:extLst>
                  <a:ext uri="{FF2B5EF4-FFF2-40B4-BE49-F238E27FC236}">
                    <a16:creationId xmlns:a16="http://schemas.microsoft.com/office/drawing/2014/main" id="{2B96DFC0-3179-4202-9D5F-05E1B8DF75BC}"/>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sp>
            <p:nvSpPr>
              <p:cNvPr id="79" name="Freeform 78">
                <a:extLst>
                  <a:ext uri="{FF2B5EF4-FFF2-40B4-BE49-F238E27FC236}">
                    <a16:creationId xmlns:a16="http://schemas.microsoft.com/office/drawing/2014/main" id="{EF767435-580F-47EE-BF25-5FD8E9D10125}"/>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105" name="Group 104">
            <a:extLst>
              <a:ext uri="{FF2B5EF4-FFF2-40B4-BE49-F238E27FC236}">
                <a16:creationId xmlns:a16="http://schemas.microsoft.com/office/drawing/2014/main" id="{9BB39C06-F26A-4111-BC2F-03379F92F894}"/>
              </a:ext>
            </a:extLst>
          </p:cNvPr>
          <p:cNvGrpSpPr/>
          <p:nvPr userDrawn="1"/>
        </p:nvGrpSpPr>
        <p:grpSpPr>
          <a:xfrm>
            <a:off x="11307787" y="0"/>
            <a:ext cx="884213" cy="978408"/>
            <a:chOff x="11320453" y="0"/>
            <a:chExt cx="884213" cy="978408"/>
          </a:xfrm>
        </p:grpSpPr>
        <p:sp>
          <p:nvSpPr>
            <p:cNvPr id="3" name="Rectangle 2">
              <a:extLst>
                <a:ext uri="{FF2B5EF4-FFF2-40B4-BE49-F238E27FC236}">
                  <a16:creationId xmlns:a16="http://schemas.microsoft.com/office/drawing/2014/main" id="{65FC472A-7D59-4D54-8FC9-7D6FA5E1EA47}"/>
                </a:ext>
              </a:extLst>
            </p:cNvPr>
            <p:cNvSpPr/>
            <p:nvPr userDrawn="1"/>
          </p:nvSpPr>
          <p:spPr bwMode="gray">
            <a:xfrm>
              <a:off x="11320453" y="0"/>
              <a:ext cx="884213" cy="978408"/>
            </a:xfrm>
            <a:prstGeom prst="rect">
              <a:avLst/>
            </a:prstGeom>
            <a:solidFill>
              <a:srgbClr val="0055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20" name="Group 19">
              <a:extLst>
                <a:ext uri="{FF2B5EF4-FFF2-40B4-BE49-F238E27FC236}">
                  <a16:creationId xmlns:a16="http://schemas.microsoft.com/office/drawing/2014/main" id="{9F17A192-3FD8-48E6-B53D-9EF7090C6044}"/>
                </a:ext>
              </a:extLst>
            </p:cNvPr>
            <p:cNvGrpSpPr/>
            <p:nvPr userDrawn="1"/>
          </p:nvGrpSpPr>
          <p:grpSpPr>
            <a:xfrm>
              <a:off x="11578568" y="107960"/>
              <a:ext cx="367982" cy="367982"/>
              <a:chOff x="6042955" y="3704076"/>
              <a:chExt cx="367982" cy="367982"/>
            </a:xfrm>
            <a:solidFill>
              <a:schemeClr val="bg1"/>
            </a:solidFill>
          </p:grpSpPr>
          <p:grpSp>
            <p:nvGrpSpPr>
              <p:cNvPr id="22" name="Group 21">
                <a:extLst>
                  <a:ext uri="{FF2B5EF4-FFF2-40B4-BE49-F238E27FC236}">
                    <a16:creationId xmlns:a16="http://schemas.microsoft.com/office/drawing/2014/main" id="{58A0B01D-64B0-4096-9E7F-DECD3B5567F6}"/>
                  </a:ext>
                </a:extLst>
              </p:cNvPr>
              <p:cNvGrpSpPr/>
              <p:nvPr/>
            </p:nvGrpSpPr>
            <p:grpSpPr>
              <a:xfrm>
                <a:off x="6131110" y="3758524"/>
                <a:ext cx="207980" cy="259087"/>
                <a:chOff x="1690688" y="5349875"/>
                <a:chExt cx="465138" cy="579438"/>
              </a:xfrm>
              <a:grpFill/>
            </p:grpSpPr>
            <p:sp>
              <p:nvSpPr>
                <p:cNvPr id="24" name="Freeform 68">
                  <a:extLst>
                    <a:ext uri="{FF2B5EF4-FFF2-40B4-BE49-F238E27FC236}">
                      <a16:creationId xmlns:a16="http://schemas.microsoft.com/office/drawing/2014/main" id="{6B823961-1297-4728-AA3F-690E6A76EF2B}"/>
                    </a:ext>
                  </a:extLst>
                </p:cNvPr>
                <p:cNvSpPr>
                  <a:spLocks/>
                </p:cNvSpPr>
                <p:nvPr/>
              </p:nvSpPr>
              <p:spPr bwMode="auto">
                <a:xfrm>
                  <a:off x="1781175" y="577850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25" name="Freeform 69">
                  <a:extLst>
                    <a:ext uri="{FF2B5EF4-FFF2-40B4-BE49-F238E27FC236}">
                      <a16:creationId xmlns:a16="http://schemas.microsoft.com/office/drawing/2014/main" id="{2CE5E292-BC45-4468-B71B-4A6ADB984718}"/>
                    </a:ext>
                  </a:extLst>
                </p:cNvPr>
                <p:cNvSpPr>
                  <a:spLocks/>
                </p:cNvSpPr>
                <p:nvPr/>
              </p:nvSpPr>
              <p:spPr bwMode="auto">
                <a:xfrm>
                  <a:off x="1781175" y="5695950"/>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26" name="Freeform 70">
                  <a:extLst>
                    <a:ext uri="{FF2B5EF4-FFF2-40B4-BE49-F238E27FC236}">
                      <a16:creationId xmlns:a16="http://schemas.microsoft.com/office/drawing/2014/main" id="{0BD6E49D-6BB9-4215-AC6E-CEF99CF5DFE5}"/>
                    </a:ext>
                  </a:extLst>
                </p:cNvPr>
                <p:cNvSpPr>
                  <a:spLocks/>
                </p:cNvSpPr>
                <p:nvPr/>
              </p:nvSpPr>
              <p:spPr bwMode="auto">
                <a:xfrm>
                  <a:off x="1781175" y="5614988"/>
                  <a:ext cx="273050" cy="23813"/>
                </a:xfrm>
                <a:custGeom>
                  <a:avLst/>
                  <a:gdLst>
                    <a:gd name="T0" fmla="*/ 109 w 114"/>
                    <a:gd name="T1" fmla="*/ 0 h 10"/>
                    <a:gd name="T2" fmla="*/ 5 w 114"/>
                    <a:gd name="T3" fmla="*/ 0 h 10"/>
                    <a:gd name="T4" fmla="*/ 0 w 114"/>
                    <a:gd name="T5" fmla="*/ 5 h 10"/>
                    <a:gd name="T6" fmla="*/ 5 w 114"/>
                    <a:gd name="T7" fmla="*/ 10 h 10"/>
                    <a:gd name="T8" fmla="*/ 109 w 114"/>
                    <a:gd name="T9" fmla="*/ 10 h 10"/>
                    <a:gd name="T10" fmla="*/ 114 w 114"/>
                    <a:gd name="T11" fmla="*/ 5 h 10"/>
                    <a:gd name="T12" fmla="*/ 109 w 11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4" h="10">
                      <a:moveTo>
                        <a:pt x="109" y="0"/>
                      </a:moveTo>
                      <a:cubicBezTo>
                        <a:pt x="5" y="0"/>
                        <a:pt x="5" y="0"/>
                        <a:pt x="5" y="0"/>
                      </a:cubicBezTo>
                      <a:cubicBezTo>
                        <a:pt x="2" y="0"/>
                        <a:pt x="0" y="2"/>
                        <a:pt x="0" y="5"/>
                      </a:cubicBezTo>
                      <a:cubicBezTo>
                        <a:pt x="0" y="7"/>
                        <a:pt x="2" y="10"/>
                        <a:pt x="5" y="10"/>
                      </a:cubicBezTo>
                      <a:cubicBezTo>
                        <a:pt x="109" y="10"/>
                        <a:pt x="109" y="10"/>
                        <a:pt x="109" y="10"/>
                      </a:cubicBezTo>
                      <a:cubicBezTo>
                        <a:pt x="111" y="10"/>
                        <a:pt x="114" y="7"/>
                        <a:pt x="114" y="5"/>
                      </a:cubicBezTo>
                      <a:cubicBezTo>
                        <a:pt x="114" y="2"/>
                        <a:pt x="111" y="0"/>
                        <a:pt x="1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27" name="Freeform 71">
                  <a:extLst>
                    <a:ext uri="{FF2B5EF4-FFF2-40B4-BE49-F238E27FC236}">
                      <a16:creationId xmlns:a16="http://schemas.microsoft.com/office/drawing/2014/main" id="{BEC31180-1130-48F0-A010-446019D55F3B}"/>
                    </a:ext>
                  </a:extLst>
                </p:cNvPr>
                <p:cNvSpPr>
                  <a:spLocks/>
                </p:cNvSpPr>
                <p:nvPr/>
              </p:nvSpPr>
              <p:spPr bwMode="auto">
                <a:xfrm>
                  <a:off x="1781175" y="5534025"/>
                  <a:ext cx="136525" cy="20638"/>
                </a:xfrm>
                <a:custGeom>
                  <a:avLst/>
                  <a:gdLst>
                    <a:gd name="T0" fmla="*/ 5 w 57"/>
                    <a:gd name="T1" fmla="*/ 9 h 9"/>
                    <a:gd name="T2" fmla="*/ 52 w 57"/>
                    <a:gd name="T3" fmla="*/ 9 h 9"/>
                    <a:gd name="T4" fmla="*/ 57 w 57"/>
                    <a:gd name="T5" fmla="*/ 5 h 9"/>
                    <a:gd name="T6" fmla="*/ 52 w 57"/>
                    <a:gd name="T7" fmla="*/ 0 h 9"/>
                    <a:gd name="T8" fmla="*/ 5 w 57"/>
                    <a:gd name="T9" fmla="*/ 0 h 9"/>
                    <a:gd name="T10" fmla="*/ 0 w 57"/>
                    <a:gd name="T11" fmla="*/ 5 h 9"/>
                    <a:gd name="T12" fmla="*/ 5 w 5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57" h="9">
                      <a:moveTo>
                        <a:pt x="5" y="9"/>
                      </a:moveTo>
                      <a:cubicBezTo>
                        <a:pt x="52" y="9"/>
                        <a:pt x="52" y="9"/>
                        <a:pt x="52" y="9"/>
                      </a:cubicBezTo>
                      <a:cubicBezTo>
                        <a:pt x="54" y="9"/>
                        <a:pt x="57" y="7"/>
                        <a:pt x="57" y="5"/>
                      </a:cubicBezTo>
                      <a:cubicBezTo>
                        <a:pt x="57" y="2"/>
                        <a:pt x="54" y="0"/>
                        <a:pt x="52"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28" name="Freeform 72">
                  <a:extLst>
                    <a:ext uri="{FF2B5EF4-FFF2-40B4-BE49-F238E27FC236}">
                      <a16:creationId xmlns:a16="http://schemas.microsoft.com/office/drawing/2014/main" id="{5E1B587E-1556-4EFA-BCEE-B0244F9C99D3}"/>
                    </a:ext>
                  </a:extLst>
                </p:cNvPr>
                <p:cNvSpPr>
                  <a:spLocks noEditPoints="1"/>
                </p:cNvSpPr>
                <p:nvPr/>
              </p:nvSpPr>
              <p:spPr bwMode="auto">
                <a:xfrm>
                  <a:off x="1690688" y="5349875"/>
                  <a:ext cx="465138" cy="579438"/>
                </a:xfrm>
                <a:custGeom>
                  <a:avLst/>
                  <a:gdLst>
                    <a:gd name="T0" fmla="*/ 190 w 194"/>
                    <a:gd name="T1" fmla="*/ 37 h 242"/>
                    <a:gd name="T2" fmla="*/ 156 w 194"/>
                    <a:gd name="T3" fmla="*/ 4 h 242"/>
                    <a:gd name="T4" fmla="*/ 147 w 194"/>
                    <a:gd name="T5" fmla="*/ 0 h 242"/>
                    <a:gd name="T6" fmla="*/ 147 w 194"/>
                    <a:gd name="T7" fmla="*/ 0 h 242"/>
                    <a:gd name="T8" fmla="*/ 13 w 194"/>
                    <a:gd name="T9" fmla="*/ 0 h 242"/>
                    <a:gd name="T10" fmla="*/ 0 w 194"/>
                    <a:gd name="T11" fmla="*/ 13 h 242"/>
                    <a:gd name="T12" fmla="*/ 0 w 194"/>
                    <a:gd name="T13" fmla="*/ 229 h 242"/>
                    <a:gd name="T14" fmla="*/ 13 w 194"/>
                    <a:gd name="T15" fmla="*/ 242 h 242"/>
                    <a:gd name="T16" fmla="*/ 181 w 194"/>
                    <a:gd name="T17" fmla="*/ 242 h 242"/>
                    <a:gd name="T18" fmla="*/ 194 w 194"/>
                    <a:gd name="T19" fmla="*/ 229 h 242"/>
                    <a:gd name="T20" fmla="*/ 194 w 194"/>
                    <a:gd name="T21" fmla="*/ 46 h 242"/>
                    <a:gd name="T22" fmla="*/ 190 w 194"/>
                    <a:gd name="T23" fmla="*/ 37 h 242"/>
                    <a:gd name="T24" fmla="*/ 180 w 194"/>
                    <a:gd name="T25" fmla="*/ 41 h 242"/>
                    <a:gd name="T26" fmla="*/ 152 w 194"/>
                    <a:gd name="T27" fmla="*/ 41 h 242"/>
                    <a:gd name="T28" fmla="*/ 152 w 194"/>
                    <a:gd name="T29" fmla="*/ 13 h 242"/>
                    <a:gd name="T30" fmla="*/ 180 w 194"/>
                    <a:gd name="T31" fmla="*/ 41 h 242"/>
                    <a:gd name="T32" fmla="*/ 181 w 194"/>
                    <a:gd name="T33" fmla="*/ 232 h 242"/>
                    <a:gd name="T34" fmla="*/ 13 w 194"/>
                    <a:gd name="T35" fmla="*/ 232 h 242"/>
                    <a:gd name="T36" fmla="*/ 9 w 194"/>
                    <a:gd name="T37" fmla="*/ 229 h 242"/>
                    <a:gd name="T38" fmla="*/ 9 w 194"/>
                    <a:gd name="T39" fmla="*/ 13 h 242"/>
                    <a:gd name="T40" fmla="*/ 13 w 194"/>
                    <a:gd name="T41" fmla="*/ 10 h 242"/>
                    <a:gd name="T42" fmla="*/ 142 w 194"/>
                    <a:gd name="T43" fmla="*/ 10 h 242"/>
                    <a:gd name="T44" fmla="*/ 142 w 194"/>
                    <a:gd name="T45" fmla="*/ 46 h 242"/>
                    <a:gd name="T46" fmla="*/ 147 w 194"/>
                    <a:gd name="T47" fmla="*/ 51 h 242"/>
                    <a:gd name="T48" fmla="*/ 184 w 194"/>
                    <a:gd name="T49" fmla="*/ 51 h 242"/>
                    <a:gd name="T50" fmla="*/ 184 w 194"/>
                    <a:gd name="T51" fmla="*/ 229 h 242"/>
                    <a:gd name="T52" fmla="*/ 181 w 194"/>
                    <a:gd name="T53" fmla="*/ 23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4" h="242">
                      <a:moveTo>
                        <a:pt x="190" y="37"/>
                      </a:moveTo>
                      <a:cubicBezTo>
                        <a:pt x="156" y="4"/>
                        <a:pt x="156" y="4"/>
                        <a:pt x="156" y="4"/>
                      </a:cubicBezTo>
                      <a:cubicBezTo>
                        <a:pt x="153" y="1"/>
                        <a:pt x="150" y="0"/>
                        <a:pt x="147" y="0"/>
                      </a:cubicBezTo>
                      <a:cubicBezTo>
                        <a:pt x="147" y="0"/>
                        <a:pt x="147" y="0"/>
                        <a:pt x="147" y="0"/>
                      </a:cubicBezTo>
                      <a:cubicBezTo>
                        <a:pt x="13" y="0"/>
                        <a:pt x="13" y="0"/>
                        <a:pt x="13" y="0"/>
                      </a:cubicBezTo>
                      <a:cubicBezTo>
                        <a:pt x="5" y="0"/>
                        <a:pt x="0" y="6"/>
                        <a:pt x="0" y="13"/>
                      </a:cubicBezTo>
                      <a:cubicBezTo>
                        <a:pt x="0" y="229"/>
                        <a:pt x="0" y="229"/>
                        <a:pt x="0" y="229"/>
                      </a:cubicBezTo>
                      <a:cubicBezTo>
                        <a:pt x="0" y="236"/>
                        <a:pt x="5" y="242"/>
                        <a:pt x="13" y="242"/>
                      </a:cubicBezTo>
                      <a:cubicBezTo>
                        <a:pt x="181" y="242"/>
                        <a:pt x="181" y="242"/>
                        <a:pt x="181" y="242"/>
                      </a:cubicBezTo>
                      <a:cubicBezTo>
                        <a:pt x="188" y="242"/>
                        <a:pt x="194" y="236"/>
                        <a:pt x="194" y="229"/>
                      </a:cubicBezTo>
                      <a:cubicBezTo>
                        <a:pt x="194" y="46"/>
                        <a:pt x="194" y="46"/>
                        <a:pt x="194" y="46"/>
                      </a:cubicBezTo>
                      <a:cubicBezTo>
                        <a:pt x="194" y="43"/>
                        <a:pt x="192" y="39"/>
                        <a:pt x="190" y="37"/>
                      </a:cubicBezTo>
                      <a:close/>
                      <a:moveTo>
                        <a:pt x="180" y="41"/>
                      </a:moveTo>
                      <a:cubicBezTo>
                        <a:pt x="152" y="41"/>
                        <a:pt x="152" y="41"/>
                        <a:pt x="152" y="41"/>
                      </a:cubicBezTo>
                      <a:cubicBezTo>
                        <a:pt x="152" y="13"/>
                        <a:pt x="152" y="13"/>
                        <a:pt x="152" y="13"/>
                      </a:cubicBezTo>
                      <a:lnTo>
                        <a:pt x="180" y="41"/>
                      </a:lnTo>
                      <a:close/>
                      <a:moveTo>
                        <a:pt x="181" y="232"/>
                      </a:moveTo>
                      <a:cubicBezTo>
                        <a:pt x="13" y="232"/>
                        <a:pt x="13" y="232"/>
                        <a:pt x="13" y="232"/>
                      </a:cubicBezTo>
                      <a:cubicBezTo>
                        <a:pt x="11" y="232"/>
                        <a:pt x="9" y="231"/>
                        <a:pt x="9" y="229"/>
                      </a:cubicBezTo>
                      <a:cubicBezTo>
                        <a:pt x="9" y="13"/>
                        <a:pt x="9" y="13"/>
                        <a:pt x="9" y="13"/>
                      </a:cubicBezTo>
                      <a:cubicBezTo>
                        <a:pt x="9" y="11"/>
                        <a:pt x="11" y="10"/>
                        <a:pt x="13" y="10"/>
                      </a:cubicBezTo>
                      <a:cubicBezTo>
                        <a:pt x="142" y="10"/>
                        <a:pt x="142" y="10"/>
                        <a:pt x="142" y="10"/>
                      </a:cubicBezTo>
                      <a:cubicBezTo>
                        <a:pt x="142" y="46"/>
                        <a:pt x="142" y="46"/>
                        <a:pt x="142" y="46"/>
                      </a:cubicBezTo>
                      <a:cubicBezTo>
                        <a:pt x="142" y="49"/>
                        <a:pt x="144" y="51"/>
                        <a:pt x="147" y="51"/>
                      </a:cubicBezTo>
                      <a:cubicBezTo>
                        <a:pt x="184" y="51"/>
                        <a:pt x="184" y="51"/>
                        <a:pt x="184" y="51"/>
                      </a:cubicBezTo>
                      <a:cubicBezTo>
                        <a:pt x="184" y="229"/>
                        <a:pt x="184" y="229"/>
                        <a:pt x="184" y="229"/>
                      </a:cubicBezTo>
                      <a:cubicBezTo>
                        <a:pt x="184" y="231"/>
                        <a:pt x="182" y="232"/>
                        <a:pt x="181" y="2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23" name="Freeform 547">
                <a:extLst>
                  <a:ext uri="{FF2B5EF4-FFF2-40B4-BE49-F238E27FC236}">
                    <a16:creationId xmlns:a16="http://schemas.microsoft.com/office/drawing/2014/main" id="{E05B9567-C06F-4895-B96C-079437953971}"/>
                  </a:ext>
                </a:extLst>
              </p:cNvPr>
              <p:cNvSpPr>
                <a:spLocks noEditPoints="1"/>
              </p:cNvSpPr>
              <p:nvPr/>
            </p:nvSpPr>
            <p:spPr bwMode="auto">
              <a:xfrm>
                <a:off x="6042955" y="370407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97" name="Group 96">
            <a:extLst>
              <a:ext uri="{FF2B5EF4-FFF2-40B4-BE49-F238E27FC236}">
                <a16:creationId xmlns:a16="http://schemas.microsoft.com/office/drawing/2014/main" id="{52535618-950F-4AD7-9879-71AC75964C40}"/>
              </a:ext>
            </a:extLst>
          </p:cNvPr>
          <p:cNvGrpSpPr/>
          <p:nvPr userDrawn="1"/>
        </p:nvGrpSpPr>
        <p:grpSpPr>
          <a:xfrm>
            <a:off x="11307787" y="2933749"/>
            <a:ext cx="884213" cy="978408"/>
            <a:chOff x="10576386" y="144060"/>
            <a:chExt cx="884213" cy="978408"/>
          </a:xfrm>
          <a:solidFill>
            <a:srgbClr val="00ABAB"/>
          </a:solidFill>
        </p:grpSpPr>
        <p:sp>
          <p:nvSpPr>
            <p:cNvPr id="92" name="Rectangle 91">
              <a:extLst>
                <a:ext uri="{FF2B5EF4-FFF2-40B4-BE49-F238E27FC236}">
                  <a16:creationId xmlns:a16="http://schemas.microsoft.com/office/drawing/2014/main" id="{F323AD46-8660-48EE-92AD-6D2A6F4AA1C9}"/>
                </a:ext>
              </a:extLst>
            </p:cNvPr>
            <p:cNvSpPr/>
            <p:nvPr userDrawn="1"/>
          </p:nvSpPr>
          <p:spPr bwMode="gray">
            <a:xfrm>
              <a:off x="10576386" y="144060"/>
              <a:ext cx="884213" cy="978408"/>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94" name="Group 93">
              <a:extLst>
                <a:ext uri="{FF2B5EF4-FFF2-40B4-BE49-F238E27FC236}">
                  <a16:creationId xmlns:a16="http://schemas.microsoft.com/office/drawing/2014/main" id="{4B2371B7-590D-4ABB-BDC0-360DEF0B7FFD}"/>
                </a:ext>
              </a:extLst>
            </p:cNvPr>
            <p:cNvGrpSpPr/>
            <p:nvPr userDrawn="1"/>
          </p:nvGrpSpPr>
          <p:grpSpPr>
            <a:xfrm>
              <a:off x="10834501" y="254280"/>
              <a:ext cx="367982" cy="367982"/>
              <a:chOff x="7153126" y="1943100"/>
              <a:chExt cx="367982" cy="367982"/>
            </a:xfrm>
            <a:grpFill/>
          </p:grpSpPr>
          <p:sp>
            <p:nvSpPr>
              <p:cNvPr id="95" name="Freeform 903">
                <a:extLst>
                  <a:ext uri="{FF2B5EF4-FFF2-40B4-BE49-F238E27FC236}">
                    <a16:creationId xmlns:a16="http://schemas.microsoft.com/office/drawing/2014/main" id="{61F505EF-133A-48E6-A4FA-8980F74FC532}"/>
                  </a:ext>
                </a:extLst>
              </p:cNvPr>
              <p:cNvSpPr>
                <a:spLocks noEditPoints="1"/>
              </p:cNvSpPr>
              <p:nvPr/>
            </p:nvSpPr>
            <p:spPr bwMode="auto">
              <a:xfrm>
                <a:off x="7153126" y="1943100"/>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1982" b="0" i="0" u="none" strike="noStrike" kern="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96" name="Freeform 118">
                <a:extLst>
                  <a:ext uri="{FF2B5EF4-FFF2-40B4-BE49-F238E27FC236}">
                    <a16:creationId xmlns:a16="http://schemas.microsoft.com/office/drawing/2014/main" id="{B4CF30F2-52CB-48DB-A00A-78AA01E6D16A}"/>
                  </a:ext>
                </a:extLst>
              </p:cNvPr>
              <p:cNvSpPr>
                <a:spLocks noChangeAspect="1"/>
              </p:cNvSpPr>
              <p:nvPr/>
            </p:nvSpPr>
            <p:spPr bwMode="auto">
              <a:xfrm>
                <a:off x="7213994" y="1999986"/>
                <a:ext cx="230527" cy="221307"/>
              </a:xfrm>
              <a:custGeom>
                <a:avLst/>
                <a:gdLst>
                  <a:gd name="T0" fmla="*/ 183 w 233"/>
                  <a:gd name="T1" fmla="*/ 167 h 224"/>
                  <a:gd name="T2" fmla="*/ 142 w 233"/>
                  <a:gd name="T3" fmla="*/ 126 h 224"/>
                  <a:gd name="T4" fmla="*/ 156 w 233"/>
                  <a:gd name="T5" fmla="*/ 96 h 224"/>
                  <a:gd name="T6" fmla="*/ 167 w 233"/>
                  <a:gd name="T7" fmla="*/ 75 h 224"/>
                  <a:gd name="T8" fmla="*/ 163 w 233"/>
                  <a:gd name="T9" fmla="*/ 65 h 224"/>
                  <a:gd name="T10" fmla="*/ 166 w 233"/>
                  <a:gd name="T11" fmla="*/ 43 h 224"/>
                  <a:gd name="T12" fmla="*/ 117 w 233"/>
                  <a:gd name="T13" fmla="*/ 0 h 224"/>
                  <a:gd name="T14" fmla="*/ 67 w 233"/>
                  <a:gd name="T15" fmla="*/ 43 h 224"/>
                  <a:gd name="T16" fmla="*/ 70 w 233"/>
                  <a:gd name="T17" fmla="*/ 65 h 224"/>
                  <a:gd name="T18" fmla="*/ 66 w 233"/>
                  <a:gd name="T19" fmla="*/ 75 h 224"/>
                  <a:gd name="T20" fmla="*/ 77 w 233"/>
                  <a:gd name="T21" fmla="*/ 96 h 224"/>
                  <a:gd name="T22" fmla="*/ 91 w 233"/>
                  <a:gd name="T23" fmla="*/ 126 h 224"/>
                  <a:gd name="T24" fmla="*/ 51 w 233"/>
                  <a:gd name="T25" fmla="*/ 167 h 224"/>
                  <a:gd name="T26" fmla="*/ 0 w 233"/>
                  <a:gd name="T27" fmla="*/ 197 h 224"/>
                  <a:gd name="T28" fmla="*/ 0 w 233"/>
                  <a:gd name="T29" fmla="*/ 224 h 224"/>
                  <a:gd name="T30" fmla="*/ 117 w 233"/>
                  <a:gd name="T31" fmla="*/ 224 h 224"/>
                  <a:gd name="T32" fmla="*/ 233 w 233"/>
                  <a:gd name="T33" fmla="*/ 224 h 224"/>
                  <a:gd name="T34" fmla="*/ 233 w 233"/>
                  <a:gd name="T35" fmla="*/ 197 h 224"/>
                  <a:gd name="T36" fmla="*/ 183 w 233"/>
                  <a:gd name="T37" fmla="*/ 16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3" h="224">
                    <a:moveTo>
                      <a:pt x="183" y="167"/>
                    </a:moveTo>
                    <a:cubicBezTo>
                      <a:pt x="152" y="156"/>
                      <a:pt x="142" y="146"/>
                      <a:pt x="142" y="126"/>
                    </a:cubicBezTo>
                    <a:cubicBezTo>
                      <a:pt x="142" y="114"/>
                      <a:pt x="152" y="118"/>
                      <a:pt x="156" y="96"/>
                    </a:cubicBezTo>
                    <a:cubicBezTo>
                      <a:pt x="157" y="87"/>
                      <a:pt x="166" y="96"/>
                      <a:pt x="167" y="75"/>
                    </a:cubicBezTo>
                    <a:cubicBezTo>
                      <a:pt x="167" y="67"/>
                      <a:pt x="163" y="65"/>
                      <a:pt x="163" y="65"/>
                    </a:cubicBezTo>
                    <a:cubicBezTo>
                      <a:pt x="163" y="65"/>
                      <a:pt x="165" y="52"/>
                      <a:pt x="166" y="43"/>
                    </a:cubicBezTo>
                    <a:cubicBezTo>
                      <a:pt x="167" y="31"/>
                      <a:pt x="159" y="0"/>
                      <a:pt x="117" y="0"/>
                    </a:cubicBezTo>
                    <a:cubicBezTo>
                      <a:pt x="74" y="0"/>
                      <a:pt x="66" y="31"/>
                      <a:pt x="67" y="43"/>
                    </a:cubicBezTo>
                    <a:cubicBezTo>
                      <a:pt x="68" y="52"/>
                      <a:pt x="70" y="65"/>
                      <a:pt x="70" y="65"/>
                    </a:cubicBezTo>
                    <a:cubicBezTo>
                      <a:pt x="70" y="65"/>
                      <a:pt x="66" y="67"/>
                      <a:pt x="66" y="75"/>
                    </a:cubicBezTo>
                    <a:cubicBezTo>
                      <a:pt x="67" y="96"/>
                      <a:pt x="76" y="87"/>
                      <a:pt x="77" y="96"/>
                    </a:cubicBezTo>
                    <a:cubicBezTo>
                      <a:pt x="82" y="118"/>
                      <a:pt x="91" y="114"/>
                      <a:pt x="91" y="126"/>
                    </a:cubicBezTo>
                    <a:cubicBezTo>
                      <a:pt x="91" y="146"/>
                      <a:pt x="81" y="156"/>
                      <a:pt x="51" y="167"/>
                    </a:cubicBezTo>
                    <a:cubicBezTo>
                      <a:pt x="20" y="178"/>
                      <a:pt x="0" y="190"/>
                      <a:pt x="0" y="197"/>
                    </a:cubicBezTo>
                    <a:cubicBezTo>
                      <a:pt x="0" y="205"/>
                      <a:pt x="0" y="224"/>
                      <a:pt x="0" y="224"/>
                    </a:cubicBezTo>
                    <a:cubicBezTo>
                      <a:pt x="117" y="224"/>
                      <a:pt x="117" y="224"/>
                      <a:pt x="117" y="224"/>
                    </a:cubicBezTo>
                    <a:cubicBezTo>
                      <a:pt x="233" y="224"/>
                      <a:pt x="233" y="224"/>
                      <a:pt x="233" y="224"/>
                    </a:cubicBezTo>
                    <a:cubicBezTo>
                      <a:pt x="233" y="224"/>
                      <a:pt x="233" y="205"/>
                      <a:pt x="233" y="197"/>
                    </a:cubicBezTo>
                    <a:cubicBezTo>
                      <a:pt x="233" y="190"/>
                      <a:pt x="213" y="178"/>
                      <a:pt x="183" y="167"/>
                    </a:cubicBez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111" name="Group 110">
            <a:extLst>
              <a:ext uri="{FF2B5EF4-FFF2-40B4-BE49-F238E27FC236}">
                <a16:creationId xmlns:a16="http://schemas.microsoft.com/office/drawing/2014/main" id="{CB4FE53B-15EF-490D-BEA2-F8045E446B21}"/>
              </a:ext>
            </a:extLst>
          </p:cNvPr>
          <p:cNvGrpSpPr/>
          <p:nvPr userDrawn="1"/>
        </p:nvGrpSpPr>
        <p:grpSpPr>
          <a:xfrm>
            <a:off x="11307787" y="3885439"/>
            <a:ext cx="884213" cy="1008246"/>
            <a:chOff x="10576385" y="152400"/>
            <a:chExt cx="884213" cy="978408"/>
          </a:xfrm>
        </p:grpSpPr>
        <p:sp>
          <p:nvSpPr>
            <p:cNvPr id="106" name="Rectangle 105">
              <a:extLst>
                <a:ext uri="{FF2B5EF4-FFF2-40B4-BE49-F238E27FC236}">
                  <a16:creationId xmlns:a16="http://schemas.microsoft.com/office/drawing/2014/main" id="{88D691AE-DA2F-4DF1-AC3F-DDF1627E3081}"/>
                </a:ext>
              </a:extLst>
            </p:cNvPr>
            <p:cNvSpPr/>
            <p:nvPr userDrawn="1"/>
          </p:nvSpPr>
          <p:spPr bwMode="gray">
            <a:xfrm>
              <a:off x="10576385" y="152400"/>
              <a:ext cx="884213" cy="978408"/>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08" name="Group 48">
              <a:extLst>
                <a:ext uri="{FF2B5EF4-FFF2-40B4-BE49-F238E27FC236}">
                  <a16:creationId xmlns:a16="http://schemas.microsoft.com/office/drawing/2014/main" id="{8EE494FB-3BDC-4EDF-8EC3-4A82DD3087A1}"/>
                </a:ext>
              </a:extLst>
            </p:cNvPr>
            <p:cNvGrpSpPr>
              <a:grpSpLocks noChangeAspect="1"/>
            </p:cNvGrpSpPr>
            <p:nvPr userDrawn="1"/>
          </p:nvGrpSpPr>
          <p:grpSpPr bwMode="auto">
            <a:xfrm>
              <a:off x="10834676" y="260360"/>
              <a:ext cx="367631" cy="367631"/>
              <a:chOff x="4277" y="1990"/>
              <a:chExt cx="340" cy="340"/>
            </a:xfrm>
            <a:solidFill>
              <a:schemeClr val="bg1"/>
            </a:solidFill>
          </p:grpSpPr>
          <p:sp>
            <p:nvSpPr>
              <p:cNvPr id="109" name="Freeform 49">
                <a:extLst>
                  <a:ext uri="{FF2B5EF4-FFF2-40B4-BE49-F238E27FC236}">
                    <a16:creationId xmlns:a16="http://schemas.microsoft.com/office/drawing/2014/main" id="{17AD528F-9C4F-45E9-B80B-A32ADF2C35B1}"/>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10" name="Freeform 50">
                <a:extLst>
                  <a:ext uri="{FF2B5EF4-FFF2-40B4-BE49-F238E27FC236}">
                    <a16:creationId xmlns:a16="http://schemas.microsoft.com/office/drawing/2014/main" id="{6E138BF3-BBA7-4F81-912B-C243DF5AC18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grpSp>
        <p:nvGrpSpPr>
          <p:cNvPr id="126" name="Group 125">
            <a:extLst>
              <a:ext uri="{FF2B5EF4-FFF2-40B4-BE49-F238E27FC236}">
                <a16:creationId xmlns:a16="http://schemas.microsoft.com/office/drawing/2014/main" id="{0EE0564B-4411-4F83-B317-594B84DA0DB8}"/>
              </a:ext>
            </a:extLst>
          </p:cNvPr>
          <p:cNvGrpSpPr/>
          <p:nvPr userDrawn="1"/>
        </p:nvGrpSpPr>
        <p:grpSpPr>
          <a:xfrm>
            <a:off x="11307787" y="4885264"/>
            <a:ext cx="884213" cy="978408"/>
            <a:chOff x="10576385" y="152400"/>
            <a:chExt cx="884213" cy="978408"/>
          </a:xfrm>
        </p:grpSpPr>
        <p:sp>
          <p:nvSpPr>
            <p:cNvPr id="118" name="Rectangle 117">
              <a:extLst>
                <a:ext uri="{FF2B5EF4-FFF2-40B4-BE49-F238E27FC236}">
                  <a16:creationId xmlns:a16="http://schemas.microsoft.com/office/drawing/2014/main" id="{EF9C0ABE-D2F0-46AD-9A12-179F940F05DC}"/>
                </a:ext>
              </a:extLst>
            </p:cNvPr>
            <p:cNvSpPr/>
            <p:nvPr userDrawn="1"/>
          </p:nvSpPr>
          <p:spPr bwMode="gray">
            <a:xfrm>
              <a:off x="10576385" y="152400"/>
              <a:ext cx="884213" cy="978408"/>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20" name="Group 555">
              <a:extLst>
                <a:ext uri="{FF2B5EF4-FFF2-40B4-BE49-F238E27FC236}">
                  <a16:creationId xmlns:a16="http://schemas.microsoft.com/office/drawing/2014/main" id="{FE33A27F-57F3-4359-A4CE-61F85444064D}"/>
                </a:ext>
              </a:extLst>
            </p:cNvPr>
            <p:cNvGrpSpPr>
              <a:grpSpLocks noChangeAspect="1"/>
            </p:cNvGrpSpPr>
            <p:nvPr userDrawn="1"/>
          </p:nvGrpSpPr>
          <p:grpSpPr bwMode="auto">
            <a:xfrm>
              <a:off x="10833438" y="257395"/>
              <a:ext cx="370106" cy="369021"/>
              <a:chOff x="1130" y="1948"/>
              <a:chExt cx="341" cy="340"/>
            </a:xfrm>
            <a:solidFill>
              <a:schemeClr val="bg1"/>
            </a:solidFill>
          </p:grpSpPr>
          <p:sp>
            <p:nvSpPr>
              <p:cNvPr id="121" name="Freeform 556">
                <a:extLst>
                  <a:ext uri="{FF2B5EF4-FFF2-40B4-BE49-F238E27FC236}">
                    <a16:creationId xmlns:a16="http://schemas.microsoft.com/office/drawing/2014/main" id="{9195C5F7-1EEE-4EF7-B979-B3D2BAEB7AB5}"/>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2" name="Freeform 557">
                <a:extLst>
                  <a:ext uri="{FF2B5EF4-FFF2-40B4-BE49-F238E27FC236}">
                    <a16:creationId xmlns:a16="http://schemas.microsoft.com/office/drawing/2014/main" id="{0B9538E8-019F-4B1D-A1EC-ACCDCB03E039}"/>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3" name="Freeform 558">
                <a:extLst>
                  <a:ext uri="{FF2B5EF4-FFF2-40B4-BE49-F238E27FC236}">
                    <a16:creationId xmlns:a16="http://schemas.microsoft.com/office/drawing/2014/main" id="{005E2682-1E6B-439A-A456-BA5EFC751271}"/>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4" name="Freeform 559">
                <a:extLst>
                  <a:ext uri="{FF2B5EF4-FFF2-40B4-BE49-F238E27FC236}">
                    <a16:creationId xmlns:a16="http://schemas.microsoft.com/office/drawing/2014/main" id="{50782D0F-C253-485F-A5C1-D4CE2265D525}"/>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sp>
            <p:nvSpPr>
              <p:cNvPr id="125" name="Freeform 560">
                <a:extLst>
                  <a:ext uri="{FF2B5EF4-FFF2-40B4-BE49-F238E27FC236}">
                    <a16:creationId xmlns:a16="http://schemas.microsoft.com/office/drawing/2014/main" id="{5C432577-4E76-40D9-B251-C8BBB77BA002}"/>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773" dirty="0">
                  <a:latin typeface="Calibri" panose="020F0502020204030204" pitchFamily="34" charset="0"/>
                </a:endParaRPr>
              </a:p>
            </p:txBody>
          </p:sp>
        </p:grpSp>
      </p:grpSp>
      <p:sp>
        <p:nvSpPr>
          <p:cNvPr id="57" name="Rectangle 56">
            <a:extLst>
              <a:ext uri="{FF2B5EF4-FFF2-40B4-BE49-F238E27FC236}">
                <a16:creationId xmlns:a16="http://schemas.microsoft.com/office/drawing/2014/main" id="{0E50772F-1BDB-4F39-A749-4285C798E568}"/>
              </a:ext>
            </a:extLst>
          </p:cNvPr>
          <p:cNvSpPr/>
          <p:nvPr userDrawn="1"/>
        </p:nvSpPr>
        <p:spPr>
          <a:xfrm>
            <a:off x="11349439" y="1508981"/>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Executive summary</a:t>
            </a:r>
            <a:endParaRPr lang="en-US" sz="891" b="0" dirty="0">
              <a:solidFill>
                <a:schemeClr val="bg1"/>
              </a:solidFill>
              <a:latin typeface="Calibri" panose="020F0502020204030204" pitchFamily="34" charset="0"/>
            </a:endParaRPr>
          </a:p>
        </p:txBody>
      </p:sp>
      <p:sp>
        <p:nvSpPr>
          <p:cNvPr id="58" name="Rectangle 57">
            <a:extLst>
              <a:ext uri="{FF2B5EF4-FFF2-40B4-BE49-F238E27FC236}">
                <a16:creationId xmlns:a16="http://schemas.microsoft.com/office/drawing/2014/main" id="{86181D55-D3EF-4EAF-8728-CAAC57B6CE83}"/>
              </a:ext>
            </a:extLst>
          </p:cNvPr>
          <p:cNvSpPr/>
          <p:nvPr userDrawn="1"/>
        </p:nvSpPr>
        <p:spPr>
          <a:xfrm>
            <a:off x="11349439" y="521940"/>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Cover </a:t>
            </a:r>
          </a:p>
          <a:p>
            <a:pPr algn="ctr"/>
            <a:r>
              <a:rPr lang="en-US" sz="891" b="0" i="0" spc="-25" dirty="0">
                <a:solidFill>
                  <a:schemeClr val="bg1"/>
                </a:solidFill>
                <a:latin typeface="Calibri" panose="020F0502020204030204" pitchFamily="34" charset="0"/>
                <a:cs typeface="Open Sans Light"/>
              </a:rPr>
              <a:t>letter</a:t>
            </a:r>
            <a:endParaRPr lang="en-US" sz="891" b="0" dirty="0">
              <a:solidFill>
                <a:schemeClr val="bg1"/>
              </a:solidFill>
              <a:latin typeface="Calibri" panose="020F0502020204030204" pitchFamily="34" charset="0"/>
            </a:endParaRPr>
          </a:p>
        </p:txBody>
      </p:sp>
      <p:sp>
        <p:nvSpPr>
          <p:cNvPr id="59" name="Rectangle 58">
            <a:extLst>
              <a:ext uri="{FF2B5EF4-FFF2-40B4-BE49-F238E27FC236}">
                <a16:creationId xmlns:a16="http://schemas.microsoft.com/office/drawing/2014/main" id="{D803F228-5429-4EBB-A8E1-F4BD4F281C2A}"/>
              </a:ext>
            </a:extLst>
          </p:cNvPr>
          <p:cNvSpPr/>
          <p:nvPr userDrawn="1"/>
        </p:nvSpPr>
        <p:spPr>
          <a:xfrm>
            <a:off x="11349439" y="3464029"/>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Approach &amp; Methodology</a:t>
            </a:r>
            <a:endParaRPr lang="en-US" sz="891" b="0" dirty="0">
              <a:solidFill>
                <a:schemeClr val="bg1"/>
              </a:solidFill>
              <a:latin typeface="Calibri" panose="020F0502020204030204" pitchFamily="34" charset="0"/>
            </a:endParaRPr>
          </a:p>
        </p:txBody>
      </p:sp>
      <p:sp>
        <p:nvSpPr>
          <p:cNvPr id="60" name="Rectangle 59">
            <a:extLst>
              <a:ext uri="{FF2B5EF4-FFF2-40B4-BE49-F238E27FC236}">
                <a16:creationId xmlns:a16="http://schemas.microsoft.com/office/drawing/2014/main" id="{2E334B7A-F745-49AD-803E-FD0D26F74A97}"/>
              </a:ext>
            </a:extLst>
          </p:cNvPr>
          <p:cNvSpPr/>
          <p:nvPr userDrawn="1"/>
        </p:nvSpPr>
        <p:spPr>
          <a:xfrm>
            <a:off x="11349439" y="4435932"/>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Timeline and Assumptions</a:t>
            </a:r>
            <a:endParaRPr lang="en-US" sz="891" b="0" dirty="0">
              <a:solidFill>
                <a:schemeClr val="bg1"/>
              </a:solidFill>
              <a:latin typeface="Calibri" panose="020F0502020204030204" pitchFamily="34" charset="0"/>
            </a:endParaRPr>
          </a:p>
        </p:txBody>
      </p:sp>
      <p:sp>
        <p:nvSpPr>
          <p:cNvPr id="61" name="Rectangle 60">
            <a:extLst>
              <a:ext uri="{FF2B5EF4-FFF2-40B4-BE49-F238E27FC236}">
                <a16:creationId xmlns:a16="http://schemas.microsoft.com/office/drawing/2014/main" id="{D571380E-A60C-4DBB-9E42-8DDC403DA12C}"/>
              </a:ext>
            </a:extLst>
          </p:cNvPr>
          <p:cNvSpPr/>
          <p:nvPr userDrawn="1"/>
        </p:nvSpPr>
        <p:spPr>
          <a:xfrm>
            <a:off x="11349439" y="541554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Team</a:t>
            </a:r>
            <a:endParaRPr lang="en-US" sz="891" b="0" dirty="0">
              <a:solidFill>
                <a:schemeClr val="bg1"/>
              </a:solidFill>
              <a:latin typeface="Calibri" panose="020F0502020204030204" pitchFamily="34" charset="0"/>
            </a:endParaRPr>
          </a:p>
        </p:txBody>
      </p:sp>
      <p:sp>
        <p:nvSpPr>
          <p:cNvPr id="69" name="Rectangle 68">
            <a:hlinkClick r:id="" action="ppaction://noaction"/>
            <a:extLst>
              <a:ext uri="{FF2B5EF4-FFF2-40B4-BE49-F238E27FC236}">
                <a16:creationId xmlns:a16="http://schemas.microsoft.com/office/drawing/2014/main" id="{37508B04-8A1E-4095-9F3D-76EAB96CAEDE}"/>
              </a:ext>
            </a:extLst>
          </p:cNvPr>
          <p:cNvSpPr/>
          <p:nvPr userDrawn="1"/>
        </p:nvSpPr>
        <p:spPr bwMode="gray">
          <a:xfrm>
            <a:off x="11307787" y="5863690"/>
            <a:ext cx="884213" cy="531181"/>
          </a:xfrm>
          <a:prstGeom prst="rect">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0" name="Group 9">
            <a:extLst>
              <a:ext uri="{FF2B5EF4-FFF2-40B4-BE49-F238E27FC236}">
                <a16:creationId xmlns:a16="http://schemas.microsoft.com/office/drawing/2014/main" id="{E89ABCA5-1EDF-45E0-AA36-1870BB54143A}"/>
              </a:ext>
            </a:extLst>
          </p:cNvPr>
          <p:cNvGrpSpPr/>
          <p:nvPr userDrawn="1"/>
        </p:nvGrpSpPr>
        <p:grpSpPr>
          <a:xfrm>
            <a:off x="10835777" y="6454064"/>
            <a:ext cx="367881" cy="367881"/>
            <a:chOff x="2624423" y="132075"/>
            <a:chExt cx="864729" cy="864729"/>
          </a:xfrm>
        </p:grpSpPr>
        <p:sp>
          <p:nvSpPr>
            <p:cNvPr id="70" name="Oval 69">
              <a:extLst>
                <a:ext uri="{FF2B5EF4-FFF2-40B4-BE49-F238E27FC236}">
                  <a16:creationId xmlns:a16="http://schemas.microsoft.com/office/drawing/2014/main" id="{70227B36-408C-4979-9871-F1E1E961A3A8}"/>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71" name="Group 22">
              <a:extLst>
                <a:ext uri="{FF2B5EF4-FFF2-40B4-BE49-F238E27FC236}">
                  <a16:creationId xmlns:a16="http://schemas.microsoft.com/office/drawing/2014/main" id="{BDED61B1-647D-4C1F-A8E6-DD0CA86E00AA}"/>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72" name="Freeform 23">
                <a:extLst>
                  <a:ext uri="{FF2B5EF4-FFF2-40B4-BE49-F238E27FC236}">
                    <a16:creationId xmlns:a16="http://schemas.microsoft.com/office/drawing/2014/main" id="{BEE35043-E370-410E-AD46-0084279EF030}"/>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sp>
            <p:nvSpPr>
              <p:cNvPr id="73" name="Freeform 24">
                <a:extLst>
                  <a:ext uri="{FF2B5EF4-FFF2-40B4-BE49-F238E27FC236}">
                    <a16:creationId xmlns:a16="http://schemas.microsoft.com/office/drawing/2014/main" id="{E75DF944-A29E-4121-A562-E363B55C3144}"/>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82" dirty="0">
                  <a:latin typeface="Calibri" panose="020F0502020204030204" pitchFamily="34" charset="0"/>
                </a:endParaRPr>
              </a:p>
            </p:txBody>
          </p:sp>
        </p:grpSp>
      </p:grpSp>
      <p:sp>
        <p:nvSpPr>
          <p:cNvPr id="12" name="Oval 11">
            <a:hlinkClick r:id="" action="ppaction://noaction"/>
            <a:extLst>
              <a:ext uri="{FF2B5EF4-FFF2-40B4-BE49-F238E27FC236}">
                <a16:creationId xmlns:a16="http://schemas.microsoft.com/office/drawing/2014/main" id="{7CB1D6A2-E1B4-44E0-BF40-A6F4EC77BB05}"/>
              </a:ext>
            </a:extLst>
          </p:cNvPr>
          <p:cNvSpPr/>
          <p:nvPr userDrawn="1"/>
        </p:nvSpPr>
        <p:spPr bwMode="gray">
          <a:xfrm>
            <a:off x="10795524" y="6454864"/>
            <a:ext cx="427074" cy="427074"/>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13" name="TextBox 12">
            <a:extLst>
              <a:ext uri="{FF2B5EF4-FFF2-40B4-BE49-F238E27FC236}">
                <a16:creationId xmlns:a16="http://schemas.microsoft.com/office/drawing/2014/main" id="{C1C83C94-3725-4252-8B8E-0E63D55631D1}"/>
              </a:ext>
            </a:extLst>
          </p:cNvPr>
          <p:cNvSpPr txBox="1"/>
          <p:nvPr userDrawn="1"/>
        </p:nvSpPr>
        <p:spPr bwMode="gray">
          <a:xfrm>
            <a:off x="11621841" y="6525041"/>
            <a:ext cx="255537" cy="200440"/>
          </a:xfrm>
          <a:prstGeom prst="rect">
            <a:avLst/>
          </a:prstGeom>
        </p:spPr>
        <p:txBody>
          <a:bodyPr wrap="square" lIns="0" rIns="0" rtlCol="0" anchor="b" anchorCtr="0">
            <a:noAutofit/>
          </a:bodyPr>
          <a:lstStyle/>
          <a:p>
            <a:pPr algn="ctr">
              <a:lnSpc>
                <a:spcPts val="891"/>
              </a:lnSpc>
            </a:pPr>
            <a:fld id="{7CA6D80E-4757-49F8-A753-97B21278F7E3}" type="slidenum">
              <a:rPr lang="en-US" sz="691" b="1" smtClean="0">
                <a:solidFill>
                  <a:schemeClr val="bg1"/>
                </a:solidFill>
                <a:latin typeface="Calibri" panose="020F0502020204030204" pitchFamily="34" charset="0"/>
              </a:rPr>
              <a:pPr algn="ctr">
                <a:lnSpc>
                  <a:spcPts val="891"/>
                </a:lnSpc>
              </a:pPr>
              <a:t>‹#›</a:t>
            </a:fld>
            <a:endParaRPr lang="en-US" sz="691" b="1" dirty="0">
              <a:solidFill>
                <a:schemeClr val="bg1"/>
              </a:solidFill>
              <a:latin typeface="Calibri" panose="020F0502020204030204" pitchFamily="34" charset="0"/>
            </a:endParaRPr>
          </a:p>
        </p:txBody>
      </p:sp>
      <p:sp>
        <p:nvSpPr>
          <p:cNvPr id="102" name="Rectangle 101">
            <a:extLst>
              <a:ext uri="{FF2B5EF4-FFF2-40B4-BE49-F238E27FC236}">
                <a16:creationId xmlns:a16="http://schemas.microsoft.com/office/drawing/2014/main" id="{2035DA86-FE41-42B0-918A-7D15D32FCE21}"/>
              </a:ext>
            </a:extLst>
          </p:cNvPr>
          <p:cNvSpPr/>
          <p:nvPr userDrawn="1"/>
        </p:nvSpPr>
        <p:spPr bwMode="gray">
          <a:xfrm>
            <a:off x="11307787" y="1955994"/>
            <a:ext cx="884213" cy="978408"/>
          </a:xfrm>
          <a:prstGeom prst="rect">
            <a:avLst/>
          </a:prstGeom>
          <a:solidFill>
            <a:srgbClr val="00A3E0"/>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sp>
        <p:nvSpPr>
          <p:cNvPr id="103" name="Rectangle 102">
            <a:extLst>
              <a:ext uri="{FF2B5EF4-FFF2-40B4-BE49-F238E27FC236}">
                <a16:creationId xmlns:a16="http://schemas.microsoft.com/office/drawing/2014/main" id="{B581F638-53E3-4627-A1A2-845D5F6A7B90}"/>
              </a:ext>
            </a:extLst>
          </p:cNvPr>
          <p:cNvSpPr/>
          <p:nvPr userDrawn="1"/>
        </p:nvSpPr>
        <p:spPr>
          <a:xfrm>
            <a:off x="11349439" y="2486274"/>
            <a:ext cx="800927" cy="369332"/>
          </a:xfrm>
          <a:prstGeom prst="rect">
            <a:avLst/>
          </a:prstGeom>
        </p:spPr>
        <p:txBody>
          <a:bodyPr wrap="square" tIns="0" bIns="0" anchor="ctr" anchorCtr="0">
            <a:noAutofit/>
          </a:bodyPr>
          <a:lstStyle/>
          <a:p>
            <a:pPr algn="ctr"/>
            <a:r>
              <a:rPr lang="en-US" sz="891" b="0" i="0" spc="-25" dirty="0">
                <a:solidFill>
                  <a:schemeClr val="bg1"/>
                </a:solidFill>
                <a:latin typeface="Calibri" panose="020F0502020204030204" pitchFamily="34" charset="0"/>
                <a:cs typeface="Open Sans Light"/>
              </a:rPr>
              <a:t>Our Capabilities</a:t>
            </a:r>
            <a:endParaRPr lang="en-US" sz="891" b="0" dirty="0">
              <a:solidFill>
                <a:schemeClr val="bg1"/>
              </a:solidFill>
              <a:latin typeface="Calibri" panose="020F0502020204030204" pitchFamily="34" charset="0"/>
            </a:endParaRPr>
          </a:p>
        </p:txBody>
      </p:sp>
      <p:grpSp>
        <p:nvGrpSpPr>
          <p:cNvPr id="104" name="Group 103">
            <a:extLst>
              <a:ext uri="{FF2B5EF4-FFF2-40B4-BE49-F238E27FC236}">
                <a16:creationId xmlns:a16="http://schemas.microsoft.com/office/drawing/2014/main" id="{B3F14A80-E7E9-48D0-8FA1-494046C5B8AC}"/>
              </a:ext>
            </a:extLst>
          </p:cNvPr>
          <p:cNvGrpSpPr/>
          <p:nvPr userDrawn="1"/>
        </p:nvGrpSpPr>
        <p:grpSpPr>
          <a:xfrm>
            <a:off x="11565911" y="2066214"/>
            <a:ext cx="367982" cy="367982"/>
            <a:chOff x="7104733" y="1340898"/>
            <a:chExt cx="367982" cy="367982"/>
          </a:xfrm>
          <a:solidFill>
            <a:schemeClr val="bg1"/>
          </a:solidFill>
        </p:grpSpPr>
        <p:grpSp>
          <p:nvGrpSpPr>
            <p:cNvPr id="107" name="Group 106">
              <a:extLst>
                <a:ext uri="{FF2B5EF4-FFF2-40B4-BE49-F238E27FC236}">
                  <a16:creationId xmlns:a16="http://schemas.microsoft.com/office/drawing/2014/main" id="{14F2021D-A27F-4402-9BF8-F2BBA3C6919E}"/>
                </a:ext>
              </a:extLst>
            </p:cNvPr>
            <p:cNvGrpSpPr/>
            <p:nvPr/>
          </p:nvGrpSpPr>
          <p:grpSpPr>
            <a:xfrm>
              <a:off x="7169563" y="1396188"/>
              <a:ext cx="224761" cy="257402"/>
              <a:chOff x="9812338" y="2919413"/>
              <a:chExt cx="382588" cy="438150"/>
            </a:xfrm>
            <a:grpFill/>
          </p:grpSpPr>
          <p:sp>
            <p:nvSpPr>
              <p:cNvPr id="113" name="Freeform 503">
                <a:extLst>
                  <a:ext uri="{FF2B5EF4-FFF2-40B4-BE49-F238E27FC236}">
                    <a16:creationId xmlns:a16="http://schemas.microsoft.com/office/drawing/2014/main" id="{CA751255-E8B2-46C9-B642-4676463DF6A0}"/>
                  </a:ext>
                </a:extLst>
              </p:cNvPr>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14" name="Freeform 504">
                <a:extLst>
                  <a:ext uri="{FF2B5EF4-FFF2-40B4-BE49-F238E27FC236}">
                    <a16:creationId xmlns:a16="http://schemas.microsoft.com/office/drawing/2014/main" id="{4E5D794D-A0E6-4568-9E2A-3B0C8FB9F7EA}"/>
                  </a:ext>
                </a:extLst>
              </p:cNvPr>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Freeform 505">
                <a:extLst>
                  <a:ext uri="{FF2B5EF4-FFF2-40B4-BE49-F238E27FC236}">
                    <a16:creationId xmlns:a16="http://schemas.microsoft.com/office/drawing/2014/main" id="{CF5E8C89-A30F-4CBB-9668-7D9925BD736D}"/>
                  </a:ext>
                </a:extLst>
              </p:cNvPr>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US" sz="1982"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12" name="Freeform 547">
              <a:extLst>
                <a:ext uri="{FF2B5EF4-FFF2-40B4-BE49-F238E27FC236}">
                  <a16:creationId xmlns:a16="http://schemas.microsoft.com/office/drawing/2014/main" id="{9712089B-6B24-45E6-B7D2-F920E5E431D8}"/>
                </a:ext>
              </a:extLst>
            </p:cNvPr>
            <p:cNvSpPr>
              <a:spLocks noEditPoints="1"/>
            </p:cNvSpPr>
            <p:nvPr/>
          </p:nvSpPr>
          <p:spPr bwMode="auto">
            <a:xfrm>
              <a:off x="7104733" y="134089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06203" rtl="0" eaLnBrk="1" fontAlgn="auto" latinLnBrk="0" hangingPunct="1">
                <a:lnSpc>
                  <a:spcPct val="100000"/>
                </a:lnSpc>
                <a:spcBef>
                  <a:spcPts val="0"/>
                </a:spcBef>
                <a:spcAft>
                  <a:spcPts val="0"/>
                </a:spcAft>
                <a:buClrTx/>
                <a:buSzTx/>
                <a:buFontTx/>
                <a:buNone/>
                <a:tabLst/>
                <a:defRPr/>
              </a:pPr>
              <a:endParaRPr kumimoji="0" lang="en-GB" sz="891" b="0" i="0" u="none" strike="noStrike" kern="0" cap="none" spc="0" normalizeH="0" baseline="0" noProof="0" dirty="0">
                <a:ln>
                  <a:noFill/>
                </a:ln>
                <a:solidFill>
                  <a:prstClr val="black"/>
                </a:solidFill>
                <a:effectLst/>
                <a:uLnTx/>
                <a:uFillTx/>
                <a:latin typeface="Calibri"/>
                <a:ea typeface="+mn-ea"/>
                <a:cs typeface="+mn-cs"/>
              </a:endParaRPr>
            </a:p>
          </p:txBody>
        </p:sp>
      </p:grpSp>
      <p:sp>
        <p:nvSpPr>
          <p:cNvPr id="83" name="TextBox 82"/>
          <p:cNvSpPr txBox="1"/>
          <p:nvPr userDrawn="1"/>
        </p:nvSpPr>
        <p:spPr>
          <a:xfrm>
            <a:off x="622309" y="6629418"/>
            <a:ext cx="5355167" cy="100027"/>
          </a:xfrm>
          <a:prstGeom prst="rect">
            <a:avLst/>
          </a:prstGeom>
          <a:noFill/>
        </p:spPr>
        <p:txBody>
          <a:bodyPr wrap="square" lIns="0" tIns="0" rIns="0" bIns="0" rtlCol="0">
            <a:spAutoFit/>
          </a:bodyPr>
          <a:lstStyle/>
          <a:p>
            <a:pPr marL="0" indent="0">
              <a:spcBef>
                <a:spcPts val="791"/>
              </a:spcBef>
              <a:buSzPct val="100000"/>
              <a:buFont typeface="Arial"/>
              <a:buNone/>
            </a:pPr>
            <a:r>
              <a:rPr lang="en-US" sz="641" noProof="0" dirty="0">
                <a:solidFill>
                  <a:schemeClr val="tx1"/>
                </a:solidFill>
                <a:latin typeface="Calibri" panose="020F0502020204030204" pitchFamily="34" charset="0"/>
              </a:rPr>
              <a:t>© 2023 Deloitte &amp; Touche Advisory Saudi Limited. All rights reserved.</a:t>
            </a:r>
          </a:p>
        </p:txBody>
      </p:sp>
    </p:spTree>
    <p:extLst>
      <p:ext uri="{BB962C8B-B14F-4D97-AF65-F5344CB8AC3E}">
        <p14:creationId xmlns:p14="http://schemas.microsoft.com/office/powerpoint/2010/main" val="253618883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8" r:id="rId5"/>
    <p:sldLayoutId id="2147483679" r:id="rId6"/>
    <p:sldLayoutId id="2147483683" r:id="rId7"/>
    <p:sldLayoutId id="2147483688"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Lst>
  <p:transition>
    <p:fade/>
  </p:transition>
  <p:hf hdr="0" dt="0"/>
  <p:txStyles>
    <p:titleStyle>
      <a:lvl1pPr algn="l" defTabSz="1208241" rtl="0" eaLnBrk="1" latinLnBrk="0" hangingPunct="1">
        <a:spcBef>
          <a:spcPct val="0"/>
        </a:spcBef>
        <a:buNone/>
        <a:defRPr sz="1982" kern="1200">
          <a:solidFill>
            <a:schemeClr val="tx1"/>
          </a:solidFill>
          <a:latin typeface="Calibri" panose="020F0502020204030204" pitchFamily="34" charset="0"/>
          <a:ea typeface="+mj-ea"/>
          <a:cs typeface="+mj-cs"/>
        </a:defRPr>
      </a:lvl1pPr>
    </p:titleStyle>
    <p:bodyStyle>
      <a:lvl1pPr marL="0" indent="0" algn="l" defTabSz="1208241" rtl="0" eaLnBrk="1" latinLnBrk="0" hangingPunct="1">
        <a:spcBef>
          <a:spcPts val="0"/>
        </a:spcBef>
        <a:spcAft>
          <a:spcPts val="1324"/>
        </a:spcAft>
        <a:buSzPct val="100000"/>
        <a:buFontTx/>
        <a:buNone/>
        <a:defRPr sz="1191" b="0" kern="1200">
          <a:solidFill>
            <a:schemeClr val="tx1"/>
          </a:solidFill>
          <a:latin typeface="Calibri" panose="020F0502020204030204" pitchFamily="34" charset="0"/>
          <a:ea typeface="+mn-ea"/>
          <a:cs typeface="+mn-cs"/>
        </a:defRPr>
      </a:lvl1pPr>
      <a:lvl2pPr marL="125862" indent="-125862" algn="l" defTabSz="1208241" rtl="0" eaLnBrk="1" latinLnBrk="0" hangingPunct="1">
        <a:spcBef>
          <a:spcPts val="0"/>
        </a:spcBef>
        <a:spcAft>
          <a:spcPts val="1324"/>
        </a:spcAft>
        <a:buClrTx/>
        <a:buSzPct val="100000"/>
        <a:buFont typeface="Arial" panose="020B0604020202020204" pitchFamily="34" charset="0"/>
        <a:buChar char="•"/>
        <a:defRPr lang="en-US" sz="1191" b="0" kern="1200" dirty="0" smtClean="0">
          <a:solidFill>
            <a:schemeClr val="tx1"/>
          </a:solidFill>
          <a:latin typeface="Calibri" panose="020F0502020204030204" pitchFamily="34" charset="0"/>
          <a:ea typeface="+mn-ea"/>
          <a:cs typeface="+mn-cs"/>
        </a:defRPr>
      </a:lvl2pPr>
      <a:lvl3pPr marL="276896" indent="-125862" algn="l" defTabSz="1208241" rtl="0" eaLnBrk="1" latinLnBrk="0" hangingPunct="1">
        <a:spcBef>
          <a:spcPts val="0"/>
        </a:spcBef>
        <a:spcAft>
          <a:spcPts val="1324"/>
        </a:spcAft>
        <a:buClrTx/>
        <a:buSzPct val="100000"/>
        <a:buFont typeface="Arial" panose="020B0604020202020204" pitchFamily="34" charset="0"/>
        <a:buChar char="−"/>
        <a:defRPr lang="en-US" sz="1191" kern="1200" dirty="0" smtClean="0">
          <a:solidFill>
            <a:schemeClr val="tx1"/>
          </a:solidFill>
          <a:latin typeface="Calibri" panose="020F0502020204030204" pitchFamily="34" charset="0"/>
          <a:ea typeface="+mn-ea"/>
          <a:cs typeface="+mn-cs"/>
        </a:defRPr>
      </a:lvl3pPr>
      <a:lvl4pPr marL="427929" indent="-125862" algn="l" defTabSz="1208241" rtl="0" eaLnBrk="1" latinLnBrk="0" hangingPunct="1">
        <a:spcBef>
          <a:spcPts val="0"/>
        </a:spcBef>
        <a:spcAft>
          <a:spcPts val="1324"/>
        </a:spcAft>
        <a:buClrTx/>
        <a:buSzPct val="100000"/>
        <a:buFont typeface="Arial" panose="020B0604020202020204" pitchFamily="34" charset="0"/>
        <a:buChar char="◦"/>
        <a:defRPr lang="en-US" sz="1191" kern="1200" baseline="0" dirty="0" smtClean="0">
          <a:solidFill>
            <a:schemeClr val="tx1"/>
          </a:solidFill>
          <a:latin typeface="Calibri" panose="020F0502020204030204" pitchFamily="34" charset="0"/>
          <a:ea typeface="+mn-ea"/>
          <a:cs typeface="+mn-cs"/>
        </a:defRPr>
      </a:lvl4pPr>
      <a:lvl5pPr marL="578963" indent="-125862" algn="l" defTabSz="1055114" rtl="0" eaLnBrk="1" latinLnBrk="0" hangingPunct="1">
        <a:spcBef>
          <a:spcPts val="0"/>
        </a:spcBef>
        <a:spcAft>
          <a:spcPts val="1324"/>
        </a:spcAft>
        <a:buClrTx/>
        <a:buSzPct val="100000"/>
        <a:buFont typeface="Arial" panose="020B0604020202020204" pitchFamily="34" charset="0"/>
        <a:buChar char="−"/>
        <a:tabLst/>
        <a:defRPr lang="en-US" sz="1191" kern="1200" baseline="0" dirty="0" smtClean="0">
          <a:solidFill>
            <a:schemeClr val="tx1"/>
          </a:solidFill>
          <a:latin typeface="Calibri" panose="020F0502020204030204" pitchFamily="34" charset="0"/>
          <a:ea typeface="+mn-ea"/>
          <a:cs typeface="+mn-cs"/>
        </a:defRPr>
      </a:lvl5pPr>
      <a:lvl6pPr marL="704014" indent="-233086" algn="l" defTabSz="1208241" rtl="0" eaLnBrk="1" latinLnBrk="0" hangingPunct="1">
        <a:spcBef>
          <a:spcPts val="0"/>
        </a:spcBef>
        <a:spcAft>
          <a:spcPts val="1324"/>
        </a:spcAft>
        <a:buFont typeface="Verdana" panose="020B0604030504040204" pitchFamily="34" charset="0"/>
        <a:buChar char="−"/>
        <a:defRPr sz="1582" kern="1200" baseline="0">
          <a:solidFill>
            <a:schemeClr val="tx1"/>
          </a:solidFill>
          <a:latin typeface="+mn-lt"/>
          <a:ea typeface="+mn-ea"/>
          <a:cs typeface="+mn-cs"/>
        </a:defRPr>
      </a:lvl6pPr>
      <a:lvl7pPr marL="704014" indent="-233086" algn="l" defTabSz="1208241" rtl="0" eaLnBrk="1" latinLnBrk="0" hangingPunct="1">
        <a:spcBef>
          <a:spcPts val="0"/>
        </a:spcBef>
        <a:spcAft>
          <a:spcPts val="1324"/>
        </a:spcAft>
        <a:buFont typeface="Verdana" panose="020B0604030504040204" pitchFamily="34" charset="0"/>
        <a:buChar char="−"/>
        <a:defRPr sz="1582" kern="1200">
          <a:solidFill>
            <a:schemeClr val="tx1"/>
          </a:solidFill>
          <a:latin typeface="+mn-lt"/>
          <a:ea typeface="+mn-ea"/>
          <a:cs typeface="+mn-cs"/>
        </a:defRPr>
      </a:lvl7pPr>
      <a:lvl8pPr marL="704014" indent="-233086" algn="l" defTabSz="1208241" rtl="0" eaLnBrk="1" latinLnBrk="0" hangingPunct="1">
        <a:spcBef>
          <a:spcPts val="0"/>
        </a:spcBef>
        <a:spcAft>
          <a:spcPts val="1324"/>
        </a:spcAft>
        <a:buFont typeface="Verdana" panose="020B0604030504040204" pitchFamily="34" charset="0"/>
        <a:buChar char="−"/>
        <a:defRPr sz="1582" kern="1200" baseline="0">
          <a:solidFill>
            <a:schemeClr val="tx1"/>
          </a:solidFill>
          <a:latin typeface="+mn-lt"/>
          <a:ea typeface="+mn-ea"/>
          <a:cs typeface="+mn-cs"/>
        </a:defRPr>
      </a:lvl8pPr>
      <a:lvl9pPr marL="704014" indent="-233086" algn="l" defTabSz="1208241" rtl="0" eaLnBrk="1" latinLnBrk="0" hangingPunct="1">
        <a:spcBef>
          <a:spcPts val="0"/>
        </a:spcBef>
        <a:spcAft>
          <a:spcPts val="1324"/>
        </a:spcAft>
        <a:buFont typeface="Verdana" panose="020B0604030504040204" pitchFamily="34" charset="0"/>
        <a:buChar char="−"/>
        <a:defRPr sz="1582" kern="1200" baseline="0">
          <a:solidFill>
            <a:schemeClr val="tx1"/>
          </a:solidFill>
          <a:latin typeface="+mn-lt"/>
          <a:ea typeface="+mn-ea"/>
          <a:cs typeface="+mn-cs"/>
        </a:defRPr>
      </a:lvl9pPr>
    </p:bodyStyle>
    <p:otherStyle>
      <a:defPPr>
        <a:defRPr lang="en-US"/>
      </a:defPPr>
      <a:lvl1pPr marL="0" algn="l" defTabSz="1208241" rtl="0" eaLnBrk="1" latinLnBrk="0" hangingPunct="1">
        <a:defRPr sz="2382" kern="1200">
          <a:solidFill>
            <a:schemeClr val="tx1"/>
          </a:solidFill>
          <a:latin typeface="+mn-lt"/>
          <a:ea typeface="+mn-ea"/>
          <a:cs typeface="+mn-cs"/>
        </a:defRPr>
      </a:lvl1pPr>
      <a:lvl2pPr marL="604120" algn="l" defTabSz="1208241" rtl="0" eaLnBrk="1" latinLnBrk="0" hangingPunct="1">
        <a:defRPr sz="2382" kern="1200">
          <a:solidFill>
            <a:schemeClr val="tx1"/>
          </a:solidFill>
          <a:latin typeface="+mn-lt"/>
          <a:ea typeface="+mn-ea"/>
          <a:cs typeface="+mn-cs"/>
        </a:defRPr>
      </a:lvl2pPr>
      <a:lvl3pPr marL="1208241" algn="l" defTabSz="1208241" rtl="0" eaLnBrk="1" latinLnBrk="0" hangingPunct="1">
        <a:defRPr sz="2382" kern="1200">
          <a:solidFill>
            <a:schemeClr val="tx1"/>
          </a:solidFill>
          <a:latin typeface="+mn-lt"/>
          <a:ea typeface="+mn-ea"/>
          <a:cs typeface="+mn-cs"/>
        </a:defRPr>
      </a:lvl3pPr>
      <a:lvl4pPr marL="1812361" algn="l" defTabSz="1208241" rtl="0" eaLnBrk="1" latinLnBrk="0" hangingPunct="1">
        <a:defRPr sz="2382" kern="1200">
          <a:solidFill>
            <a:schemeClr val="tx1"/>
          </a:solidFill>
          <a:latin typeface="+mn-lt"/>
          <a:ea typeface="+mn-ea"/>
          <a:cs typeface="+mn-cs"/>
        </a:defRPr>
      </a:lvl4pPr>
      <a:lvl5pPr marL="2416482" algn="l" defTabSz="1208241" rtl="0" eaLnBrk="1" latinLnBrk="0" hangingPunct="1">
        <a:defRPr sz="2382" kern="1200">
          <a:solidFill>
            <a:schemeClr val="tx1"/>
          </a:solidFill>
          <a:latin typeface="+mn-lt"/>
          <a:ea typeface="+mn-ea"/>
          <a:cs typeface="+mn-cs"/>
        </a:defRPr>
      </a:lvl5pPr>
      <a:lvl6pPr marL="3020600" algn="l" defTabSz="1208241" rtl="0" eaLnBrk="1" latinLnBrk="0" hangingPunct="1">
        <a:defRPr sz="2382" kern="1200">
          <a:solidFill>
            <a:schemeClr val="tx1"/>
          </a:solidFill>
          <a:latin typeface="+mn-lt"/>
          <a:ea typeface="+mn-ea"/>
          <a:cs typeface="+mn-cs"/>
        </a:defRPr>
      </a:lvl6pPr>
      <a:lvl7pPr marL="3624722" algn="l" defTabSz="1208241" rtl="0" eaLnBrk="1" latinLnBrk="0" hangingPunct="1">
        <a:defRPr sz="2382" kern="1200">
          <a:solidFill>
            <a:schemeClr val="tx1"/>
          </a:solidFill>
          <a:latin typeface="+mn-lt"/>
          <a:ea typeface="+mn-ea"/>
          <a:cs typeface="+mn-cs"/>
        </a:defRPr>
      </a:lvl7pPr>
      <a:lvl8pPr marL="4228842" algn="l" defTabSz="1208241" rtl="0" eaLnBrk="1" latinLnBrk="0" hangingPunct="1">
        <a:defRPr sz="2382" kern="1200">
          <a:solidFill>
            <a:schemeClr val="tx1"/>
          </a:solidFill>
          <a:latin typeface="+mn-lt"/>
          <a:ea typeface="+mn-ea"/>
          <a:cs typeface="+mn-cs"/>
        </a:defRPr>
      </a:lvl8pPr>
      <a:lvl9pPr marL="4832963" algn="l" defTabSz="1208241" rtl="0" eaLnBrk="1" latinLnBrk="0" hangingPunct="1">
        <a:defRPr sz="238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jpg"/><Relationship Id="rId12" Type="http://schemas.openxmlformats.org/officeDocument/2006/relationships/image" Target="../media/image28.png"/><Relationship Id="rId2" Type="http://schemas.openxmlformats.org/officeDocument/2006/relationships/image" Target="../media/image19.png"/><Relationship Id="rId1" Type="http://schemas.openxmlformats.org/officeDocument/2006/relationships/slideLayout" Target="../slideLayouts/slideLayout13.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image" Target="../media/image22.jpeg"/><Relationship Id="rId10" Type="http://schemas.openxmlformats.org/officeDocument/2006/relationships/image" Target="../media/image26.png"/><Relationship Id="rId4" Type="http://schemas.openxmlformats.org/officeDocument/2006/relationships/image" Target="../media/image21.jpg"/><Relationship Id="rId9" Type="http://schemas.microsoft.com/office/2007/relationships/hdphoto" Target="../media/hdphoto5.wdp"/></Relationships>
</file>

<file path=ppt/slides/_rels/slide13.xml.rels><?xml version="1.0" encoding="UTF-8" standalone="yes"?>
<Relationships xmlns="http://schemas.openxmlformats.org/package/2006/relationships"><Relationship Id="rId13" Type="http://schemas.openxmlformats.org/officeDocument/2006/relationships/image" Target="../media/image40.png"/><Relationship Id="rId18" Type="http://schemas.openxmlformats.org/officeDocument/2006/relationships/image" Target="../media/image45.jpeg"/><Relationship Id="rId26" Type="http://schemas.openxmlformats.org/officeDocument/2006/relationships/image" Target="../media/image53.png"/><Relationship Id="rId21" Type="http://schemas.openxmlformats.org/officeDocument/2006/relationships/image" Target="../media/image48.png"/><Relationship Id="rId34" Type="http://schemas.openxmlformats.org/officeDocument/2006/relationships/image" Target="../media/image60.png"/><Relationship Id="rId7" Type="http://schemas.openxmlformats.org/officeDocument/2006/relationships/image" Target="../media/image34.jpeg"/><Relationship Id="rId12" Type="http://schemas.openxmlformats.org/officeDocument/2006/relationships/image" Target="../media/image39.png"/><Relationship Id="rId17" Type="http://schemas.openxmlformats.org/officeDocument/2006/relationships/image" Target="../media/image44.gif"/><Relationship Id="rId25" Type="http://schemas.openxmlformats.org/officeDocument/2006/relationships/image" Target="../media/image52.png"/><Relationship Id="rId33" Type="http://schemas.openxmlformats.org/officeDocument/2006/relationships/image" Target="../media/image59.png"/><Relationship Id="rId38" Type="http://schemas.openxmlformats.org/officeDocument/2006/relationships/image" Target="../media/image63.png"/><Relationship Id="rId2" Type="http://schemas.openxmlformats.org/officeDocument/2006/relationships/image" Target="../media/image29.jpeg"/><Relationship Id="rId16" Type="http://schemas.openxmlformats.org/officeDocument/2006/relationships/image" Target="../media/image43.jpeg"/><Relationship Id="rId20" Type="http://schemas.openxmlformats.org/officeDocument/2006/relationships/image" Target="../media/image47.png"/><Relationship Id="rId29" Type="http://schemas.openxmlformats.org/officeDocument/2006/relationships/image" Target="../media/image55.png"/><Relationship Id="rId1" Type="http://schemas.openxmlformats.org/officeDocument/2006/relationships/slideLayout" Target="../slideLayouts/slideLayout13.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8.png"/><Relationship Id="rId37" Type="http://schemas.openxmlformats.org/officeDocument/2006/relationships/image" Target="../media/image62.png"/><Relationship Id="rId5" Type="http://schemas.openxmlformats.org/officeDocument/2006/relationships/image" Target="../media/image32.png"/><Relationship Id="rId15" Type="http://schemas.openxmlformats.org/officeDocument/2006/relationships/image" Target="../media/image42.jpeg"/><Relationship Id="rId23" Type="http://schemas.openxmlformats.org/officeDocument/2006/relationships/image" Target="../media/image50.png"/><Relationship Id="rId28" Type="http://schemas.openxmlformats.org/officeDocument/2006/relationships/image" Target="../media/image54.png"/><Relationship Id="rId36" Type="http://schemas.microsoft.com/office/2007/relationships/hdphoto" Target="../media/hdphoto6.wdp"/><Relationship Id="rId10" Type="http://schemas.openxmlformats.org/officeDocument/2006/relationships/image" Target="../media/image37.png"/><Relationship Id="rId19" Type="http://schemas.openxmlformats.org/officeDocument/2006/relationships/image" Target="../media/image46.png"/><Relationship Id="rId31" Type="http://schemas.openxmlformats.org/officeDocument/2006/relationships/image" Target="../media/image57.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jpeg"/><Relationship Id="rId27" Type="http://schemas.openxmlformats.org/officeDocument/2006/relationships/oleObject" Target="../embeddings/oleObject2.bin"/><Relationship Id="rId30" Type="http://schemas.openxmlformats.org/officeDocument/2006/relationships/image" Target="../media/image56.jpeg"/><Relationship Id="rId35" Type="http://schemas.openxmlformats.org/officeDocument/2006/relationships/image" Target="../media/image61.png"/><Relationship Id="rId8" Type="http://schemas.openxmlformats.org/officeDocument/2006/relationships/image" Target="../media/image35.jpeg"/><Relationship Id="rId3" Type="http://schemas.openxmlformats.org/officeDocument/2006/relationships/image" Target="../media/image30.jpeg"/></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7.jpeg"/><Relationship Id="rId1" Type="http://schemas.openxmlformats.org/officeDocument/2006/relationships/slideLayout" Target="../slideLayouts/slideLayout13.xml"/><Relationship Id="rId6" Type="http://schemas.openxmlformats.org/officeDocument/2006/relationships/image" Target="../media/image69.png"/><Relationship Id="rId5" Type="http://schemas.openxmlformats.org/officeDocument/2006/relationships/image" Target="../media/image59.png"/><Relationship Id="rId4" Type="http://schemas.openxmlformats.org/officeDocument/2006/relationships/image" Target="../media/image68.jpeg"/></Relationships>
</file>

<file path=ppt/slides/_rels/slide1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3.png"/><Relationship Id="rId1" Type="http://schemas.openxmlformats.org/officeDocument/2006/relationships/slideLayout" Target="../slideLayouts/slideLayout13.xml"/><Relationship Id="rId6" Type="http://schemas.openxmlformats.org/officeDocument/2006/relationships/image" Target="../media/image73.jpg"/><Relationship Id="rId5" Type="http://schemas.openxmlformats.org/officeDocument/2006/relationships/image" Target="../media/image72.png"/><Relationship Id="rId4" Type="http://schemas.openxmlformats.org/officeDocument/2006/relationships/image" Target="../media/image71.png"/></Relationships>
</file>

<file path=ppt/slides/_rels/slide17.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jpeg"/></Relationships>
</file>

<file path=ppt/slides/_rels/slide1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81.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mailto:nafarid@deloitte.com"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hyperlink" Target="mailto:haqahtani@solutions.com.sa" TargetMode="External"/><Relationship Id="rId5" Type="http://schemas.openxmlformats.org/officeDocument/2006/relationships/hyperlink" Target="http://www.deloitte.com/" TargetMode="External"/><Relationship Id="rId4" Type="http://schemas.openxmlformats.org/officeDocument/2006/relationships/hyperlink" Target="mailto:aryousuf@deloitte.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2.xml"/><Relationship Id="rId4" Type="http://schemas.openxmlformats.org/officeDocument/2006/relationships/image" Target="../media/image89.png"/></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91.png"/></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2.xml"/><Relationship Id="rId4" Type="http://schemas.openxmlformats.org/officeDocument/2006/relationships/image" Target="../media/image96.emf"/></Relationships>
</file>

<file path=ppt/slides/_rels/slide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slide" Target="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emf"/><Relationship Id="rId1" Type="http://schemas.openxmlformats.org/officeDocument/2006/relationships/slideLayout" Target="../slideLayouts/slideLayout12.xml"/><Relationship Id="rId5" Type="http://schemas.openxmlformats.org/officeDocument/2006/relationships/image" Target="../media/image104.png"/><Relationship Id="rId4" Type="http://schemas.openxmlformats.org/officeDocument/2006/relationships/image" Target="../media/image103.png"/></Relationships>
</file>

<file path=ppt/slides/_rels/slide3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2.xml"/><Relationship Id="rId4" Type="http://schemas.openxmlformats.org/officeDocument/2006/relationships/image" Target="../media/image107.png"/></Relationships>
</file>

<file path=ppt/slides/_rels/slide3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08.jp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09.jpe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38.xml"/></Relationships>
</file>

<file path=ppt/slides/_rels/slide47.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image" Target="../media/image112.jpg"/><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38.xml"/></Relationships>
</file>

<file path=ppt/slides/_rels/slide51.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2" Type="http://schemas.openxmlformats.org/officeDocument/2006/relationships/image" Target="../media/image117.jpg"/><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5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2.png"/><Relationship Id="rId11" Type="http://schemas.openxmlformats.org/officeDocument/2006/relationships/image" Target="../media/image17.jpe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png"/><Relationship Id="rId9" Type="http://schemas.openxmlformats.org/officeDocument/2006/relationships/image" Target="../media/image15.png"/></Relationships>
</file>

<file path=ppt/slides/_rels/slide6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24.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jpeg"/><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8" Type="http://schemas.openxmlformats.org/officeDocument/2006/relationships/image" Target="../media/image136.gif"/><Relationship Id="rId13" Type="http://schemas.openxmlformats.org/officeDocument/2006/relationships/image" Target="../media/image141.png"/><Relationship Id="rId3" Type="http://schemas.openxmlformats.org/officeDocument/2006/relationships/image" Target="../media/image131.gif"/><Relationship Id="rId7" Type="http://schemas.openxmlformats.org/officeDocument/2006/relationships/image" Target="../media/image135.gif"/><Relationship Id="rId12" Type="http://schemas.openxmlformats.org/officeDocument/2006/relationships/image" Target="../media/image140.png"/><Relationship Id="rId17" Type="http://schemas.openxmlformats.org/officeDocument/2006/relationships/image" Target="../media/image145.png"/><Relationship Id="rId2" Type="http://schemas.openxmlformats.org/officeDocument/2006/relationships/image" Target="../media/image130.gif"/><Relationship Id="rId16" Type="http://schemas.openxmlformats.org/officeDocument/2006/relationships/image" Target="../media/image144.png"/><Relationship Id="rId1" Type="http://schemas.openxmlformats.org/officeDocument/2006/relationships/slideLayout" Target="../slideLayouts/slideLayout9.xml"/><Relationship Id="rId6" Type="http://schemas.openxmlformats.org/officeDocument/2006/relationships/image" Target="../media/image134.gif"/><Relationship Id="rId11" Type="http://schemas.openxmlformats.org/officeDocument/2006/relationships/image" Target="../media/image139.png"/><Relationship Id="rId5" Type="http://schemas.openxmlformats.org/officeDocument/2006/relationships/image" Target="../media/image133.gif"/><Relationship Id="rId15" Type="http://schemas.openxmlformats.org/officeDocument/2006/relationships/image" Target="../media/image143.png"/><Relationship Id="rId10" Type="http://schemas.openxmlformats.org/officeDocument/2006/relationships/image" Target="../media/image138.png"/><Relationship Id="rId4" Type="http://schemas.openxmlformats.org/officeDocument/2006/relationships/image" Target="../media/image132.gif"/><Relationship Id="rId9" Type="http://schemas.openxmlformats.org/officeDocument/2006/relationships/image" Target="../media/image137.gif"/><Relationship Id="rId14" Type="http://schemas.openxmlformats.org/officeDocument/2006/relationships/image" Target="../media/image142.png"/></Relationships>
</file>

<file path=ppt/slides/_rels/slide67.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hyperlink" Target="https://www2.deloitte.com/nse/stories-without-borders.html" TargetMode="External"/><Relationship Id="rId1" Type="http://schemas.openxmlformats.org/officeDocument/2006/relationships/slideLayout" Target="../slideLayouts/slideLayout9.xml"/><Relationship Id="rId5" Type="http://schemas.openxmlformats.org/officeDocument/2006/relationships/image" Target="../media/image149.png"/><Relationship Id="rId4" Type="http://schemas.openxmlformats.org/officeDocument/2006/relationships/image" Target="../media/image148.png"/></Relationships>
</file>

<file path=ppt/slides/_rels/slide6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8" Type="http://schemas.openxmlformats.org/officeDocument/2006/relationships/image" Target="../media/image158.jpeg"/><Relationship Id="rId13" Type="http://schemas.openxmlformats.org/officeDocument/2006/relationships/image" Target="../media/image163.png"/><Relationship Id="rId18" Type="http://schemas.openxmlformats.org/officeDocument/2006/relationships/image" Target="../media/image168.png"/><Relationship Id="rId3" Type="http://schemas.openxmlformats.org/officeDocument/2006/relationships/image" Target="../media/image153.png"/><Relationship Id="rId21" Type="http://schemas.openxmlformats.org/officeDocument/2006/relationships/image" Target="../media/image171.png"/><Relationship Id="rId7" Type="http://schemas.openxmlformats.org/officeDocument/2006/relationships/image" Target="../media/image157.png"/><Relationship Id="rId12" Type="http://schemas.openxmlformats.org/officeDocument/2006/relationships/image" Target="../media/image162.jpeg"/><Relationship Id="rId17" Type="http://schemas.openxmlformats.org/officeDocument/2006/relationships/image" Target="../media/image167.png"/><Relationship Id="rId2" Type="http://schemas.openxmlformats.org/officeDocument/2006/relationships/image" Target="../media/image152.png"/><Relationship Id="rId16" Type="http://schemas.openxmlformats.org/officeDocument/2006/relationships/image" Target="../media/image166.png"/><Relationship Id="rId20" Type="http://schemas.openxmlformats.org/officeDocument/2006/relationships/image" Target="../media/image170.jpeg"/><Relationship Id="rId1" Type="http://schemas.openxmlformats.org/officeDocument/2006/relationships/slideLayout" Target="../slideLayouts/slideLayout9.xml"/><Relationship Id="rId6" Type="http://schemas.openxmlformats.org/officeDocument/2006/relationships/image" Target="../media/image156.jpeg"/><Relationship Id="rId11" Type="http://schemas.openxmlformats.org/officeDocument/2006/relationships/image" Target="../media/image161.jpeg"/><Relationship Id="rId5" Type="http://schemas.openxmlformats.org/officeDocument/2006/relationships/image" Target="../media/image155.png"/><Relationship Id="rId15" Type="http://schemas.openxmlformats.org/officeDocument/2006/relationships/image" Target="../media/image165.gif"/><Relationship Id="rId23" Type="http://schemas.openxmlformats.org/officeDocument/2006/relationships/image" Target="../media/image173.png"/><Relationship Id="rId10" Type="http://schemas.openxmlformats.org/officeDocument/2006/relationships/image" Target="../media/image160.jpeg"/><Relationship Id="rId19" Type="http://schemas.openxmlformats.org/officeDocument/2006/relationships/image" Target="../media/image169.jpeg"/><Relationship Id="rId4" Type="http://schemas.openxmlformats.org/officeDocument/2006/relationships/image" Target="../media/image154.png"/><Relationship Id="rId9" Type="http://schemas.openxmlformats.org/officeDocument/2006/relationships/image" Target="../media/image159.jpeg"/><Relationship Id="rId14" Type="http://schemas.openxmlformats.org/officeDocument/2006/relationships/image" Target="../media/image164.png"/><Relationship Id="rId22" Type="http://schemas.openxmlformats.org/officeDocument/2006/relationships/image" Target="../media/image172.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3" Type="http://schemas.openxmlformats.org/officeDocument/2006/relationships/image" Target="../media/image39.png"/><Relationship Id="rId18" Type="http://schemas.openxmlformats.org/officeDocument/2006/relationships/image" Target="../media/image47.png"/><Relationship Id="rId26" Type="http://schemas.openxmlformats.org/officeDocument/2006/relationships/image" Target="../media/image177.png"/><Relationship Id="rId21" Type="http://schemas.openxmlformats.org/officeDocument/2006/relationships/image" Target="../media/image51.png"/><Relationship Id="rId34" Type="http://schemas.openxmlformats.org/officeDocument/2006/relationships/image" Target="../media/image180.png"/><Relationship Id="rId7" Type="http://schemas.openxmlformats.org/officeDocument/2006/relationships/image" Target="../media/image34.jpeg"/><Relationship Id="rId12" Type="http://schemas.openxmlformats.org/officeDocument/2006/relationships/image" Target="../media/image176.png"/><Relationship Id="rId17" Type="http://schemas.openxmlformats.org/officeDocument/2006/relationships/image" Target="../media/image63.png"/><Relationship Id="rId25" Type="http://schemas.openxmlformats.org/officeDocument/2006/relationships/image" Target="../media/image54.png"/><Relationship Id="rId33" Type="http://schemas.openxmlformats.org/officeDocument/2006/relationships/image" Target="../media/image55.png"/><Relationship Id="rId38" Type="http://schemas.openxmlformats.org/officeDocument/2006/relationships/image" Target="../media/image60.png"/><Relationship Id="rId2" Type="http://schemas.openxmlformats.org/officeDocument/2006/relationships/image" Target="../media/image29.jpeg"/><Relationship Id="rId16" Type="http://schemas.openxmlformats.org/officeDocument/2006/relationships/image" Target="../media/image62.png"/><Relationship Id="rId20" Type="http://schemas.openxmlformats.org/officeDocument/2006/relationships/image" Target="../media/image50.png"/><Relationship Id="rId29" Type="http://schemas.openxmlformats.org/officeDocument/2006/relationships/image" Target="../media/image179.jpeg"/><Relationship Id="rId1" Type="http://schemas.openxmlformats.org/officeDocument/2006/relationships/slideLayout" Target="../slideLayouts/slideLayout13.xml"/><Relationship Id="rId6" Type="http://schemas.openxmlformats.org/officeDocument/2006/relationships/image" Target="../media/image33.png"/><Relationship Id="rId11" Type="http://schemas.openxmlformats.org/officeDocument/2006/relationships/image" Target="../media/image175.png"/><Relationship Id="rId24" Type="http://schemas.openxmlformats.org/officeDocument/2006/relationships/oleObject" Target="../embeddings/oleObject3.bin"/><Relationship Id="rId32" Type="http://schemas.openxmlformats.org/officeDocument/2006/relationships/image" Target="../media/image46.png"/><Relationship Id="rId37" Type="http://schemas.openxmlformats.org/officeDocument/2006/relationships/image" Target="../media/image59.png"/><Relationship Id="rId5" Type="http://schemas.openxmlformats.org/officeDocument/2006/relationships/image" Target="../media/image174.png"/><Relationship Id="rId15" Type="http://schemas.openxmlformats.org/officeDocument/2006/relationships/image" Target="../media/image41.png"/><Relationship Id="rId23" Type="http://schemas.openxmlformats.org/officeDocument/2006/relationships/image" Target="../media/image53.png"/><Relationship Id="rId28" Type="http://schemas.openxmlformats.org/officeDocument/2006/relationships/image" Target="../media/image178.jpeg"/><Relationship Id="rId36" Type="http://schemas.openxmlformats.org/officeDocument/2006/relationships/image" Target="../media/image181.png"/><Relationship Id="rId10" Type="http://schemas.openxmlformats.org/officeDocument/2006/relationships/image" Target="../media/image37.png"/><Relationship Id="rId19" Type="http://schemas.openxmlformats.org/officeDocument/2006/relationships/image" Target="../media/image49.jpeg"/><Relationship Id="rId31" Type="http://schemas.microsoft.com/office/2007/relationships/hdphoto" Target="../media/hdphoto6.wdp"/><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0.png"/><Relationship Id="rId22" Type="http://schemas.openxmlformats.org/officeDocument/2006/relationships/image" Target="../media/image52.png"/><Relationship Id="rId27" Type="http://schemas.openxmlformats.org/officeDocument/2006/relationships/image" Target="../media/image42.jpeg"/><Relationship Id="rId30" Type="http://schemas.openxmlformats.org/officeDocument/2006/relationships/image" Target="../media/image61.png"/><Relationship Id="rId35" Type="http://schemas.openxmlformats.org/officeDocument/2006/relationships/image" Target="../media/image56.jpeg"/><Relationship Id="rId8" Type="http://schemas.openxmlformats.org/officeDocument/2006/relationships/image" Target="../media/image35.jpeg"/><Relationship Id="rId3" Type="http://schemas.openxmlformats.org/officeDocument/2006/relationships/image" Target="../media/image30.jpeg"/></Relationships>
</file>

<file path=ppt/slides/_rels/slide7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12.xml"/><Relationship Id="rId5" Type="http://schemas.openxmlformats.org/officeDocument/2006/relationships/image" Target="../media/image182.png"/><Relationship Id="rId4" Type="http://schemas.openxmlformats.org/officeDocument/2006/relationships/image" Target="../media/image59.png"/></Relationships>
</file>

<file path=ppt/slides/_rels/slide7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183.jpeg"/><Relationship Id="rId1" Type="http://schemas.openxmlformats.org/officeDocument/2006/relationships/slideLayout" Target="../slideLayouts/slideLayout12.xml"/><Relationship Id="rId5" Type="http://schemas.openxmlformats.org/officeDocument/2006/relationships/image" Target="../media/image73.jpg"/><Relationship Id="rId4" Type="http://schemas.openxmlformats.org/officeDocument/2006/relationships/image" Target="../media/image70.jpeg"/></Relationships>
</file>

<file path=ppt/slides/_rels/slide7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12.xml"/><Relationship Id="rId5" Type="http://schemas.openxmlformats.org/officeDocument/2006/relationships/image" Target="../media/image186.png"/><Relationship Id="rId4" Type="http://schemas.openxmlformats.org/officeDocument/2006/relationships/image" Target="../media/image7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8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12.xml"/><Relationship Id="rId5" Type="http://schemas.openxmlformats.org/officeDocument/2006/relationships/image" Target="../media/image190.png"/><Relationship Id="rId4" Type="http://schemas.openxmlformats.org/officeDocument/2006/relationships/image" Target="../media/image189.png"/></Relationships>
</file>

<file path=ppt/slides/_rels/slide8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png"/><Relationship Id="rId1" Type="http://schemas.openxmlformats.org/officeDocument/2006/relationships/slideLayout" Target="../slideLayouts/slideLayout12.xml"/><Relationship Id="rId5" Type="http://schemas.openxmlformats.org/officeDocument/2006/relationships/image" Target="../media/image44.gif"/><Relationship Id="rId4" Type="http://schemas.openxmlformats.org/officeDocument/2006/relationships/image" Target="../media/image193.png"/></Relationships>
</file>

<file path=ppt/slides/_rels/slide82.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12.xml"/><Relationship Id="rId4" Type="http://schemas.openxmlformats.org/officeDocument/2006/relationships/image" Target="../media/image196.jpe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39.xml"/></Relationships>
</file>

<file path=ppt/slides/_rels/slide85.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39.xml"/></Relationships>
</file>

<file path=ppt/slides/_rels/slide86.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39.xml"/></Relationships>
</file>

<file path=ppt/slides/_rels/slide87.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39.xml"/></Relationships>
</file>

<file path=ppt/slides/_rels/slide88.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39.xml"/></Relationships>
</file>

<file path=ppt/slides/_rels/slide89.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90.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39.xml"/></Relationships>
</file>

<file path=ppt/slides/_rels/slide91.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39.xml"/></Relationships>
</file>

<file path=ppt/slides/_rels/slide92.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39.xml"/></Relationships>
</file>

<file path=ppt/slides/_rels/slide93.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39.xml"/></Relationships>
</file>

<file path=ppt/slides/_rels/slide94.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39.xml"/></Relationships>
</file>

<file path=ppt/slides/_rels/slide9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3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6D0E63B3-BAB8-A7A7-9C0D-02487EB52407}"/>
              </a:ext>
            </a:extLst>
          </p:cNvPr>
          <p:cNvSpPr txBox="1">
            <a:spLocks/>
          </p:cNvSpPr>
          <p:nvPr/>
        </p:nvSpPr>
        <p:spPr bwMode="auto">
          <a:xfrm>
            <a:off x="343821" y="5445828"/>
            <a:ext cx="9322715" cy="62170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85000"/>
              </a:lnSpc>
              <a:spcBef>
                <a:spcPct val="0"/>
              </a:spcBef>
              <a:spcAft>
                <a:spcPct val="0"/>
              </a:spcAft>
              <a:defRPr sz="4600" b="0" kern="1200">
                <a:solidFill>
                  <a:schemeClr val="bg1"/>
                </a:solidFill>
                <a:latin typeface="Garamond 3 LT Std" pitchFamily="18" charset="0"/>
                <a:ea typeface="Tahoma" pitchFamily="34" charset="0"/>
                <a:cs typeface="Times New Roman" pitchFamily="18" charset="0"/>
              </a:defRPr>
            </a:lvl1pPr>
            <a:lvl2pPr algn="l" rtl="0" eaLnBrk="0" fontAlgn="base" hangingPunct="0">
              <a:spcBef>
                <a:spcPct val="0"/>
              </a:spcBef>
              <a:spcAft>
                <a:spcPct val="0"/>
              </a:spcAft>
              <a:defRPr sz="2700" b="1">
                <a:solidFill>
                  <a:schemeClr val="tx2"/>
                </a:solidFill>
                <a:latin typeface="Arial" charset="0"/>
              </a:defRPr>
            </a:lvl2pPr>
            <a:lvl3pPr algn="l" rtl="0" eaLnBrk="0" fontAlgn="base" hangingPunct="0">
              <a:spcBef>
                <a:spcPct val="0"/>
              </a:spcBef>
              <a:spcAft>
                <a:spcPct val="0"/>
              </a:spcAft>
              <a:defRPr sz="2700" b="1">
                <a:solidFill>
                  <a:schemeClr val="tx2"/>
                </a:solidFill>
                <a:latin typeface="Arial" charset="0"/>
              </a:defRPr>
            </a:lvl3pPr>
            <a:lvl4pPr algn="l" rtl="0" eaLnBrk="0" fontAlgn="base" hangingPunct="0">
              <a:spcBef>
                <a:spcPct val="0"/>
              </a:spcBef>
              <a:spcAft>
                <a:spcPct val="0"/>
              </a:spcAft>
              <a:defRPr sz="2700" b="1">
                <a:solidFill>
                  <a:schemeClr val="tx2"/>
                </a:solidFill>
                <a:latin typeface="Arial" charset="0"/>
              </a:defRPr>
            </a:lvl4pPr>
            <a:lvl5pPr algn="l" rtl="0" eaLnBrk="0" fontAlgn="base" hangingPunct="0">
              <a:spcBef>
                <a:spcPct val="0"/>
              </a:spcBef>
              <a:spcAft>
                <a:spcPct val="0"/>
              </a:spcAft>
              <a:defRPr sz="2700" b="1">
                <a:solidFill>
                  <a:schemeClr val="tx2"/>
                </a:solidFill>
                <a:latin typeface="Arial" charset="0"/>
              </a:defRPr>
            </a:lvl5pPr>
            <a:lvl6pPr marL="521436" algn="l" rtl="0" eaLnBrk="1" fontAlgn="base" hangingPunct="1">
              <a:spcBef>
                <a:spcPct val="0"/>
              </a:spcBef>
              <a:spcAft>
                <a:spcPct val="0"/>
              </a:spcAft>
              <a:defRPr sz="2700" b="1">
                <a:solidFill>
                  <a:schemeClr val="tx2"/>
                </a:solidFill>
                <a:latin typeface="Arial" charset="0"/>
              </a:defRPr>
            </a:lvl6pPr>
            <a:lvl7pPr marL="1042872" algn="l" rtl="0" eaLnBrk="1" fontAlgn="base" hangingPunct="1">
              <a:spcBef>
                <a:spcPct val="0"/>
              </a:spcBef>
              <a:spcAft>
                <a:spcPct val="0"/>
              </a:spcAft>
              <a:defRPr sz="2700" b="1">
                <a:solidFill>
                  <a:schemeClr val="tx2"/>
                </a:solidFill>
                <a:latin typeface="Arial" charset="0"/>
              </a:defRPr>
            </a:lvl7pPr>
            <a:lvl8pPr marL="1564308" algn="l" rtl="0" eaLnBrk="1" fontAlgn="base" hangingPunct="1">
              <a:spcBef>
                <a:spcPct val="0"/>
              </a:spcBef>
              <a:spcAft>
                <a:spcPct val="0"/>
              </a:spcAft>
              <a:defRPr sz="2700" b="1">
                <a:solidFill>
                  <a:schemeClr val="tx2"/>
                </a:solidFill>
                <a:latin typeface="Arial" charset="0"/>
              </a:defRPr>
            </a:lvl8pPr>
            <a:lvl9pPr marL="2085744" algn="l" rtl="0" eaLnBrk="1" fontAlgn="base" hangingPunct="1">
              <a:spcBef>
                <a:spcPct val="0"/>
              </a:spcBef>
              <a:spcAft>
                <a:spcPct val="0"/>
              </a:spcAft>
              <a:defRPr sz="2700" b="1">
                <a:solidFill>
                  <a:schemeClr val="tx2"/>
                </a:solidFill>
                <a:latin typeface="Arial" charset="0"/>
              </a:defRPr>
            </a:lvl9pPr>
          </a:lstStyle>
          <a:p>
            <a:r>
              <a:rPr lang="en-US" sz="2400" b="1" dirty="0">
                <a:latin typeface="Calibri Light" panose="020F0302020204030204" pitchFamily="34" charset="0"/>
                <a:ea typeface="Open Sans Light" panose="020B0306030504020204" pitchFamily="34" charset="0"/>
                <a:cs typeface="Calibri Light" panose="020F0302020204030204" pitchFamily="34" charset="0"/>
              </a:rPr>
              <a:t>Solutions by stc</a:t>
            </a:r>
          </a:p>
          <a:p>
            <a:pPr marL="0" lvl="1" eaLnBrk="1" hangingPunct="1">
              <a:lnSpc>
                <a:spcPct val="100000"/>
              </a:lnSpc>
              <a:spcBef>
                <a:spcPts val="0"/>
              </a:spcBef>
              <a:spcAft>
                <a:spcPts val="1333"/>
              </a:spcAft>
              <a:buSzPct val="100000"/>
              <a:tabLst>
                <a:tab pos="5712633" algn="l"/>
              </a:tabLst>
              <a:defRPr/>
            </a:pPr>
            <a:r>
              <a:rPr lang="en-US" sz="2000" dirty="0">
                <a:solidFill>
                  <a:schemeClr val="bg1"/>
                </a:solidFill>
                <a:latin typeface="Calibri Light" panose="020F0302020204030204" pitchFamily="34" charset="0"/>
                <a:cs typeface="Calibri Light" panose="020F0302020204030204" pitchFamily="34" charset="0"/>
              </a:rPr>
              <a:t>Business Continuity Management System for stc | Technical Proposal</a:t>
            </a:r>
          </a:p>
        </p:txBody>
      </p:sp>
      <p:sp>
        <p:nvSpPr>
          <p:cNvPr id="15" name="Rectangle 14">
            <a:extLst>
              <a:ext uri="{FF2B5EF4-FFF2-40B4-BE49-F238E27FC236}">
                <a16:creationId xmlns:a16="http://schemas.microsoft.com/office/drawing/2014/main" id="{7446B9AC-B94F-3A8A-B012-3020CAAEF1F5}"/>
              </a:ext>
            </a:extLst>
          </p:cNvPr>
          <p:cNvSpPr/>
          <p:nvPr/>
        </p:nvSpPr>
        <p:spPr>
          <a:xfrm>
            <a:off x="274546" y="6083452"/>
            <a:ext cx="1687706" cy="307777"/>
          </a:xfrm>
          <a:prstGeom prst="rect">
            <a:avLst/>
          </a:prstGeom>
        </p:spPr>
        <p:txBody>
          <a:bodyPr wrap="none">
            <a:spAutoFit/>
          </a:bodyPr>
          <a:lstStyle/>
          <a:p>
            <a:r>
              <a:rPr lang="en-US" sz="1400" dirty="0">
                <a:solidFill>
                  <a:schemeClr val="bg1"/>
                </a:solidFill>
                <a:latin typeface="Calibri Light" panose="020F0302020204030204" pitchFamily="34" charset="0"/>
                <a:ea typeface="Tahoma" pitchFamily="34" charset="0"/>
                <a:cs typeface="Calibri Light" panose="020F0302020204030204" pitchFamily="34" charset="0"/>
              </a:rPr>
              <a:t>31</a:t>
            </a:r>
            <a:r>
              <a:rPr lang="en-US" sz="1400" baseline="30000" dirty="0">
                <a:solidFill>
                  <a:schemeClr val="bg1"/>
                </a:solidFill>
                <a:latin typeface="Calibri Light" panose="020F0302020204030204" pitchFamily="34" charset="0"/>
                <a:ea typeface="Tahoma" pitchFamily="34" charset="0"/>
                <a:cs typeface="Calibri Light" panose="020F0302020204030204" pitchFamily="34" charset="0"/>
              </a:rPr>
              <a:t>st</a:t>
            </a:r>
            <a:r>
              <a:rPr lang="en-US" sz="1400" dirty="0">
                <a:solidFill>
                  <a:schemeClr val="bg1"/>
                </a:solidFill>
                <a:latin typeface="Calibri Light" panose="020F0302020204030204" pitchFamily="34" charset="0"/>
                <a:ea typeface="Tahoma" pitchFamily="34" charset="0"/>
                <a:cs typeface="Calibri Light" panose="020F0302020204030204" pitchFamily="34" charset="0"/>
              </a:rPr>
              <a:t> December 2023</a:t>
            </a:r>
          </a:p>
        </p:txBody>
      </p:sp>
      <p:sp>
        <p:nvSpPr>
          <p:cNvPr id="16" name="Rectangle 15">
            <a:extLst>
              <a:ext uri="{FF2B5EF4-FFF2-40B4-BE49-F238E27FC236}">
                <a16:creationId xmlns:a16="http://schemas.microsoft.com/office/drawing/2014/main" id="{E714DE90-2E57-4528-CF84-CFF56EACE46B}"/>
              </a:ext>
            </a:extLst>
          </p:cNvPr>
          <p:cNvSpPr/>
          <p:nvPr/>
        </p:nvSpPr>
        <p:spPr>
          <a:xfrm>
            <a:off x="262056" y="6355772"/>
            <a:ext cx="2125775" cy="276999"/>
          </a:xfrm>
          <a:prstGeom prst="rect">
            <a:avLst/>
          </a:prstGeom>
        </p:spPr>
        <p:txBody>
          <a:bodyPr wrap="none">
            <a:spAutoFit/>
          </a:bodyPr>
          <a:lstStyle/>
          <a:p>
            <a:r>
              <a:rPr lang="en-US" sz="1200" i="1" dirty="0">
                <a:solidFill>
                  <a:schemeClr val="bg1"/>
                </a:solidFill>
                <a:latin typeface="Calibri Light" panose="020F0302020204030204" pitchFamily="34" charset="0"/>
                <a:ea typeface="Tahoma" pitchFamily="34" charset="0"/>
                <a:cs typeface="Calibri Light" panose="020F0302020204030204" pitchFamily="34" charset="0"/>
              </a:rPr>
              <a:t>Deloitte Reference: JO-7252586</a:t>
            </a:r>
          </a:p>
        </p:txBody>
      </p:sp>
      <p:pic>
        <p:nvPicPr>
          <p:cNvPr id="18" name="Picture 17" descr="Icon&#10;&#10;Description automatically generated">
            <a:extLst>
              <a:ext uri="{FF2B5EF4-FFF2-40B4-BE49-F238E27FC236}">
                <a16:creationId xmlns:a16="http://schemas.microsoft.com/office/drawing/2014/main" id="{640AE6D9-02CF-57B3-B282-4DDEDBF4825E}"/>
              </a:ext>
            </a:extLst>
          </p:cNvPr>
          <p:cNvPicPr>
            <a:picLocks noChangeAspect="1"/>
          </p:cNvPicPr>
          <p:nvPr/>
        </p:nvPicPr>
        <p:blipFill>
          <a:blip r:embed="rId3"/>
          <a:stretch>
            <a:fillRect/>
          </a:stretch>
        </p:blipFill>
        <p:spPr>
          <a:xfrm>
            <a:off x="4090219" y="1177581"/>
            <a:ext cx="4011562" cy="4011562"/>
          </a:xfrm>
          <a:prstGeom prst="rect">
            <a:avLst/>
          </a:prstGeom>
        </p:spPr>
      </p:pic>
      <p:pic>
        <p:nvPicPr>
          <p:cNvPr id="25" name="Picture 24">
            <a:extLst>
              <a:ext uri="{FF2B5EF4-FFF2-40B4-BE49-F238E27FC236}">
                <a16:creationId xmlns:a16="http://schemas.microsoft.com/office/drawing/2014/main" id="{914E8034-D74E-540D-9731-FD4CA7F38305}"/>
              </a:ext>
            </a:extLst>
          </p:cNvPr>
          <p:cNvPicPr>
            <a:picLocks noChangeAspect="1"/>
          </p:cNvPicPr>
          <p:nvPr/>
        </p:nvPicPr>
        <p:blipFill>
          <a:blip r:embed="rId4"/>
          <a:stretch>
            <a:fillRect/>
          </a:stretch>
        </p:blipFill>
        <p:spPr>
          <a:xfrm>
            <a:off x="8866501" y="269198"/>
            <a:ext cx="3017782" cy="908383"/>
          </a:xfrm>
          <a:prstGeom prst="rect">
            <a:avLst/>
          </a:prstGeom>
        </p:spPr>
      </p:pic>
    </p:spTree>
    <p:extLst>
      <p:ext uri="{BB962C8B-B14F-4D97-AF65-F5344CB8AC3E}">
        <p14:creationId xmlns:p14="http://schemas.microsoft.com/office/powerpoint/2010/main" val="898348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2DB8ED5-5A7F-4804-B968-1760CF8A56D1}"/>
              </a:ext>
            </a:extLst>
          </p:cNvPr>
          <p:cNvPicPr>
            <a:picLocks/>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0" y="0"/>
            <a:ext cx="11309717" cy="6858000"/>
          </a:xfrm>
          <a:prstGeom prst="rect">
            <a:avLst/>
          </a:prstGeom>
        </p:spPr>
      </p:pic>
      <p:sp>
        <p:nvSpPr>
          <p:cNvPr id="16" name="Triangle 28">
            <a:extLst>
              <a:ext uri="{FF2B5EF4-FFF2-40B4-BE49-F238E27FC236}">
                <a16:creationId xmlns:a16="http://schemas.microsoft.com/office/drawing/2014/main" id="{D18B8956-7820-4110-BC5B-ABCC837D3C94}"/>
              </a:ext>
            </a:extLst>
          </p:cNvPr>
          <p:cNvSpPr/>
          <p:nvPr/>
        </p:nvSpPr>
        <p:spPr>
          <a:xfrm rot="16200000">
            <a:off x="11060702" y="2333835"/>
            <a:ext cx="267460" cy="230569"/>
          </a:xfrm>
          <a:prstGeom prst="triangl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19" name="Rectangle 18">
            <a:extLst>
              <a:ext uri="{FF2B5EF4-FFF2-40B4-BE49-F238E27FC236}">
                <a16:creationId xmlns:a16="http://schemas.microsoft.com/office/drawing/2014/main" id="{162D6C1C-D367-48B0-B9C8-0BB94D92E822}"/>
              </a:ext>
            </a:extLst>
          </p:cNvPr>
          <p:cNvSpPr/>
          <p:nvPr/>
        </p:nvSpPr>
        <p:spPr bwMode="gray">
          <a:xfrm>
            <a:off x="0" y="0"/>
            <a:ext cx="11309717" cy="6858000"/>
          </a:xfrm>
          <a:prstGeom prst="rect">
            <a:avLst/>
          </a:prstGeom>
          <a:solidFill>
            <a:schemeClr val="tx1">
              <a:alpha val="48000"/>
            </a:scheme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20" name="Title 1">
            <a:extLst>
              <a:ext uri="{FF2B5EF4-FFF2-40B4-BE49-F238E27FC236}">
                <a16:creationId xmlns:a16="http://schemas.microsoft.com/office/drawing/2014/main" id="{9C8A9BDF-BCA4-47CF-989A-606918C72A59}"/>
              </a:ext>
            </a:extLst>
          </p:cNvPr>
          <p:cNvSpPr txBox="1">
            <a:spLocks/>
          </p:cNvSpPr>
          <p:nvPr/>
        </p:nvSpPr>
        <p:spPr bwMode="gray">
          <a:xfrm>
            <a:off x="522376" y="460105"/>
            <a:ext cx="10321069" cy="1577552"/>
          </a:xfrm>
          <a:prstGeom prst="rect">
            <a:avLst/>
          </a:prstGeom>
        </p:spPr>
        <p:txBody>
          <a:bodyPr anchor="b"/>
          <a:lstStyle>
            <a:lvl1pPr algn="l" defTabSz="1219170" rtl="0" eaLnBrk="1" latinLnBrk="0" hangingPunct="1">
              <a:lnSpc>
                <a:spcPct val="95000"/>
              </a:lnSpc>
              <a:spcBef>
                <a:spcPct val="0"/>
              </a:spcBef>
              <a:buNone/>
              <a:defRPr sz="3850" b="1" kern="1200">
                <a:solidFill>
                  <a:schemeClr val="bg1"/>
                </a:solidFill>
                <a:latin typeface="+mj-lt"/>
                <a:ea typeface="Open Sans" panose="020B0606030504020204" pitchFamily="34" charset="0"/>
                <a:cs typeface="Open Sans" panose="020B0606030504020204" pitchFamily="34" charset="0"/>
              </a:defRPr>
            </a:lvl1pPr>
          </a:lstStyle>
          <a:p>
            <a:r>
              <a:rPr lang="en-US" sz="3814" b="0" dirty="0">
                <a:latin typeface="Calibri" panose="020F0502020204030204" pitchFamily="34" charset="0"/>
              </a:rPr>
              <a:t>Our Capabilities</a:t>
            </a:r>
          </a:p>
        </p:txBody>
      </p:sp>
      <p:sp>
        <p:nvSpPr>
          <p:cNvPr id="21" name="Text Placeholder 2">
            <a:extLst>
              <a:ext uri="{FF2B5EF4-FFF2-40B4-BE49-F238E27FC236}">
                <a16:creationId xmlns:a16="http://schemas.microsoft.com/office/drawing/2014/main" id="{0AE5A573-FE11-4DA2-9F84-C84734185157}"/>
              </a:ext>
            </a:extLst>
          </p:cNvPr>
          <p:cNvSpPr txBox="1">
            <a:spLocks/>
          </p:cNvSpPr>
          <p:nvPr/>
        </p:nvSpPr>
        <p:spPr bwMode="gray">
          <a:xfrm>
            <a:off x="610450" y="2167363"/>
            <a:ext cx="10232998" cy="2294187"/>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sz="2382" dirty="0">
                <a:latin typeface="Calibri" panose="020F0502020204030204" pitchFamily="34" charset="0"/>
                <a:cs typeface="Calibri" panose="020F0502020204030204" pitchFamily="34" charset="0"/>
              </a:rPr>
              <a:t>As your provider for Cyber and Technology Risk services, we will bring an outstanding capabilities of Deloitte that are tailored to your needs.</a:t>
            </a:r>
          </a:p>
        </p:txBody>
      </p:sp>
    </p:spTree>
    <p:extLst>
      <p:ext uri="{BB962C8B-B14F-4D97-AF65-F5344CB8AC3E}">
        <p14:creationId xmlns:p14="http://schemas.microsoft.com/office/powerpoint/2010/main" val="3888194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4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5"/>
            <a:ext cx="10342039" cy="5564536"/>
          </a:xfrm>
          <a:prstGeom prst="rect">
            <a:avLst/>
          </a:prstGeom>
          <a:noFill/>
        </p:spPr>
        <p:txBody>
          <a:bodyPr wrap="square">
            <a:spAutoFit/>
          </a:bodyPr>
          <a:lstStyle/>
          <a:p>
            <a:pPr marL="362481" indent="-634342" algn="just" defTabSz="1208241">
              <a:spcBef>
                <a:spcPts val="591"/>
              </a:spcBef>
              <a:defRPr/>
            </a:pPr>
            <a:r>
              <a:rPr lang="en-US" sz="1041" b="1" dirty="0">
                <a:solidFill>
                  <a:srgbClr val="000000"/>
                </a:solidFill>
                <a:latin typeface="Calibri" panose="020F0502020204030204"/>
              </a:rPr>
              <a:t>6	Deloitte Touche Tohmatsu Limited.</a:t>
            </a:r>
          </a:p>
          <a:p>
            <a:pPr marL="362481" indent="-634342" algn="just" defTabSz="1208241">
              <a:spcBef>
                <a:spcPts val="591"/>
              </a:spcBef>
              <a:defRPr/>
            </a:pPr>
            <a:r>
              <a:rPr lang="en-US" sz="1041" dirty="0">
                <a:solidFill>
                  <a:srgbClr val="000000"/>
                </a:solidFill>
                <a:latin typeface="Calibri" panose="020F0502020204030204"/>
              </a:rPr>
              <a:t>6.1	Deloitte Touche Tohmatsu Limited (“DTTL”), is a UK private company limited by guarantee. DTTL and each of the DTTL member firms, their subsidiaries, predecessors, successors, assignees and subcontractors and all partners, associate partners, members, owners, directors, employees and agents of all such entities (hereinafter collectively “D&amp;T Parties”) are separate and independent legal entities, which cannot obligate, bind or act on behalf of each other. Each DTTL member firm renders services in a particular geographic area and jurisdiction and is subject to the laws and professional regulations of the particular country or countries in which it operates. DTTL itself does not render services to clients. DTTL and each DTTL member firm are liable only for their own acts or omissions and not those of each other. This Agreement is solely between the Client and Deloitte.</a:t>
            </a:r>
            <a:r>
              <a:rPr lang="en-US" sz="1041" dirty="0">
                <a:solidFill>
                  <a:srgbClr val="000000"/>
                </a:solidFill>
                <a:highlight>
                  <a:srgbClr val="FFFF00"/>
                </a:highlight>
                <a:latin typeface="Calibri" panose="020F0502020204030204"/>
              </a:rPr>
              <a:t> </a:t>
            </a:r>
          </a:p>
          <a:p>
            <a:pPr marL="362481" indent="-634342" algn="just" defTabSz="1208241">
              <a:spcBef>
                <a:spcPts val="591"/>
              </a:spcBef>
              <a:defRPr/>
            </a:pPr>
            <a:r>
              <a:rPr lang="en-US" sz="1041" dirty="0">
                <a:solidFill>
                  <a:srgbClr val="000000"/>
                </a:solidFill>
                <a:latin typeface="Calibri" panose="020F0502020204030204"/>
              </a:rPr>
              <a:t>6.2	The Client agrees that its relationship with DTTL and the D&amp;T Parties is solely with Deloitte as the cited contracting entity herein, contracting with the Client under this Agreement.  Notwithstanding the fact that certain Services under the Agreement may be carried out by Personnel provided to Deloitte from other D&amp;T Parties through service or other internal agreements, the Client agrees that none of the D&amp;T Parties (except Deloitte as referenced in this Agreement) will have any liability to the Client and that the Client will not bring any claim or proceedings of any nature (whether in contract, breach of statutory duty or otherwise and including, but not limited to, a claim for negligence) in any way in respect of or in connection with this Agreement against any of the D&amp;T Parties (except Deloitte) nor against any subcontractors that Deloitte may use to render the Services. </a:t>
            </a:r>
          </a:p>
          <a:p>
            <a:pPr marL="362481" indent="-634342" algn="just" defTabSz="1208241">
              <a:spcBef>
                <a:spcPts val="591"/>
              </a:spcBef>
              <a:defRPr/>
            </a:pPr>
            <a:endParaRPr lang="en-US" sz="1041" dirty="0">
              <a:solidFill>
                <a:srgbClr val="000000"/>
              </a:solidFill>
              <a:latin typeface="Calibri" panose="020F0502020204030204"/>
            </a:endParaRPr>
          </a:p>
          <a:p>
            <a:pPr marL="362481" indent="-634342" algn="just" defTabSz="1208241">
              <a:spcBef>
                <a:spcPts val="591"/>
              </a:spcBef>
              <a:defRPr/>
            </a:pPr>
            <a:r>
              <a:rPr lang="en-US" sz="1041" b="1" dirty="0">
                <a:solidFill>
                  <a:srgbClr val="000000"/>
                </a:solidFill>
                <a:latin typeface="Calibri" panose="020F0502020204030204"/>
              </a:rPr>
              <a:t>7	Payment of Invoices. </a:t>
            </a:r>
          </a:p>
          <a:p>
            <a:pPr marL="362481" indent="-634342" algn="just" defTabSz="1208241">
              <a:spcBef>
                <a:spcPts val="591"/>
              </a:spcBef>
              <a:defRPr/>
            </a:pPr>
            <a:r>
              <a:rPr lang="en-US" sz="1041" dirty="0">
                <a:solidFill>
                  <a:srgbClr val="000000"/>
                </a:solidFill>
                <a:latin typeface="Calibri" panose="020F0502020204030204"/>
              </a:rPr>
              <a:t>7.1	Invoices:  Deloitte’s invoices are due per the terms and conditions set forth in the Proposal.</a:t>
            </a:r>
          </a:p>
          <a:p>
            <a:pPr marL="362481" indent="-634342" algn="just" defTabSz="1208241">
              <a:spcBef>
                <a:spcPts val="591"/>
              </a:spcBef>
              <a:defRPr/>
            </a:pPr>
            <a:r>
              <a:rPr lang="en-US" sz="1041" dirty="0">
                <a:solidFill>
                  <a:srgbClr val="000000"/>
                </a:solidFill>
                <a:latin typeface="Calibri" panose="020F0502020204030204"/>
              </a:rPr>
              <a:t>	7.1.1	Properly submitted invoices upon which payment is not received within 30 (Thirty) calendar days of the invoice date shall accrue a late charge of the lesser of (i) 1½% 	(One and a half percent) per month or (ii) the highest rate allowable by law, in each case compounded monthly to the extent allowable by law. </a:t>
            </a:r>
          </a:p>
          <a:p>
            <a:pPr marL="362481" indent="-634342" algn="just" defTabSz="1208241">
              <a:spcBef>
                <a:spcPts val="591"/>
              </a:spcBef>
              <a:defRPr/>
            </a:pPr>
            <a:r>
              <a:rPr lang="en-US" sz="1041" dirty="0">
                <a:solidFill>
                  <a:srgbClr val="000000"/>
                </a:solidFill>
                <a:latin typeface="Calibri" panose="020F0502020204030204"/>
              </a:rPr>
              <a:t>	7.1.2	Without limiting its other rights or remedies, Deloitte shall have the right to suspend or terminate the Services entirely or in part if payment is not received within 30 	(Thirty) calendar days of the invoice date. </a:t>
            </a:r>
          </a:p>
          <a:p>
            <a:pPr marL="362481" indent="-634342" algn="just" defTabSz="1208241">
              <a:spcBef>
                <a:spcPts val="591"/>
              </a:spcBef>
              <a:defRPr/>
            </a:pPr>
            <a:r>
              <a:rPr lang="en-US" sz="1041" dirty="0">
                <a:solidFill>
                  <a:srgbClr val="000000"/>
                </a:solidFill>
                <a:latin typeface="Calibri" panose="020F0502020204030204"/>
              </a:rPr>
              <a:t>	7.1.3	All amounts payable excludes Value Added Taxes “VAT” and the Client, at its sole expense, shall be responsible for all taxes, such as VAT, sales and use tax, gross 	receipts tax, withholding tax, and any similar tax, imposed or applicable, at date of this agreement or introduced and made applicable by legislation thereafter, 	whether in retrospect or not, on the Client or on Deloitte in connection with the Services, other than Deloitte’s corporate income and property taxes.  </a:t>
            </a:r>
          </a:p>
          <a:p>
            <a:pPr marL="362481" indent="-634342" algn="just" defTabSz="1208241">
              <a:spcBef>
                <a:spcPts val="591"/>
              </a:spcBef>
              <a:defRPr/>
            </a:pPr>
            <a:r>
              <a:rPr lang="en-US" sz="1041" dirty="0">
                <a:solidFill>
                  <a:srgbClr val="000000"/>
                </a:solidFill>
                <a:latin typeface="Calibri" panose="020F0502020204030204"/>
              </a:rPr>
              <a:t>7.2	“Escalation Date” means the anniversary date of the Effective Date.</a:t>
            </a:r>
          </a:p>
          <a:p>
            <a:pPr marL="362481" indent="-634342" algn="just" defTabSz="1208241">
              <a:spcBef>
                <a:spcPts val="591"/>
              </a:spcBef>
              <a:defRPr/>
            </a:pPr>
            <a:r>
              <a:rPr lang="en-US" sz="1041" dirty="0">
                <a:solidFill>
                  <a:srgbClr val="000000"/>
                </a:solidFill>
                <a:latin typeface="Calibri" panose="020F0502020204030204"/>
              </a:rPr>
              <a:t>7.3	“Annual Percentage Change” means, with reference to the most recent statistics available at the Escalation Date, the headline Consumer Price Index annual inflation rate at the Escalation Date, expressed as a percentage for the month in which the Escalation Date occurs.</a:t>
            </a:r>
          </a:p>
          <a:p>
            <a:pPr marL="362481" indent="-634342" algn="just" defTabSz="1208241">
              <a:spcBef>
                <a:spcPts val="591"/>
              </a:spcBef>
              <a:defRPr/>
            </a:pPr>
            <a:r>
              <a:rPr lang="en-US" sz="1041" dirty="0">
                <a:solidFill>
                  <a:srgbClr val="000000"/>
                </a:solidFill>
                <a:latin typeface="Calibri" panose="020F0502020204030204"/>
              </a:rPr>
              <a:t>7.4	Deloitte may, at its discretion, on each Escalation Date, increase or decrease the rates applicable to this Agreement by the Annual Percentage Change.</a:t>
            </a:r>
          </a:p>
          <a:p>
            <a:pPr marL="362481" indent="-634342" algn="just" defTabSz="1208241">
              <a:spcBef>
                <a:spcPts val="591"/>
              </a:spcBef>
              <a:defRPr/>
            </a:pPr>
            <a:r>
              <a:rPr lang="en-US" sz="1041" dirty="0">
                <a:solidFill>
                  <a:srgbClr val="000000"/>
                </a:solidFill>
                <a:latin typeface="Calibri" panose="020F0502020204030204"/>
              </a:rPr>
              <a:t>7.5	Such rate increases, or decreases are to be communicated by Deloitte to the Client 30 (Thirty) calendar days in advance of them becoming effective, providing all relevant documentary evidence as reasonably required by the Client. </a:t>
            </a:r>
          </a:p>
          <a:p>
            <a:pPr marL="362481" indent="-634342" algn="just" defTabSz="1208241">
              <a:spcBef>
                <a:spcPts val="591"/>
              </a:spcBef>
              <a:defRPr/>
            </a:pPr>
            <a:endParaRPr lang="en-US" sz="104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723E8C6B-98C3-494D-8160-5629D6A1DF97}"/>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E8317494-524D-45C5-90B3-FC36A888ADB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262837996"/>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5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8"/>
            <a:ext cx="10342039" cy="5549288"/>
          </a:xfrm>
          <a:prstGeom prst="rect">
            <a:avLst/>
          </a:prstGeom>
          <a:noFill/>
        </p:spPr>
        <p:txBody>
          <a:bodyPr wrap="square">
            <a:spAutoFit/>
          </a:bodyPr>
          <a:lstStyle/>
          <a:p>
            <a:pPr marL="362481" indent="-634342" algn="just" defTabSz="1208241">
              <a:spcBef>
                <a:spcPts val="591"/>
              </a:spcBef>
              <a:defRPr/>
            </a:pPr>
            <a:r>
              <a:rPr lang="en-US" sz="1041" dirty="0">
                <a:solidFill>
                  <a:srgbClr val="000000"/>
                </a:solidFill>
                <a:latin typeface="Calibri" panose="020F0502020204030204"/>
              </a:rPr>
              <a:t>7.6	Disputed Invoices.  Should a dispute arise relating to any Project Fees or Reimbursable Expenses due to Deloitte:</a:t>
            </a:r>
          </a:p>
          <a:p>
            <a:pPr marL="362481" indent="-634342" algn="just" defTabSz="1208241">
              <a:spcBef>
                <a:spcPts val="591"/>
              </a:spcBef>
              <a:defRPr/>
            </a:pPr>
            <a:r>
              <a:rPr lang="en-US" sz="1041" dirty="0">
                <a:solidFill>
                  <a:srgbClr val="000000"/>
                </a:solidFill>
                <a:latin typeface="Calibri" panose="020F0502020204030204"/>
              </a:rPr>
              <a:t>	7.6.1	The Client must notify Deloitte of the disputed amount(s) in writing, specifying the affected amount(s), and the alleged reasons for such dispute, within 30 (Thirty) 	calendar days of receipt of the invoice containing the disputed amount(s), failing which the Client shall be deemed to have accepted the invoice as correct, due and 	payable;</a:t>
            </a:r>
          </a:p>
          <a:p>
            <a:pPr marL="362481" indent="-634342" algn="just" defTabSz="1208241">
              <a:spcBef>
                <a:spcPts val="591"/>
              </a:spcBef>
              <a:defRPr/>
            </a:pPr>
            <a:r>
              <a:rPr lang="en-US" sz="1041" dirty="0">
                <a:solidFill>
                  <a:srgbClr val="000000"/>
                </a:solidFill>
                <a:latin typeface="Calibri" panose="020F0502020204030204"/>
              </a:rPr>
              <a:t>	7.6.2	Any notification, as contemplated in the clause above, shall detail the amount(s) disputed and the reason(s) therefore;</a:t>
            </a:r>
          </a:p>
          <a:p>
            <a:pPr marL="362481" indent="-634342" algn="just" defTabSz="1208241">
              <a:spcBef>
                <a:spcPts val="591"/>
              </a:spcBef>
              <a:defRPr/>
            </a:pPr>
            <a:r>
              <a:rPr lang="en-US" sz="1041" dirty="0">
                <a:solidFill>
                  <a:srgbClr val="000000"/>
                </a:solidFill>
                <a:latin typeface="Calibri" panose="020F0502020204030204"/>
              </a:rPr>
              <a:t>	7.6.3	The undisputed portion(s) of the invoice shall be payable on the terms defined above;</a:t>
            </a:r>
          </a:p>
          <a:p>
            <a:pPr marL="362481" indent="-634342" algn="just" defTabSz="1208241">
              <a:spcBef>
                <a:spcPts val="591"/>
              </a:spcBef>
              <a:defRPr/>
            </a:pPr>
            <a:r>
              <a:rPr lang="en-US" sz="1041" dirty="0">
                <a:solidFill>
                  <a:srgbClr val="000000"/>
                </a:solidFill>
                <a:latin typeface="Calibri" panose="020F0502020204030204"/>
              </a:rPr>
              <a:t>	7.6.4	The Client shall be entitled to withhold payment of the disputed portion(s) of any amount(s) payable until the dispute is resolved;</a:t>
            </a:r>
          </a:p>
          <a:p>
            <a:pPr marL="362481" indent="-634342" algn="just" defTabSz="1208241">
              <a:spcBef>
                <a:spcPts val="591"/>
              </a:spcBef>
              <a:defRPr/>
            </a:pPr>
            <a:r>
              <a:rPr lang="en-US" sz="1041" dirty="0">
                <a:solidFill>
                  <a:srgbClr val="000000"/>
                </a:solidFill>
                <a:latin typeface="Calibri" panose="020F0502020204030204"/>
              </a:rPr>
              <a:t>	7.6.5	If the Client disputes, and withholds, an amount in excess of 50 % (Fifty percent) of the relevant invoice total, Deloitte shall be entitled to suspend the rendering of 	the Services until the dispute is resolved and any amount payable to Deloitte pursuant to the resolved dispute is paid.</a:t>
            </a:r>
          </a:p>
          <a:p>
            <a:pPr marL="362481" indent="-634342" algn="just" defTabSz="1208241">
              <a:spcBef>
                <a:spcPts val="591"/>
              </a:spcBef>
              <a:defRPr/>
            </a:pPr>
            <a:r>
              <a:rPr lang="en-US" sz="1041" b="1" dirty="0">
                <a:solidFill>
                  <a:srgbClr val="000000"/>
                </a:solidFill>
                <a:latin typeface="Calibri" panose="020F0502020204030204"/>
              </a:rPr>
              <a:t>8	Charges.</a:t>
            </a:r>
          </a:p>
          <a:p>
            <a:pPr marL="362481" indent="-634342" algn="just" defTabSz="1208241">
              <a:spcBef>
                <a:spcPts val="591"/>
              </a:spcBef>
              <a:defRPr/>
            </a:pPr>
            <a:r>
              <a:rPr lang="en-US" sz="1041" dirty="0">
                <a:solidFill>
                  <a:srgbClr val="000000"/>
                </a:solidFill>
                <a:latin typeface="Calibri" panose="020F0502020204030204"/>
              </a:rPr>
              <a:t>8.1	All fees and charges for the services and applicable expenses and taxes (“Charges”) are set out in the Proposal (“Fee and Payment Schedule”).</a:t>
            </a:r>
          </a:p>
          <a:p>
            <a:pPr marL="362481" indent="-634342" algn="just" defTabSz="1208241">
              <a:spcBef>
                <a:spcPts val="591"/>
              </a:spcBef>
              <a:defRPr/>
            </a:pPr>
            <a:r>
              <a:rPr lang="en-US" sz="1041" dirty="0">
                <a:solidFill>
                  <a:srgbClr val="000000"/>
                </a:solidFill>
                <a:latin typeface="Calibri" panose="020F0502020204030204"/>
              </a:rPr>
              <a:t>8.2	Project Fees and Expenses:</a:t>
            </a:r>
          </a:p>
          <a:p>
            <a:pPr marL="362481" indent="-634342" algn="just" defTabSz="1208241">
              <a:spcBef>
                <a:spcPts val="591"/>
              </a:spcBef>
              <a:defRPr/>
            </a:pPr>
            <a:r>
              <a:rPr lang="en-US" sz="1041" dirty="0">
                <a:solidFill>
                  <a:srgbClr val="000000"/>
                </a:solidFill>
                <a:latin typeface="Calibri" panose="020F0502020204030204"/>
              </a:rPr>
              <a:t>	8.2.1	“Project Fees” charged by Deloitte on the Project can include either or both of the following:</a:t>
            </a:r>
          </a:p>
          <a:p>
            <a:pPr marL="362481" indent="-634342" algn="just" defTabSz="1208241">
              <a:spcBef>
                <a:spcPts val="591"/>
              </a:spcBef>
              <a:defRPr/>
            </a:pPr>
            <a:r>
              <a:rPr lang="en-US" sz="1041" dirty="0">
                <a:solidFill>
                  <a:srgbClr val="000000"/>
                </a:solidFill>
                <a:latin typeface="Calibri" panose="020F0502020204030204"/>
              </a:rPr>
              <a:t>		8.2.1.1     “Time and Material Fees”, which are based on the actual time spent by Deloitte Personnel on the Project at the rates which are agreed between the 	Parties, taking  into account the experience and seniority of Personnel, and the complexity of work undertaken unless otherwise agreed; and,</a:t>
            </a:r>
          </a:p>
          <a:p>
            <a:pPr marL="362481" indent="-634342" algn="just" defTabSz="1208241">
              <a:spcBef>
                <a:spcPts val="591"/>
              </a:spcBef>
              <a:defRPr/>
            </a:pPr>
            <a:r>
              <a:rPr lang="en-US" sz="1041" dirty="0">
                <a:solidFill>
                  <a:srgbClr val="000000"/>
                </a:solidFill>
                <a:latin typeface="Calibri" panose="020F0502020204030204"/>
              </a:rPr>
              <a:t>		8.2.1.2       “Fixed Price Fees”, which are based on the amounts agreed to in writing by the Parties, regardless of the actual time spent by Deloitte Personnel. </a:t>
            </a:r>
          </a:p>
          <a:p>
            <a:pPr marL="362481" indent="-634342" algn="just" defTabSz="1208241">
              <a:spcBef>
                <a:spcPts val="591"/>
              </a:spcBef>
              <a:defRPr/>
            </a:pPr>
            <a:r>
              <a:rPr lang="en-US" sz="1041" dirty="0">
                <a:solidFill>
                  <a:srgbClr val="000000"/>
                </a:solidFill>
                <a:latin typeface="Calibri" panose="020F0502020204030204"/>
              </a:rPr>
              <a:t>8.3	Unless agreed otherwise between the Parties in writing for the Project, out of pocket expenses incurred directly on a Project by Deloitte and its Personnel (“Reimbursable Expenses”) will be charged to the Client at actual cost. </a:t>
            </a:r>
          </a:p>
          <a:p>
            <a:pPr marL="362481" indent="-634342" algn="just" defTabSz="1208241">
              <a:spcBef>
                <a:spcPts val="591"/>
              </a:spcBef>
              <a:defRPr/>
            </a:pPr>
            <a:r>
              <a:rPr lang="en-US" sz="1041" dirty="0">
                <a:solidFill>
                  <a:srgbClr val="000000"/>
                </a:solidFill>
                <a:latin typeface="Calibri" panose="020F0502020204030204"/>
              </a:rPr>
              <a:t>8.4	Reimbursable Expenses include all reasonable costs necessary for the successful completion of the Project including but not limited to travelling, subsistence, goods and services purchased on the Client's behalf, communications, stationery, administration charges, report and presentation material, secretarial time and computer charges.</a:t>
            </a:r>
          </a:p>
          <a:p>
            <a:pPr marL="362481" indent="-634342" algn="just" defTabSz="1208241">
              <a:spcBef>
                <a:spcPts val="591"/>
              </a:spcBef>
              <a:defRPr/>
            </a:pPr>
            <a:r>
              <a:rPr lang="en-US" sz="1041" b="1" dirty="0">
                <a:solidFill>
                  <a:srgbClr val="000000"/>
                </a:solidFill>
                <a:latin typeface="Calibri" panose="020F0502020204030204"/>
              </a:rPr>
              <a:t>9	Termination. </a:t>
            </a:r>
          </a:p>
          <a:p>
            <a:pPr marL="362481" indent="-634342" algn="just" defTabSz="1208241">
              <a:spcBef>
                <a:spcPts val="591"/>
              </a:spcBef>
              <a:defRPr/>
            </a:pPr>
            <a:r>
              <a:rPr lang="en-US" sz="1041" dirty="0">
                <a:solidFill>
                  <a:srgbClr val="000000"/>
                </a:solidFill>
                <a:latin typeface="Calibri" panose="020F0502020204030204"/>
              </a:rPr>
              <a:t>9.1	Unless terminated sooner in accordance with its terms, this engagement shall terminate on the completion of the Services. </a:t>
            </a:r>
          </a:p>
          <a:p>
            <a:pPr marL="362481" indent="-634342" algn="just" defTabSz="1208241">
              <a:spcBef>
                <a:spcPts val="591"/>
              </a:spcBef>
              <a:defRPr/>
            </a:pPr>
            <a:r>
              <a:rPr lang="en-US" sz="1041" dirty="0">
                <a:solidFill>
                  <a:srgbClr val="000000"/>
                </a:solidFill>
                <a:latin typeface="Calibri" panose="020F0502020204030204"/>
              </a:rPr>
              <a:t>9.2	This engagement may be terminated by either Party at any time by giving written notice to the other Party not less than 30 (Thirty) calendar days before the effective date of termination.  </a:t>
            </a:r>
          </a:p>
          <a:p>
            <a:pPr marL="362481" indent="-634342" algn="just" defTabSz="1208241">
              <a:spcBef>
                <a:spcPts val="591"/>
              </a:spcBef>
              <a:defRPr/>
            </a:pPr>
            <a:r>
              <a:rPr lang="en-US" sz="1041" dirty="0">
                <a:solidFill>
                  <a:srgbClr val="000000"/>
                </a:solidFill>
                <a:latin typeface="Calibri" panose="020F0502020204030204"/>
              </a:rPr>
              <a:t>9.3	Upon termination of the engagement, the Client will compensate Deloitte for all hours and expenses incurred for Services performed through to the effective date of termination. Deloitte reserves the right to waive any discounts provided to clients due to early termination. </a:t>
            </a:r>
          </a:p>
        </p:txBody>
      </p:sp>
      <p:sp>
        <p:nvSpPr>
          <p:cNvPr id="6" name="Triangle 28">
            <a:extLst>
              <a:ext uri="{FF2B5EF4-FFF2-40B4-BE49-F238E27FC236}">
                <a16:creationId xmlns:a16="http://schemas.microsoft.com/office/drawing/2014/main" id="{428C0442-AF45-4CFE-9FDD-A8ACC345CC26}"/>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FDB605E0-B4B3-4420-B04B-64F0DD6769C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661969426"/>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6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6"/>
            <a:ext cx="10342039" cy="6010462"/>
          </a:xfrm>
          <a:prstGeom prst="rect">
            <a:avLst/>
          </a:prstGeom>
          <a:noFill/>
        </p:spPr>
        <p:txBody>
          <a:bodyPr wrap="square">
            <a:spAutoFit/>
          </a:bodyPr>
          <a:lstStyle/>
          <a:p>
            <a:pPr marL="362481" indent="-634342" algn="just" defTabSz="1208241">
              <a:spcBef>
                <a:spcPts val="591"/>
              </a:spcBef>
              <a:defRPr/>
            </a:pPr>
            <a:r>
              <a:rPr lang="en-US" sz="1041" b="1" dirty="0">
                <a:solidFill>
                  <a:srgbClr val="000000"/>
                </a:solidFill>
                <a:latin typeface="Calibri" panose="020F0502020204030204"/>
              </a:rPr>
              <a:t>10	Intellectual Property.</a:t>
            </a:r>
          </a:p>
          <a:p>
            <a:pPr marL="362481" indent="-634342" algn="just" defTabSz="1208241">
              <a:spcBef>
                <a:spcPts val="591"/>
              </a:spcBef>
              <a:defRPr/>
            </a:pPr>
            <a:r>
              <a:rPr lang="en-US" sz="1041" dirty="0">
                <a:solidFill>
                  <a:srgbClr val="000000"/>
                </a:solidFill>
                <a:latin typeface="Calibri" panose="020F0502020204030204"/>
              </a:rPr>
              <a:t>10.1	Own Technology: Each Party has created, acquired or otherwise obtained rights in, and may, in connection with the Project, employ, provide, modify, create, acquire or otherwise obtain rights in various concepts, ideas, methods, methodologies, procedures, processes, know-how, techniques, models, templates, generalized features of the structure, sequence and organization of software, user interfaces and screen designs; general purpose consulting and software tools, utilities and routines; and logic, coherence and methods of operation systems (collectively known as the “Own Technology” of each Party). </a:t>
            </a:r>
          </a:p>
          <a:p>
            <a:pPr marL="362481" indent="-634342" algn="just" defTabSz="1208241">
              <a:spcBef>
                <a:spcPts val="591"/>
              </a:spcBef>
              <a:defRPr/>
            </a:pPr>
            <a:r>
              <a:rPr lang="en-US" sz="1041" dirty="0">
                <a:solidFill>
                  <a:srgbClr val="000000"/>
                </a:solidFill>
                <a:latin typeface="Calibri" panose="020F0502020204030204"/>
              </a:rPr>
              <a:t>10.2	To the extent that either Party utilizes any of its property (including intellectual property and its Own Technology) in connection with the Project, such property shall remain the property of that Party. Except for cases where a license is expressly granted in writing, the other Party shall acquire no right or interest in such property.  Any improvements or enhancements to a Party’s Own Technology resulting from a Project will remain the property of that Party.</a:t>
            </a:r>
          </a:p>
          <a:p>
            <a:pPr marL="362481" indent="-634342" algn="just" defTabSz="1208241">
              <a:spcBef>
                <a:spcPts val="591"/>
              </a:spcBef>
              <a:defRPr/>
            </a:pPr>
            <a:r>
              <a:rPr lang="en-US" sz="1041" dirty="0">
                <a:solidFill>
                  <a:srgbClr val="000000"/>
                </a:solidFill>
                <a:latin typeface="Calibri" panose="020F0502020204030204"/>
              </a:rPr>
              <a:t>10.3	Notwithstanding anything in this Agreement, each Party will exclusively own all right, title and interest, including but not limited to all rights under all copyright, patent and other intellectual property laws, in and to its Own Technology.</a:t>
            </a:r>
          </a:p>
          <a:p>
            <a:pPr marL="362481" indent="-634342" algn="just" defTabSz="1208241">
              <a:spcBef>
                <a:spcPts val="591"/>
              </a:spcBef>
              <a:defRPr/>
            </a:pPr>
            <a:r>
              <a:rPr lang="en-US" sz="1041" dirty="0">
                <a:solidFill>
                  <a:srgbClr val="000000"/>
                </a:solidFill>
                <a:latin typeface="Calibri" panose="020F0502020204030204"/>
              </a:rPr>
              <a:t>10.4	In the event of either Party requesting the use of the other Party’s Own Technology, outside the scope of the Project, this would be subject to the Parties agreeing to a written license agreement for such use.</a:t>
            </a:r>
          </a:p>
          <a:p>
            <a:pPr marL="362481" indent="-634342" algn="just" defTabSz="1208241">
              <a:spcBef>
                <a:spcPts val="591"/>
              </a:spcBef>
              <a:defRPr/>
            </a:pPr>
            <a:r>
              <a:rPr lang="en-US" sz="1041" dirty="0">
                <a:solidFill>
                  <a:srgbClr val="000000"/>
                </a:solidFill>
                <a:latin typeface="Calibri" panose="020F0502020204030204"/>
              </a:rPr>
              <a:t>10.5	Client Data:</a:t>
            </a:r>
          </a:p>
          <a:p>
            <a:pPr marL="362481" indent="-634342" algn="just" defTabSz="1208241">
              <a:spcBef>
                <a:spcPts val="591"/>
              </a:spcBef>
              <a:defRPr/>
            </a:pPr>
            <a:r>
              <a:rPr lang="en-US" sz="1041" dirty="0">
                <a:solidFill>
                  <a:srgbClr val="000000"/>
                </a:solidFill>
                <a:latin typeface="Calibri" panose="020F0502020204030204"/>
              </a:rPr>
              <a:t>	10.5.1	“Client Data” means information of the Client including information relating to subsidiaries or associated companies of the Client and its business, as well as personal 	data of its employees and of customers, provided by the Client to Deloitte pursuant to Deloitte rendering the Services.</a:t>
            </a:r>
          </a:p>
          <a:p>
            <a:pPr marL="362481" indent="-634342" algn="just" defTabSz="1208241">
              <a:spcBef>
                <a:spcPts val="591"/>
              </a:spcBef>
              <a:defRPr/>
            </a:pPr>
            <a:r>
              <a:rPr lang="en-US" sz="1041" dirty="0">
                <a:solidFill>
                  <a:srgbClr val="000000"/>
                </a:solidFill>
                <a:latin typeface="Calibri" panose="020F0502020204030204"/>
              </a:rPr>
              <a:t>	10.5.2	Ownership in all the Client Data belonging to the Client whether under its control or not shall continue to vest in the Client, and Deloitte shall not obtain any 	proprietary rights in such data.  Any improvements or enhancements to the Client Data resulting from a Project will remain the property of the Client.</a:t>
            </a:r>
          </a:p>
          <a:p>
            <a:pPr marL="362481" indent="-634342" algn="just" defTabSz="1208241">
              <a:spcBef>
                <a:spcPts val="591"/>
              </a:spcBef>
              <a:defRPr/>
            </a:pPr>
            <a:r>
              <a:rPr lang="en-US" sz="1041" dirty="0">
                <a:solidFill>
                  <a:srgbClr val="000000"/>
                </a:solidFill>
                <a:latin typeface="Calibri" panose="020F0502020204030204"/>
              </a:rPr>
              <a:t>	10.5.3	The Client Data in the possession of Deloitte, or to which Deloitte may have access during the currency of this Agreement, may not be used by Deloitte for any 	purposes whatsoever other than as may be specifically required to enable Deloitte to fulfil its obligations in terms of this Agreement.</a:t>
            </a:r>
          </a:p>
          <a:p>
            <a:pPr marL="362481" indent="-634342" algn="just" defTabSz="1208241">
              <a:spcBef>
                <a:spcPts val="591"/>
              </a:spcBef>
              <a:defRPr/>
            </a:pPr>
            <a:r>
              <a:rPr lang="en-US" sz="1041" dirty="0">
                <a:solidFill>
                  <a:srgbClr val="000000"/>
                </a:solidFill>
                <a:latin typeface="Calibri" panose="020F0502020204030204"/>
              </a:rPr>
              <a:t>	10.5.4	The Client Data is and shall remain the property of the Client and shall be deemed Confidential Information of the Client in terms of this Agreement.</a:t>
            </a:r>
          </a:p>
          <a:p>
            <a:pPr marL="362481" indent="-634342" algn="just" defTabSz="1208241">
              <a:spcBef>
                <a:spcPts val="591"/>
              </a:spcBef>
              <a:defRPr/>
            </a:pPr>
            <a:r>
              <a:rPr lang="en-US" sz="1041" dirty="0">
                <a:solidFill>
                  <a:srgbClr val="000000"/>
                </a:solidFill>
                <a:latin typeface="Calibri" panose="020F0502020204030204"/>
              </a:rPr>
              <a:t>10.6	Deliverables under this Agreement: </a:t>
            </a:r>
          </a:p>
          <a:p>
            <a:pPr marL="362481" indent="-634342" algn="just" defTabSz="1208241">
              <a:spcBef>
                <a:spcPts val="591"/>
              </a:spcBef>
              <a:defRPr/>
            </a:pPr>
            <a:r>
              <a:rPr lang="en-US" sz="1041" dirty="0">
                <a:solidFill>
                  <a:srgbClr val="000000"/>
                </a:solidFill>
                <a:latin typeface="Calibri" panose="020F0502020204030204"/>
              </a:rPr>
              <a:t>	10.6.1	Except as otherwise provided in this Agreement, and upon full and final payment to Deloitte of all amounts owing to Deloitte in terms of this Agreement, all 	Deliverables shall become the property of the Client. </a:t>
            </a:r>
          </a:p>
          <a:p>
            <a:pPr marL="362481" indent="-634342" algn="just" defTabSz="1208241">
              <a:spcBef>
                <a:spcPts val="591"/>
              </a:spcBef>
              <a:defRPr/>
            </a:pPr>
            <a:r>
              <a:rPr lang="en-US" sz="1041" dirty="0">
                <a:solidFill>
                  <a:srgbClr val="000000"/>
                </a:solidFill>
                <a:latin typeface="Calibri" panose="020F0502020204030204"/>
              </a:rPr>
              <a:t>10.7	Intellectual Property Rights of Third Parties:</a:t>
            </a:r>
          </a:p>
          <a:p>
            <a:pPr marL="362481" indent="-634342" algn="just" defTabSz="1208241">
              <a:spcBef>
                <a:spcPts val="591"/>
              </a:spcBef>
              <a:defRPr/>
            </a:pPr>
            <a:r>
              <a:rPr lang="en-US" sz="1041" dirty="0">
                <a:solidFill>
                  <a:srgbClr val="000000"/>
                </a:solidFill>
                <a:latin typeface="Calibri" panose="020F0502020204030204"/>
              </a:rPr>
              <a:t>	10.7.1	Deloitte warrants to the Client that the Deliverables or any part thereof do not infringe the intellectual property rights of any third party.</a:t>
            </a:r>
          </a:p>
          <a:p>
            <a:pPr marL="362481" indent="-634342" algn="just" defTabSz="1208241">
              <a:spcBef>
                <a:spcPts val="591"/>
              </a:spcBef>
              <a:defRPr/>
            </a:pPr>
            <a:r>
              <a:rPr lang="en-US" sz="1041" dirty="0">
                <a:solidFill>
                  <a:srgbClr val="000000"/>
                </a:solidFill>
                <a:latin typeface="Calibri" panose="020F0502020204030204"/>
              </a:rPr>
              <a:t>	10.7.2	Deloitte undertakes to defend the Client from and against any claim or action that the use or possession of the Deliverables or any part of them infringes the 	Intellectual Property Rights of a third party (“IPR Claim”), and shall indemnify the Client against all liabilities, costs, expenses, damages and losses (including any direct, 	indirect or consequential losses, loss of profit, loss of reputation and all interest, penalties and legal and other reasonable professional costs and expenses) suffered or 	incurred by the Client arising out of or in connection with that IPR Claim.</a:t>
            </a:r>
          </a:p>
          <a:p>
            <a:pPr marL="362481" indent="-634342" algn="just" defTabSz="1208241">
              <a:spcBef>
                <a:spcPts val="591"/>
              </a:spcBef>
              <a:defRPr/>
            </a:pPr>
            <a:endParaRPr lang="en-US" sz="89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BD27E31B-6C97-41F9-ADE3-8B875AC5E5C6}"/>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164BC551-01D3-4CA5-B40F-9A6D789FC618}"/>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87419161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7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10"/>
            <a:ext cx="10342039" cy="5625519"/>
          </a:xfrm>
          <a:prstGeom prst="rect">
            <a:avLst/>
          </a:prstGeom>
          <a:noFill/>
        </p:spPr>
        <p:txBody>
          <a:bodyPr wrap="square">
            <a:spAutoFit/>
          </a:bodyPr>
          <a:lstStyle/>
          <a:p>
            <a:pPr marL="362481" indent="-634342" algn="just" defTabSz="1208241">
              <a:spcBef>
                <a:spcPts val="591"/>
              </a:spcBef>
              <a:defRPr/>
            </a:pPr>
            <a:r>
              <a:rPr lang="en-US" sz="1041" b="1" dirty="0">
                <a:solidFill>
                  <a:srgbClr val="000000"/>
                </a:solidFill>
                <a:latin typeface="Calibri" panose="020F0502020204030204"/>
              </a:rPr>
              <a:t>11	Limitation on Warranties. </a:t>
            </a:r>
          </a:p>
          <a:p>
            <a:pPr marL="362481" indent="-634342" algn="just" defTabSz="1208241">
              <a:spcBef>
                <a:spcPts val="591"/>
              </a:spcBef>
              <a:defRPr/>
            </a:pPr>
            <a:r>
              <a:rPr lang="en-US" sz="1041" b="1" dirty="0">
                <a:solidFill>
                  <a:srgbClr val="000000"/>
                </a:solidFill>
                <a:latin typeface="Calibri" panose="020F0502020204030204"/>
              </a:rPr>
              <a:t>	</a:t>
            </a:r>
            <a:r>
              <a:rPr lang="en-US" sz="1041" dirty="0">
                <a:solidFill>
                  <a:srgbClr val="000000"/>
                </a:solidFill>
                <a:latin typeface="Calibri" panose="020F0502020204030204"/>
              </a:rPr>
              <a:t>This is a professional services engagement. Deloitte warrants that it shall perform the Services in good faith and in a professional manner. Deloitte disclaims all other warranties, either express or implied, including, without limitation, warranties of merchantability and fitness for a particular purpose.  The client’s exclusive remedy for any breach of this warranty shall be for Deloitte, upon receipt of written notice, to use diligent efforts to cure such breach, or, failing any cure in a reasonable period of time (up to a maximum of 1 (One) ) year, the return of professional fees paid to Deloitte hereunder with respect to the services giving rise to such breach.</a:t>
            </a:r>
          </a:p>
          <a:p>
            <a:pPr marL="362481" indent="-634342" algn="just" defTabSz="1208241">
              <a:spcBef>
                <a:spcPts val="591"/>
              </a:spcBef>
              <a:defRPr/>
            </a:pPr>
            <a:endParaRPr lang="en-US" sz="1041" b="1" dirty="0">
              <a:solidFill>
                <a:srgbClr val="000000"/>
              </a:solidFill>
              <a:latin typeface="Calibri" panose="020F0502020204030204"/>
            </a:endParaRPr>
          </a:p>
          <a:p>
            <a:pPr marL="362481" indent="-634342" algn="just" defTabSz="1208241">
              <a:spcBef>
                <a:spcPts val="591"/>
              </a:spcBef>
              <a:defRPr/>
            </a:pPr>
            <a:r>
              <a:rPr lang="en-US" sz="1041" b="1" dirty="0">
                <a:solidFill>
                  <a:srgbClr val="000000"/>
                </a:solidFill>
                <a:latin typeface="Calibri" panose="020F0502020204030204"/>
              </a:rPr>
              <a:t>12	Limitation on Damages and Indemnification.</a:t>
            </a:r>
          </a:p>
          <a:p>
            <a:pPr marL="362481" indent="-634342" algn="just" defTabSz="1208241">
              <a:spcBef>
                <a:spcPts val="591"/>
              </a:spcBef>
              <a:defRPr/>
            </a:pPr>
            <a:r>
              <a:rPr lang="en-US" sz="1041" dirty="0">
                <a:solidFill>
                  <a:srgbClr val="000000"/>
                </a:solidFill>
                <a:latin typeface="Calibri" panose="020F0502020204030204"/>
              </a:rPr>
              <a:t>12.1	The Client agrees that Deloitte, and its personnel shall not be liable to the Client for any claims, liabilities, or expenses relating to this engagement (“Claims”) for an aggregate amount in excess of the fees paid by the Client to Deloitte pursuant to this engagement, except to the extent finally judicially determined to have resulted primarily from the bad faith or intentional misconduct of Deloitte. In no event shall Deloitte or its personnel be liable for consequential, special, indirect, incidental, punitive or exemplary loss, damage, or expense relating to this engagement.</a:t>
            </a:r>
          </a:p>
          <a:p>
            <a:pPr marL="362481" indent="-634342" algn="just" defTabSz="1208241">
              <a:spcBef>
                <a:spcPts val="591"/>
              </a:spcBef>
              <a:defRPr/>
            </a:pPr>
            <a:r>
              <a:rPr lang="en-US" sz="1041" dirty="0">
                <a:solidFill>
                  <a:srgbClr val="000000"/>
                </a:solidFill>
                <a:latin typeface="Calibri" panose="020F0502020204030204"/>
              </a:rPr>
              <a:t>12.2	The Client shall indemnify and hold harmless Deloitte and its personnel from all claims, liabilities, and expenses relating to this engagement, except to the extent finally judicially determined to have resulted primarily from the bad faith or intentional misconduct of Deloitte.</a:t>
            </a:r>
          </a:p>
          <a:p>
            <a:pPr marL="362481" indent="-634342" algn="just" defTabSz="1208241">
              <a:spcBef>
                <a:spcPts val="591"/>
              </a:spcBef>
              <a:defRPr/>
            </a:pPr>
            <a:r>
              <a:rPr lang="en-US" sz="1041" dirty="0">
                <a:solidFill>
                  <a:srgbClr val="000000"/>
                </a:solidFill>
                <a:latin typeface="Calibri" panose="020F0502020204030204"/>
              </a:rPr>
              <a:t>12.3	The provisions of this Clause and Clause 18 shall apply to the fullest extent of the law, whether in contract, statute, tort (such as negligence), or otherwise. In circumstances where all or any portion of the provisions of this Clause are finally judicially determined to be unavailable, Deloitte’s aggregate liability for any claims, liabilities, or expenses relating to this engagement shall not exceed an amount which is proportional to the relative fault that Deloitte’s conduct bears to all other conduct giving rise to such Claims, liabilities, or expenses and on no account shall exceed Deloitte paid fees. </a:t>
            </a:r>
          </a:p>
          <a:p>
            <a:pPr marL="362481" indent="-634342" algn="just" defTabSz="1208241">
              <a:spcBef>
                <a:spcPts val="591"/>
              </a:spcBef>
              <a:defRPr/>
            </a:pPr>
            <a:r>
              <a:rPr lang="en-US" sz="1041" dirty="0">
                <a:solidFill>
                  <a:srgbClr val="000000"/>
                </a:solidFill>
                <a:latin typeface="Calibri" panose="020F0502020204030204"/>
              </a:rPr>
              <a:t>12.4	Deloitte indemnifies the Client against any claim by a subcontractor to Deloitte, arising from payment obligations between Deloitte and the relevant subcontractor, provided that the Client gives prompt notice to Deloitte of any such claim and Deloitte controls the defence thereof. </a:t>
            </a:r>
          </a:p>
          <a:p>
            <a:pPr marL="362481" indent="-634342" algn="just" defTabSz="1208241">
              <a:spcBef>
                <a:spcPts val="591"/>
              </a:spcBef>
              <a:defRPr/>
            </a:pPr>
            <a:r>
              <a:rPr lang="en-US" sz="1041" dirty="0">
                <a:solidFill>
                  <a:srgbClr val="000000"/>
                </a:solidFill>
                <a:latin typeface="Calibri" panose="020F0502020204030204"/>
              </a:rPr>
              <a:t>12.5	The Client indemnifies Deloitte against any loss, damages, costs or expenses directly or indirectly incurred by Deloitte as a result of inaccurate or incomplete information supplied by, or misrepresentations, fraudulent acts or wilful Default on the part of the Client, the Client’s Personnel, or any third party under the control of the Client.  </a:t>
            </a:r>
          </a:p>
          <a:p>
            <a:pPr marL="362481" indent="-634342" algn="just" defTabSz="1208241">
              <a:spcBef>
                <a:spcPts val="591"/>
              </a:spcBef>
              <a:defRPr/>
            </a:pPr>
            <a:r>
              <a:rPr lang="en-US" sz="1041" dirty="0">
                <a:solidFill>
                  <a:srgbClr val="000000"/>
                </a:solidFill>
                <a:latin typeface="Calibri" panose="020F0502020204030204"/>
              </a:rPr>
              <a:t>12.6	Deloitte indemnifies the Client against any loss, damages, costs or expenses directly or indirectly incurred by the Client as a result of misrepresentation, fraudulent acts or wilful default on the part of Deloitte, the Personnel of Deloitte, or any third party under the control of Deloitte. Deloitte shall accept liability to the client, only to the extent of its portion of the Services, as agreed.</a:t>
            </a:r>
          </a:p>
          <a:p>
            <a:pPr marL="362481" indent="-634342" algn="just" defTabSz="1208241">
              <a:spcBef>
                <a:spcPts val="591"/>
              </a:spcBef>
              <a:defRPr/>
            </a:pPr>
            <a:r>
              <a:rPr lang="en-US" sz="1041" dirty="0">
                <a:solidFill>
                  <a:srgbClr val="000000"/>
                </a:solidFill>
                <a:latin typeface="Calibri" panose="020F0502020204030204"/>
              </a:rPr>
              <a:t>12.7	The Client indemnifies Deloitte and D&amp;T Parties against any Claim by any third party arising from a copy of any report, certificate, schedule or other Deliverable which the third party received from the Client, its Personnel, or its advisors.</a:t>
            </a:r>
          </a:p>
          <a:p>
            <a:pPr marL="362481" indent="-634342" algn="just" defTabSz="1208241">
              <a:spcBef>
                <a:spcPts val="591"/>
              </a:spcBef>
              <a:defRPr/>
            </a:pPr>
            <a:r>
              <a:rPr lang="en-US" sz="1041" dirty="0">
                <a:solidFill>
                  <a:srgbClr val="000000"/>
                </a:solidFill>
                <a:latin typeface="Calibri" panose="020F0502020204030204"/>
              </a:rPr>
              <a:t>12.8	In the event of the Client not being the final consumer of the Services under this Agreement (the “Consumer”), the client indemnifies Deloitte and D&amp;T Parties against any Claims by the Consumer.</a:t>
            </a:r>
          </a:p>
          <a:p>
            <a:pPr marL="362481" indent="-634342" algn="just" defTabSz="1208241">
              <a:spcBef>
                <a:spcPts val="591"/>
              </a:spcBef>
              <a:defRPr/>
            </a:pPr>
            <a:endParaRPr lang="en-US" sz="89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B347F761-D41B-49E9-B798-9C99D856F7BC}"/>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7190FCC2-F3D4-4491-A752-F6262C1D59B6}"/>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673420"/>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8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8"/>
            <a:ext cx="10342039" cy="4665062"/>
          </a:xfrm>
          <a:prstGeom prst="rect">
            <a:avLst/>
          </a:prstGeom>
          <a:noFill/>
        </p:spPr>
        <p:txBody>
          <a:bodyPr wrap="square">
            <a:spAutoFit/>
          </a:bodyPr>
          <a:lstStyle/>
          <a:p>
            <a:pPr marL="362481" indent="-634342" algn="just" defTabSz="1208241">
              <a:spcBef>
                <a:spcPts val="591"/>
              </a:spcBef>
              <a:defRPr/>
            </a:pPr>
            <a:r>
              <a:rPr lang="en-US" sz="1041" b="1" dirty="0">
                <a:solidFill>
                  <a:prstClr val="black"/>
                </a:solidFill>
                <a:latin typeface="Calibri" panose="020F0502020204030204" pitchFamily="34" charset="0"/>
                <a:cs typeface="Calibri" panose="020F0502020204030204" pitchFamily="34" charset="0"/>
              </a:rPr>
              <a:t>13	Client Responsibilities. </a:t>
            </a:r>
          </a:p>
          <a:p>
            <a:pPr marL="362481" indent="-634342" algn="just" defTabSz="1208241">
              <a:spcBef>
                <a:spcPts val="591"/>
              </a:spcBef>
              <a:defRPr/>
            </a:pPr>
            <a:r>
              <a:rPr lang="en-US" sz="1041" dirty="0">
                <a:solidFill>
                  <a:prstClr val="black"/>
                </a:solidFill>
                <a:latin typeface="Calibri" panose="020F0502020204030204" pitchFamily="34" charset="0"/>
                <a:cs typeface="Calibri" panose="020F0502020204030204" pitchFamily="34" charset="0"/>
              </a:rPr>
              <a:t>13.1	The Client and related parties, e.g., hardware/software providers or Internet Service Providers, shall cooperate with Deloitte in the performance by Deloitte of the Services, including, without limitation, providing Deloitte with reasonable facilities and timely access to data, information and personnel of the Client. The Client shall be responsible for the performance of its personnel and agents and for the accuracy and completeness of all data and information provided to Deloitte for purposes of the performance by Deloitte of the Services.  The Client acknowledges and agrees that Deloitte’s performance is dependent upon the timely and effective satisfaction of the Client’s responsibilities hereunder and timely decisions and approvals of the Client in connection with the Services.  Deloitte shall be entitled to rely on all decisions and approvals of the Client.  </a:t>
            </a:r>
          </a:p>
          <a:p>
            <a:pPr marL="362481" indent="-634342" algn="just" defTabSz="1208241">
              <a:spcBef>
                <a:spcPts val="591"/>
              </a:spcBef>
              <a:defRPr/>
            </a:pPr>
            <a:r>
              <a:rPr lang="en-US" sz="1041" dirty="0">
                <a:solidFill>
                  <a:prstClr val="black"/>
                </a:solidFill>
                <a:latin typeface="Calibri" panose="020F0502020204030204" pitchFamily="34" charset="0"/>
                <a:cs typeface="Calibri" panose="020F0502020204030204" pitchFamily="34" charset="0"/>
              </a:rPr>
              <a:t>13.2	The Client shall be solely responsible for, among other things: </a:t>
            </a:r>
          </a:p>
          <a:p>
            <a:pPr marL="362481" indent="-634342" algn="just" defTabSz="1208241">
              <a:spcBef>
                <a:spcPts val="591"/>
              </a:spcBef>
              <a:defRPr/>
            </a:pPr>
            <a:r>
              <a:rPr lang="en-US" sz="1041" dirty="0">
                <a:solidFill>
                  <a:prstClr val="black"/>
                </a:solidFill>
                <a:latin typeface="Calibri" panose="020F0502020204030204" pitchFamily="34" charset="0"/>
                <a:cs typeface="Calibri" panose="020F0502020204030204" pitchFamily="34" charset="0"/>
              </a:rPr>
              <a:t>	13.2.1	making all management decisions and performing all management functions;</a:t>
            </a:r>
          </a:p>
          <a:p>
            <a:pPr marL="362481" indent="-634342" algn="just" defTabSz="1208241">
              <a:spcBef>
                <a:spcPts val="591"/>
              </a:spcBef>
              <a:defRPr/>
            </a:pPr>
            <a:r>
              <a:rPr lang="en-US" sz="1041" dirty="0">
                <a:solidFill>
                  <a:prstClr val="black"/>
                </a:solidFill>
                <a:latin typeface="Calibri" panose="020F0502020204030204" pitchFamily="34" charset="0"/>
                <a:cs typeface="Calibri" panose="020F0502020204030204" pitchFamily="34" charset="0"/>
              </a:rPr>
              <a:t>	13.2.2	designating a competent management member to oversee the Services;</a:t>
            </a:r>
          </a:p>
          <a:p>
            <a:pPr marL="362481" indent="-634342" algn="just" defTabSz="1208241">
              <a:spcBef>
                <a:spcPts val="591"/>
              </a:spcBef>
              <a:defRPr/>
            </a:pPr>
            <a:r>
              <a:rPr lang="en-US" sz="1041" dirty="0">
                <a:solidFill>
                  <a:prstClr val="black"/>
                </a:solidFill>
                <a:latin typeface="Calibri" panose="020F0502020204030204" pitchFamily="34" charset="0"/>
                <a:cs typeface="Calibri" panose="020F0502020204030204" pitchFamily="34" charset="0"/>
              </a:rPr>
              <a:t>	13.2.3	evaluating the adequacy and results of the Services;</a:t>
            </a:r>
          </a:p>
          <a:p>
            <a:pPr marL="362481" indent="-634342" algn="just" defTabSz="1208241">
              <a:spcBef>
                <a:spcPts val="591"/>
              </a:spcBef>
              <a:defRPr/>
            </a:pPr>
            <a:r>
              <a:rPr lang="en-US" sz="1041" dirty="0">
                <a:solidFill>
                  <a:prstClr val="black"/>
                </a:solidFill>
                <a:latin typeface="Calibri" panose="020F0502020204030204" pitchFamily="34" charset="0"/>
                <a:cs typeface="Calibri" panose="020F0502020204030204" pitchFamily="34" charset="0"/>
              </a:rPr>
              <a:t>	13.2.4	accepting responsibility for the results of the Services;</a:t>
            </a:r>
          </a:p>
          <a:p>
            <a:pPr marL="362481" indent="-634342" algn="just" defTabSz="1208241">
              <a:spcBef>
                <a:spcPts val="591"/>
              </a:spcBef>
              <a:defRPr/>
            </a:pPr>
            <a:r>
              <a:rPr lang="en-US" sz="1041" dirty="0">
                <a:solidFill>
                  <a:prstClr val="black"/>
                </a:solidFill>
                <a:latin typeface="Calibri" panose="020F0502020204030204" pitchFamily="34" charset="0"/>
                <a:cs typeface="Calibri" panose="020F0502020204030204" pitchFamily="34" charset="0"/>
              </a:rPr>
              <a:t>	13.2.5	establishing and maintaining internal controls, including, without limitation, monitoring ongoing activities; and,</a:t>
            </a:r>
          </a:p>
          <a:p>
            <a:pPr marL="362481" indent="-634342" algn="just" defTabSz="1208241">
              <a:spcBef>
                <a:spcPts val="591"/>
              </a:spcBef>
              <a:defRPr/>
            </a:pPr>
            <a:r>
              <a:rPr lang="en-US" sz="1041" dirty="0">
                <a:solidFill>
                  <a:prstClr val="black"/>
                </a:solidFill>
                <a:latin typeface="Calibri" panose="020F0502020204030204" pitchFamily="34" charset="0"/>
                <a:cs typeface="Calibri" panose="020F0502020204030204" pitchFamily="34" charset="0"/>
              </a:rPr>
              <a:t>	13.2.6	providing Deloitte with correct and accurate information, data, form or any other required to complete its Services, as Deloitte will carry no liability for any incorrect 	information provided by the Client.</a:t>
            </a:r>
          </a:p>
          <a:p>
            <a:pPr marL="362481" indent="-634342" algn="just" defTabSz="1208241">
              <a:spcBef>
                <a:spcPts val="591"/>
              </a:spcBef>
              <a:defRPr/>
            </a:pPr>
            <a:endParaRPr lang="en-US" sz="1041" dirty="0">
              <a:solidFill>
                <a:prstClr val="black"/>
              </a:solidFill>
              <a:latin typeface="Calibri" panose="020F0502020204030204" pitchFamily="34" charset="0"/>
              <a:cs typeface="Calibri" panose="020F0502020204030204" pitchFamily="34" charset="0"/>
            </a:endParaRPr>
          </a:p>
          <a:p>
            <a:pPr marL="362481" indent="-634342" algn="just" defTabSz="1208241">
              <a:spcBef>
                <a:spcPts val="591"/>
              </a:spcBef>
              <a:defRPr/>
            </a:pPr>
            <a:r>
              <a:rPr lang="en-US" sz="1041" b="1" dirty="0">
                <a:solidFill>
                  <a:prstClr val="black"/>
                </a:solidFill>
                <a:latin typeface="Calibri" panose="020F0502020204030204" pitchFamily="34" charset="0"/>
                <a:cs typeface="Calibri" panose="020F0502020204030204" pitchFamily="34" charset="0"/>
              </a:rPr>
              <a:t>14	Non-Solicitation.</a:t>
            </a:r>
          </a:p>
          <a:p>
            <a:pPr marL="362481" indent="-634342" algn="just" defTabSz="1208241">
              <a:spcBef>
                <a:spcPts val="591"/>
              </a:spcBef>
              <a:defRPr/>
            </a:pPr>
            <a:r>
              <a:rPr lang="en-US" sz="1041" b="1" dirty="0">
                <a:solidFill>
                  <a:prstClr val="black"/>
                </a:solidFill>
                <a:latin typeface="Calibri" panose="020F0502020204030204" pitchFamily="34" charset="0"/>
                <a:cs typeface="Calibri" panose="020F0502020204030204" pitchFamily="34" charset="0"/>
              </a:rPr>
              <a:t>	</a:t>
            </a:r>
            <a:r>
              <a:rPr lang="en-US" sz="1041" dirty="0">
                <a:solidFill>
                  <a:prstClr val="black"/>
                </a:solidFill>
                <a:latin typeface="Calibri" panose="020F0502020204030204" pitchFamily="34" charset="0"/>
                <a:cs typeface="Calibri" panose="020F0502020204030204" pitchFamily="34" charset="0"/>
              </a:rPr>
              <a:t>The Client, its subsidiaries, parent company or any other of its affiliates undertake that, for the duration of the engagement and for 1 (One) year thereafter, it shall not solicit for employment, nor offer employment directly or indirectly, nor enter into any contract for services, nor engage the services of any team member assigned to this Project by Deloitte. In the event the Client breaches this provision, it shall be liable to the aggrieved party for an amount equal to 30% (Thirty percent) of the higher of either the annual base compensation of the relevant personnel in his/her new position or the annual base compensation of the relevant personnel in his/her last position with Deloitte. Although such payment shall be the Deloitte’s exclusive means of monetary recovery from the Client for any breach of this provision, Deloitte shall be entitled to seek injunctive or other equitable relief, as may be applicable.</a:t>
            </a:r>
          </a:p>
          <a:p>
            <a:pPr marL="362481" indent="-634342" algn="just" defTabSz="1208241">
              <a:spcBef>
                <a:spcPts val="591"/>
              </a:spcBef>
              <a:defRPr/>
            </a:pPr>
            <a:endParaRPr lang="en-US" sz="991" dirty="0">
              <a:solidFill>
                <a:prstClr val="black"/>
              </a:solidFill>
              <a:latin typeface="Calibri" panose="020F0502020204030204" pitchFamily="34" charset="0"/>
              <a:cs typeface="Calibri" panose="020F0502020204030204" pitchFamily="34" charset="0"/>
            </a:endParaRPr>
          </a:p>
        </p:txBody>
      </p:sp>
      <p:sp>
        <p:nvSpPr>
          <p:cNvPr id="6" name="Triangle 28">
            <a:extLst>
              <a:ext uri="{FF2B5EF4-FFF2-40B4-BE49-F238E27FC236}">
                <a16:creationId xmlns:a16="http://schemas.microsoft.com/office/drawing/2014/main" id="{0332580D-613B-4A92-AB78-1BBAF930E0E2}"/>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1595E4D1-0762-4A18-BCBA-FC49C8DEDA95}"/>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636019665"/>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9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4"/>
            <a:ext cx="10342039" cy="6113368"/>
          </a:xfrm>
          <a:prstGeom prst="rect">
            <a:avLst/>
          </a:prstGeom>
          <a:noFill/>
        </p:spPr>
        <p:txBody>
          <a:bodyPr wrap="square">
            <a:spAutoFit/>
          </a:bodyPr>
          <a:lstStyle/>
          <a:p>
            <a:pPr marL="362481" indent="-634342" algn="just">
              <a:spcBef>
                <a:spcPts val="591"/>
              </a:spcBef>
            </a:pPr>
            <a:r>
              <a:rPr lang="en-US" sz="1041" b="1" dirty="0">
                <a:latin typeface="Calibri" panose="020F0502020204030204" pitchFamily="34" charset="0"/>
                <a:cs typeface="Calibri" panose="020F0502020204030204" pitchFamily="34" charset="0"/>
              </a:rPr>
              <a:t>15	Force Majeure. </a:t>
            </a:r>
          </a:p>
          <a:p>
            <a:pPr marL="362481" indent="-634342" algn="just">
              <a:spcBef>
                <a:spcPts val="591"/>
              </a:spcBef>
            </a:pPr>
            <a:r>
              <a:rPr lang="en-US" sz="1041" dirty="0">
                <a:latin typeface="Calibri" panose="020F0502020204030204" pitchFamily="34" charset="0"/>
                <a:cs typeface="Calibri" panose="020F0502020204030204" pitchFamily="34" charset="0"/>
              </a:rPr>
              <a:t>15.1	Except for the payment of money, neither Party shall be liable for any delays or non-performance resulting from circumstances or causes beyond its reasonable control, including, without limitation, acts or omissions or the failure to cooperate by the Client (including, without limitation, entities or individuals under its control, or any of their respective officers, directors, employees, other personnel and agents), acts or omissions or the failure to cooperate by any third party, fire or other casualty, act of God, strike or labor dispute, war or other violence, or any law, order or requirement of any governmental agency or authority.</a:t>
            </a:r>
          </a:p>
          <a:p>
            <a:pPr marL="362481" indent="-634342" algn="just">
              <a:spcBef>
                <a:spcPts val="591"/>
              </a:spcBef>
            </a:pPr>
            <a:r>
              <a:rPr lang="en-US" sz="1041" dirty="0">
                <a:latin typeface="Calibri" panose="020F0502020204030204" pitchFamily="34" charset="0"/>
                <a:cs typeface="Calibri" panose="020F0502020204030204" pitchFamily="34" charset="0"/>
              </a:rPr>
              <a:t>15.2	Both Parties agree to reasonably mitigate costs associated with such events, where possible. If the anticipated or actual delay or non-performance exceeds thirty (30) calendar days, the other Party may immediately terminate the Agreement by giving notice of termination.  The Client agrees to pay Deloitte for all amounts owed in terms of this Agreement for Services rendered by Deloitte up until the Force Majeure event.</a:t>
            </a:r>
          </a:p>
          <a:p>
            <a:pPr marL="362481" indent="-634342" algn="just">
              <a:spcBef>
                <a:spcPts val="591"/>
              </a:spcBef>
            </a:pPr>
            <a:r>
              <a:rPr lang="en-US" sz="1041" dirty="0">
                <a:latin typeface="Calibri" panose="020F0502020204030204" pitchFamily="34" charset="0"/>
                <a:cs typeface="Calibri" panose="020F0502020204030204" pitchFamily="34" charset="0"/>
              </a:rPr>
              <a:t>15.3	Additional restrictions and conditions imposed due to epidemics and/or pandemics:</a:t>
            </a:r>
          </a:p>
          <a:p>
            <a:pPr marL="362481" indent="-634342" algn="just">
              <a:spcBef>
                <a:spcPts val="591"/>
              </a:spcBef>
            </a:pPr>
            <a:r>
              <a:rPr lang="en-US" sz="1041" dirty="0">
                <a:latin typeface="Calibri" panose="020F0502020204030204" pitchFamily="34" charset="0"/>
                <a:cs typeface="Calibri" panose="020F0502020204030204" pitchFamily="34" charset="0"/>
              </a:rPr>
              <a:t>	15.3.1	The Parties acknowledge the threat posed by the spread of diseases classified by the World Health Organization as epidemics (“Epidemics”) or pandemics 	(“Pandemics”), including but not limited to Covid-19 (“Coronavirus”) and the associated impact this might have on the delivery of the Services. The Parties personnel 	will comply with any restrictions or conditions imposed by their respective organizations on working practices as the threat of Epidemics or Pandemics continues.</a:t>
            </a:r>
          </a:p>
          <a:p>
            <a:pPr marL="362481" indent="-634342" algn="just">
              <a:spcBef>
                <a:spcPts val="591"/>
              </a:spcBef>
            </a:pPr>
            <a:r>
              <a:rPr lang="en-US" sz="1041" dirty="0">
                <a:latin typeface="Calibri" panose="020F0502020204030204" pitchFamily="34" charset="0"/>
                <a:cs typeface="Calibri" panose="020F0502020204030204" pitchFamily="34" charset="0"/>
              </a:rPr>
              <a:t>	15.3.2	Whilst the Parties will seek to continue to comply with their respective obligations in accordance with the timeframes and approach set out in the Letter of 	Engagement, the Parties accept that they may be required to adopt alternative working practices and put in place safeguards during this period, including but not 	limited to working remotely, restrictions on travel to and from particular locations and the quarantining of individuals. These working practices and safeguards may 	impact or prevent the delivery of various activities or deliverables, for example, workshops or other face to face meetings.</a:t>
            </a:r>
          </a:p>
          <a:p>
            <a:pPr marL="362481" indent="-634342" algn="just">
              <a:spcBef>
                <a:spcPts val="591"/>
              </a:spcBef>
            </a:pPr>
            <a:r>
              <a:rPr lang="en-US" sz="1041" dirty="0">
                <a:latin typeface="Calibri" panose="020F0502020204030204" pitchFamily="34" charset="0"/>
                <a:cs typeface="Calibri" panose="020F0502020204030204" pitchFamily="34" charset="0"/>
              </a:rPr>
              <a:t>	15.3.3	Without prejudice to this clause 15 (Force Majeure), the Parties will work collaboratively and in good faith to agree a Change Order to mitigate the adverse impact 	resulting from the effects of Epidemics or Pandemics on the Services, including the timetable for delivery of the Services, the approach, methods and working 	practices for delivering the Services, and any additional associated costs.</a:t>
            </a:r>
          </a:p>
          <a:p>
            <a:pPr marL="362481" indent="-634342" algn="just">
              <a:spcBef>
                <a:spcPts val="591"/>
              </a:spcBef>
            </a:pPr>
            <a:r>
              <a:rPr lang="en-US" sz="1041" dirty="0">
                <a:latin typeface="Calibri" panose="020F0502020204030204" pitchFamily="34" charset="0"/>
                <a:cs typeface="Calibri" panose="020F0502020204030204" pitchFamily="34" charset="0"/>
              </a:rPr>
              <a:t>	15.3.4	In any event, Deloitte shall have no liability for any failure or delay to perform its obligations under this Proposal, to the extent caused and/or contributed to 	by the spread of Epidemics or Pandemics and its associated impact.</a:t>
            </a:r>
          </a:p>
          <a:p>
            <a:pPr marL="362481" indent="-634342" algn="just">
              <a:spcBef>
                <a:spcPts val="591"/>
              </a:spcBef>
            </a:pPr>
            <a:endParaRPr lang="en-US" sz="1041" dirty="0">
              <a:latin typeface="Calibri" panose="020F0502020204030204" pitchFamily="34" charset="0"/>
              <a:cs typeface="Calibri" panose="020F0502020204030204" pitchFamily="34" charset="0"/>
            </a:endParaRPr>
          </a:p>
          <a:p>
            <a:pPr marL="362481" indent="-634342" algn="just">
              <a:spcBef>
                <a:spcPts val="591"/>
              </a:spcBef>
            </a:pPr>
            <a:r>
              <a:rPr lang="en-US" sz="1041" b="1" dirty="0">
                <a:latin typeface="Calibri" panose="020F0502020204030204" pitchFamily="34" charset="0"/>
                <a:cs typeface="Calibri" panose="020F0502020204030204" pitchFamily="34" charset="0"/>
              </a:rPr>
              <a:t>16	Limitation on Actions. </a:t>
            </a:r>
          </a:p>
          <a:p>
            <a:pPr marL="362481" indent="-634342" algn="just">
              <a:spcBef>
                <a:spcPts val="591"/>
              </a:spcBef>
            </a:pPr>
            <a:r>
              <a:rPr lang="en-US" sz="1041" b="1" dirty="0">
                <a:latin typeface="Calibri" panose="020F0502020204030204" pitchFamily="34" charset="0"/>
                <a:cs typeface="Calibri" panose="020F0502020204030204" pitchFamily="34" charset="0"/>
              </a:rPr>
              <a:t>	</a:t>
            </a:r>
            <a:r>
              <a:rPr lang="en-US" sz="1041" dirty="0">
                <a:latin typeface="Calibri" panose="020F0502020204030204" pitchFamily="34" charset="0"/>
                <a:cs typeface="Calibri" panose="020F0502020204030204" pitchFamily="34" charset="0"/>
              </a:rPr>
              <a:t>No action, regardless of form, relating to this Engagement, may be brought by either Party more than 1 (One) year after the cause of action has accrued, except that an action for non-payment may be brought by a Party not later than 1 (One) year following the date of the last payment due to such Party bringing such action.</a:t>
            </a:r>
          </a:p>
          <a:p>
            <a:pPr marL="362481" indent="-634342" algn="just">
              <a:spcBef>
                <a:spcPts val="591"/>
              </a:spcBef>
            </a:pPr>
            <a:endParaRPr lang="en-US" sz="1041" b="1" dirty="0">
              <a:latin typeface="Calibri" panose="020F0502020204030204" pitchFamily="34" charset="0"/>
              <a:cs typeface="Calibri" panose="020F0502020204030204" pitchFamily="34" charset="0"/>
            </a:endParaRPr>
          </a:p>
          <a:p>
            <a:pPr marL="362481" indent="-634342" algn="just">
              <a:spcBef>
                <a:spcPts val="591"/>
              </a:spcBef>
            </a:pPr>
            <a:r>
              <a:rPr lang="en-US" sz="1041" b="1" dirty="0">
                <a:latin typeface="Calibri" panose="020F0502020204030204" pitchFamily="34" charset="0"/>
                <a:cs typeface="Calibri" panose="020F0502020204030204" pitchFamily="34" charset="0"/>
              </a:rPr>
              <a:t>17	Independent Contractor. </a:t>
            </a:r>
          </a:p>
          <a:p>
            <a:pPr marL="362481" indent="-634342" algn="just">
              <a:spcBef>
                <a:spcPts val="591"/>
              </a:spcBef>
            </a:pPr>
            <a:r>
              <a:rPr lang="en-US" sz="1041" b="1" dirty="0">
                <a:latin typeface="Calibri" panose="020F0502020204030204" pitchFamily="34" charset="0"/>
                <a:cs typeface="Calibri" panose="020F0502020204030204" pitchFamily="34" charset="0"/>
              </a:rPr>
              <a:t>	</a:t>
            </a:r>
            <a:r>
              <a:rPr lang="en-US" sz="1041" dirty="0">
                <a:latin typeface="Calibri" panose="020F0502020204030204" pitchFamily="34" charset="0"/>
                <a:cs typeface="Calibri" panose="020F0502020204030204" pitchFamily="34" charset="0"/>
              </a:rPr>
              <a:t>It is understood and agreed that each of the Parties hereto is an independent contractor and that neither Party is, nor shall be considered to be, the other’s agent, distributor, partner, fiduciary, joint venturer, co-owner or representative. Neither Party shall act or represent itself, directly or by implication, in any such capacity in respect of the other or in any manner assume or create any obligation on behalf of, or in the name of, the other.</a:t>
            </a:r>
          </a:p>
          <a:p>
            <a:pPr marL="362481" indent="-634342" algn="just">
              <a:spcBef>
                <a:spcPts val="591"/>
              </a:spcBef>
            </a:pPr>
            <a:endParaRPr lang="en-US" sz="991" dirty="0">
              <a:latin typeface="Calibri" panose="020F0502020204030204" pitchFamily="34" charset="0"/>
              <a:cs typeface="Calibri" panose="020F0502020204030204" pitchFamily="34" charset="0"/>
            </a:endParaRPr>
          </a:p>
        </p:txBody>
      </p:sp>
      <p:sp>
        <p:nvSpPr>
          <p:cNvPr id="6" name="Triangle 28">
            <a:extLst>
              <a:ext uri="{FF2B5EF4-FFF2-40B4-BE49-F238E27FC236}">
                <a16:creationId xmlns:a16="http://schemas.microsoft.com/office/drawing/2014/main" id="{B5AE7F7E-2AE8-4D05-A6FE-E576B88F1DCC}"/>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A5D169E4-1CEE-42DF-B582-E1DCE2525D7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505622498"/>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0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8"/>
            <a:ext cx="10342039" cy="6273444"/>
          </a:xfrm>
          <a:prstGeom prst="rect">
            <a:avLst/>
          </a:prstGeom>
          <a:noFill/>
        </p:spPr>
        <p:txBody>
          <a:bodyPr wrap="square">
            <a:spAutoFit/>
          </a:bodyPr>
          <a:lstStyle/>
          <a:p>
            <a:pPr marL="362481" indent="-634342" algn="just">
              <a:spcBef>
                <a:spcPts val="591"/>
              </a:spcBef>
            </a:pPr>
            <a:r>
              <a:rPr lang="en-US" sz="1041" b="1" dirty="0">
                <a:latin typeface="Calibri" panose="020F0502020204030204" pitchFamily="34" charset="0"/>
                <a:cs typeface="Calibri" panose="020F0502020204030204" pitchFamily="34" charset="0"/>
              </a:rPr>
              <a:t>18	Confidentiality and Internal Use.</a:t>
            </a:r>
          </a:p>
          <a:p>
            <a:pPr marL="362481" indent="-634342" algn="just">
              <a:spcBef>
                <a:spcPts val="591"/>
              </a:spcBef>
            </a:pPr>
            <a:r>
              <a:rPr lang="en-US" sz="1041" dirty="0">
                <a:latin typeface="Calibri" panose="020F0502020204030204" pitchFamily="34" charset="0"/>
                <a:cs typeface="Calibri" panose="020F0502020204030204" pitchFamily="34" charset="0"/>
              </a:rPr>
              <a:t>18.1	The Client agrees that all Services and Deliverables shall be solely for the Client’s informational purposes and internal use, and are not intended to be, and should not be, used by any person or entity other than the Client except as otherwise specifically agreed in writing. The Client further agrees that such Services or Deliverables shall not be circulated, quoted, disclosed, or distributed to, nor shall reference to such Services or Deliverables be made to, any person or entity other than the Client, except as may be required by law or Agreed by the Parties.</a:t>
            </a:r>
          </a:p>
          <a:p>
            <a:pPr marL="362481" indent="-634342" algn="just">
              <a:spcBef>
                <a:spcPts val="591"/>
              </a:spcBef>
            </a:pPr>
            <a:r>
              <a:rPr lang="en-US" sz="1041" dirty="0">
                <a:latin typeface="Calibri" panose="020F0502020204030204" pitchFamily="34" charset="0"/>
                <a:cs typeface="Calibri" panose="020F0502020204030204" pitchFamily="34" charset="0"/>
              </a:rPr>
              <a:t>18.2	To the extent that, in connection with this engagement, either Party (each, the “Receiving Party”) comes into possession of any trade secrets or other proprietary or confidential information of the other (the “Disclosing Party”), it will not disclose such information to any third party without the Disclosing Party’s consent, except:</a:t>
            </a:r>
          </a:p>
          <a:p>
            <a:pPr marL="362481" indent="-634342" algn="just">
              <a:spcBef>
                <a:spcPts val="591"/>
              </a:spcBef>
            </a:pPr>
            <a:r>
              <a:rPr lang="en-US" sz="1041" dirty="0">
                <a:latin typeface="Calibri" panose="020F0502020204030204" pitchFamily="34" charset="0"/>
                <a:cs typeface="Calibri" panose="020F0502020204030204" pitchFamily="34" charset="0"/>
              </a:rPr>
              <a:t>	18.2.1	 to subcontractors that are providing services in connection with this engagement and that have agreed to be bound by confidentiality obligations similar to those in 	this Clause;</a:t>
            </a:r>
          </a:p>
          <a:p>
            <a:pPr marL="362481" indent="-634342" algn="just">
              <a:spcBef>
                <a:spcPts val="591"/>
              </a:spcBef>
            </a:pPr>
            <a:r>
              <a:rPr lang="en-US" sz="1041" dirty="0">
                <a:latin typeface="Calibri" panose="020F0502020204030204" pitchFamily="34" charset="0"/>
                <a:cs typeface="Calibri" panose="020F0502020204030204" pitchFamily="34" charset="0"/>
              </a:rPr>
              <a:t>	18.2.2	 as may be required by law, regulation, judicial or administrative process, or in accordance with applicable professional standards or rules, or in connection with 	litigation pertaining hereto; or,</a:t>
            </a:r>
          </a:p>
          <a:p>
            <a:pPr marL="362481" indent="-634342" algn="just">
              <a:spcBef>
                <a:spcPts val="591"/>
              </a:spcBef>
            </a:pPr>
            <a:r>
              <a:rPr lang="en-US" sz="1041" dirty="0">
                <a:latin typeface="Calibri" panose="020F0502020204030204" pitchFamily="34" charset="0"/>
                <a:cs typeface="Calibri" panose="020F0502020204030204" pitchFamily="34" charset="0"/>
              </a:rPr>
              <a:t>	18.2.3	 to the extent such information:</a:t>
            </a:r>
          </a:p>
          <a:p>
            <a:pPr marL="362481" indent="-634342" algn="just">
              <a:spcBef>
                <a:spcPts val="591"/>
              </a:spcBef>
            </a:pPr>
            <a:r>
              <a:rPr lang="en-US" sz="1041" dirty="0">
                <a:latin typeface="Calibri" panose="020F0502020204030204" pitchFamily="34" charset="0"/>
                <a:cs typeface="Calibri" panose="020F0502020204030204" pitchFamily="34" charset="0"/>
              </a:rPr>
              <a:t>		18.2.3 (a) 	shall have otherwise become publicly available (including, without limitation, any information filed with any governmental agency and available 			to the public) other than as the result of a disclosure in breach hereof,</a:t>
            </a:r>
          </a:p>
          <a:p>
            <a:pPr marL="362481" indent="-634342" algn="just">
              <a:spcBef>
                <a:spcPts val="591"/>
              </a:spcBef>
            </a:pPr>
            <a:r>
              <a:rPr lang="en-US" sz="1041" dirty="0">
                <a:latin typeface="Calibri" panose="020F0502020204030204" pitchFamily="34" charset="0"/>
                <a:cs typeface="Calibri" panose="020F0502020204030204" pitchFamily="34" charset="0"/>
              </a:rPr>
              <a:t>		18.2.3 (b)	becomes available to the Receiving Party on a nonconfidential basis from a source other than the Disclosing Party that the Receiving Party 			believes is not prohibited from disclosing such information to the Receiving Party by obligation to the Disclosing Party,</a:t>
            </a:r>
          </a:p>
          <a:p>
            <a:pPr marL="362481" indent="-634342" algn="just">
              <a:spcBef>
                <a:spcPts val="591"/>
              </a:spcBef>
            </a:pPr>
            <a:r>
              <a:rPr lang="en-US" sz="1041" dirty="0">
                <a:latin typeface="Calibri" panose="020F0502020204030204" pitchFamily="34" charset="0"/>
                <a:cs typeface="Calibri" panose="020F0502020204030204" pitchFamily="34" charset="0"/>
              </a:rPr>
              <a:t>		18.2.3 (c)	is known by the Receiving Party prior to its receipt from the Disclosing Party without any obligation of confidentiality with respect thereto, or</a:t>
            </a:r>
          </a:p>
          <a:p>
            <a:pPr marL="362481" indent="-634342" algn="just">
              <a:spcBef>
                <a:spcPts val="591"/>
              </a:spcBef>
            </a:pPr>
            <a:r>
              <a:rPr lang="en-US" sz="1041" dirty="0">
                <a:latin typeface="Calibri" panose="020F0502020204030204" pitchFamily="34" charset="0"/>
                <a:cs typeface="Calibri" panose="020F0502020204030204" pitchFamily="34" charset="0"/>
              </a:rPr>
              <a:t>		18.2.3 (d)	is developed by the Receiving Party independently of any disclosures made by the Disclosing Party to the Receiving Party of such information. In 			addition, the Client acknowledges and agrees that any such information that comes to the attention of Deloitte in the course of performing this 			engagement may be considered and used by Deloitte in the context of responding to its professional obligations as the independent 				accountants for the Client. </a:t>
            </a:r>
          </a:p>
          <a:p>
            <a:pPr marL="362481" indent="-634342" algn="just">
              <a:spcBef>
                <a:spcPts val="591"/>
              </a:spcBef>
            </a:pPr>
            <a:r>
              <a:rPr lang="en-US" sz="1041" dirty="0">
                <a:latin typeface="Calibri" panose="020F0502020204030204" pitchFamily="34" charset="0"/>
                <a:cs typeface="Calibri" panose="020F0502020204030204" pitchFamily="34" charset="0"/>
              </a:rPr>
              <a:t>18.3	Deloitte reports will be for the sole internal use of the Client. Provision of the reports to third parties requires Deloitte’s prior written approval. Third party recipients of the reports will be required to enter into separate arrangements with Deloitte, specifying their intended use of the report(s), or indemnify Deloitte by providing “hold harmless” letters. Deloitte will not unreasonably withhold consent for further distribution of the reports, provided that these terms are adhered to.</a:t>
            </a:r>
          </a:p>
          <a:p>
            <a:pPr marL="362481" indent="-634342" algn="just">
              <a:spcBef>
                <a:spcPts val="591"/>
              </a:spcBef>
            </a:pPr>
            <a:r>
              <a:rPr lang="en-US" sz="1041" dirty="0">
                <a:latin typeface="Calibri" panose="020F0502020204030204" pitchFamily="34" charset="0"/>
                <a:cs typeface="Calibri" panose="020F0502020204030204" pitchFamily="34" charset="0"/>
              </a:rPr>
              <a:t>18.4	Further, the Client agrees that Deloitte may use the Client’s name as a reference, to be included in proposals to other clients and marketing materials developed by Deloitte unless otherwise indicated in writing by the Client.</a:t>
            </a:r>
          </a:p>
          <a:p>
            <a:pPr marL="362481" indent="-634342" algn="just">
              <a:spcBef>
                <a:spcPts val="591"/>
              </a:spcBef>
            </a:pPr>
            <a:r>
              <a:rPr lang="en-US" sz="1041" dirty="0">
                <a:latin typeface="Calibri" panose="020F0502020204030204" pitchFamily="34" charset="0"/>
                <a:cs typeface="Calibri" panose="020F0502020204030204" pitchFamily="34" charset="0"/>
              </a:rPr>
              <a:t>18.5	The Client agrees not to reference Deloitte’s name or Deloitte’s reports, analysis or other documents prepared by Deloitte in whole or in part, in any document distributed to third parties other than the intended users without Deloitte’s written consent.</a:t>
            </a:r>
          </a:p>
          <a:p>
            <a:pPr marL="362481" indent="-634342" algn="just">
              <a:spcBef>
                <a:spcPts val="591"/>
              </a:spcBef>
            </a:pPr>
            <a:r>
              <a:rPr lang="en-US" sz="1041" dirty="0">
                <a:latin typeface="Calibri" panose="020F0502020204030204" pitchFamily="34" charset="0"/>
                <a:cs typeface="Calibri" panose="020F0502020204030204" pitchFamily="34" charset="0"/>
              </a:rPr>
              <a:t>18.6	Neither Deloitte’s name nor the material submitted may be included in any prospectus, newspaper publicity or as a part of any printed material, or used in offerings or representations in connection with the sale of securities or participation interest to the public. </a:t>
            </a:r>
          </a:p>
          <a:p>
            <a:pPr marL="362481" indent="-634342" algn="just">
              <a:spcBef>
                <a:spcPts val="591"/>
              </a:spcBef>
            </a:pPr>
            <a:endParaRPr lang="en-US" sz="991" dirty="0">
              <a:latin typeface="Calibri" panose="020F0502020204030204" pitchFamily="34" charset="0"/>
              <a:cs typeface="Calibri" panose="020F0502020204030204" pitchFamily="34" charset="0"/>
            </a:endParaRPr>
          </a:p>
        </p:txBody>
      </p:sp>
      <p:sp>
        <p:nvSpPr>
          <p:cNvPr id="6" name="Triangle 28">
            <a:extLst>
              <a:ext uri="{FF2B5EF4-FFF2-40B4-BE49-F238E27FC236}">
                <a16:creationId xmlns:a16="http://schemas.microsoft.com/office/drawing/2014/main" id="{1C6E8A1E-B51F-4D43-A138-714D8B2954D4}"/>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879AD871-748A-4BA5-85E7-B577105171D2}"/>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460475579"/>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1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4"/>
            <a:ext cx="10342039" cy="5785593"/>
          </a:xfrm>
          <a:prstGeom prst="rect">
            <a:avLst/>
          </a:prstGeom>
          <a:noFill/>
        </p:spPr>
        <p:txBody>
          <a:bodyPr wrap="square">
            <a:spAutoFit/>
          </a:bodyPr>
          <a:lstStyle/>
          <a:p>
            <a:pPr marL="362481" indent="-634342" algn="just" defTabSz="1208241">
              <a:spcBef>
                <a:spcPts val="591"/>
              </a:spcBef>
              <a:defRPr/>
            </a:pPr>
            <a:r>
              <a:rPr lang="en-US" sz="1041" dirty="0">
                <a:solidFill>
                  <a:srgbClr val="000000"/>
                </a:solidFill>
                <a:latin typeface="Calibri" panose="020F0502020204030204"/>
              </a:rPr>
              <a:t>18.7	In the course of providing the Services, we may make reference to spreadsheets and computer models that Client may provide to Deloitte or ask Deloitte to rely upon (“Client Models”) or that we may have developed or used in connection with the Services (“Deloitte Models”).  All models have limits and may not produce valid results for all possible combinations of input data.  As such, errors and potential errors may go unnoticed.  Unless otherwise expressly agreed in the Proposal:</a:t>
            </a:r>
          </a:p>
          <a:p>
            <a:pPr marL="362481" indent="-634342" algn="just" defTabSz="1208241">
              <a:spcBef>
                <a:spcPts val="591"/>
              </a:spcBef>
              <a:defRPr/>
            </a:pPr>
            <a:r>
              <a:rPr lang="en-US" sz="1041" dirty="0">
                <a:solidFill>
                  <a:srgbClr val="000000"/>
                </a:solidFill>
                <a:latin typeface="Calibri" panose="020F0502020204030204"/>
              </a:rPr>
              <a:t>	18.7.1	Deloitte will not be responsible for reviewing, testing or detecting any errors in any of the Client Models; and</a:t>
            </a:r>
          </a:p>
          <a:p>
            <a:pPr marL="362481" indent="-634342" algn="just" defTabSz="1208241">
              <a:spcBef>
                <a:spcPts val="591"/>
              </a:spcBef>
              <a:defRPr/>
            </a:pPr>
            <a:r>
              <a:rPr lang="en-US" sz="1041" dirty="0">
                <a:solidFill>
                  <a:srgbClr val="000000"/>
                </a:solidFill>
                <a:latin typeface="Calibri" panose="020F0502020204030204"/>
              </a:rPr>
              <a:t>	18.7.2	Deloitte will not provide Client with a copy of Deloitte Models for Client use.</a:t>
            </a:r>
          </a:p>
          <a:p>
            <a:pPr marL="362481" indent="-634342" algn="just" defTabSz="1208241">
              <a:spcBef>
                <a:spcPts val="591"/>
              </a:spcBef>
              <a:defRPr/>
            </a:pPr>
            <a:r>
              <a:rPr lang="en-US" sz="1041" dirty="0">
                <a:solidFill>
                  <a:srgbClr val="000000"/>
                </a:solidFill>
                <a:latin typeface="Calibri" panose="020F0502020204030204"/>
              </a:rPr>
              <a:t>18.8	Deloitte owes no duty of performance to any party other than the Client. </a:t>
            </a:r>
          </a:p>
          <a:p>
            <a:pPr marL="362481" indent="-634342" algn="just" defTabSz="1208241">
              <a:spcBef>
                <a:spcPts val="591"/>
              </a:spcBef>
              <a:defRPr/>
            </a:pPr>
            <a:endParaRPr lang="en-US" sz="1041" dirty="0">
              <a:solidFill>
                <a:srgbClr val="000000"/>
              </a:solidFill>
              <a:latin typeface="Calibri" panose="020F0502020204030204"/>
            </a:endParaRPr>
          </a:p>
          <a:p>
            <a:pPr marL="362481" indent="-634342" algn="just" defTabSz="1208241">
              <a:spcBef>
                <a:spcPts val="591"/>
              </a:spcBef>
              <a:defRPr/>
            </a:pPr>
            <a:r>
              <a:rPr lang="en-US" sz="1041" b="1" dirty="0">
                <a:solidFill>
                  <a:srgbClr val="000000"/>
                </a:solidFill>
                <a:latin typeface="Calibri" panose="020F0502020204030204"/>
              </a:rPr>
              <a:t>19	Privacy and Data Protection.</a:t>
            </a:r>
          </a:p>
          <a:p>
            <a:pPr marL="362481" indent="-634342" algn="just" defTabSz="1208241">
              <a:spcBef>
                <a:spcPts val="591"/>
              </a:spcBef>
              <a:defRPr/>
            </a:pPr>
            <a:r>
              <a:rPr lang="en-US" sz="1041" dirty="0">
                <a:solidFill>
                  <a:srgbClr val="000000"/>
                </a:solidFill>
                <a:latin typeface="Calibri" panose="020F0502020204030204"/>
              </a:rPr>
              <a:t>19.1	The Client acknowledges that Personal Data may be processed by Deloitte, either in its capacity as a Controller or as a Processor (as applicable), for the purpose of, or in connection with:</a:t>
            </a:r>
          </a:p>
          <a:p>
            <a:pPr marL="362481" indent="-634342" algn="just" defTabSz="1208241">
              <a:spcBef>
                <a:spcPts val="591"/>
              </a:spcBef>
              <a:defRPr/>
            </a:pPr>
            <a:r>
              <a:rPr lang="en-US" sz="1041" dirty="0">
                <a:solidFill>
                  <a:srgbClr val="000000"/>
                </a:solidFill>
                <a:latin typeface="Calibri" panose="020F0502020204030204"/>
              </a:rPr>
              <a:t>	19.1.1	The provision of the Services;</a:t>
            </a:r>
          </a:p>
          <a:p>
            <a:pPr marL="362481" indent="-634342" algn="just" defTabSz="1208241">
              <a:spcBef>
                <a:spcPts val="591"/>
              </a:spcBef>
              <a:defRPr/>
            </a:pPr>
            <a:r>
              <a:rPr lang="en-US" sz="1041" dirty="0">
                <a:solidFill>
                  <a:srgbClr val="000000"/>
                </a:solidFill>
                <a:latin typeface="Calibri" panose="020F0502020204030204"/>
              </a:rPr>
              <a:t>	19.1.2	Applicable legal or regulatory requirements;</a:t>
            </a:r>
          </a:p>
          <a:p>
            <a:pPr marL="362481" indent="-634342" algn="just" defTabSz="1208241">
              <a:spcBef>
                <a:spcPts val="591"/>
              </a:spcBef>
              <a:defRPr/>
            </a:pPr>
            <a:r>
              <a:rPr lang="en-US" sz="1041" dirty="0">
                <a:solidFill>
                  <a:srgbClr val="000000"/>
                </a:solidFill>
                <a:latin typeface="Calibri" panose="020F0502020204030204"/>
              </a:rPr>
              <a:t>	19.1.3	Requests and communications with competent authorities;</a:t>
            </a:r>
          </a:p>
          <a:p>
            <a:pPr marL="362481" indent="-634342" algn="just" defTabSz="1208241">
              <a:spcBef>
                <a:spcPts val="591"/>
              </a:spcBef>
              <a:defRPr/>
            </a:pPr>
            <a:r>
              <a:rPr lang="en-US" sz="1041" dirty="0">
                <a:solidFill>
                  <a:srgbClr val="000000"/>
                </a:solidFill>
                <a:latin typeface="Calibri" panose="020F0502020204030204"/>
              </a:rPr>
              <a:t>	19.1.4	Internal and external audits, and/or</a:t>
            </a:r>
          </a:p>
          <a:p>
            <a:pPr marL="362481" indent="-634342" algn="just" defTabSz="1208241">
              <a:spcBef>
                <a:spcPts val="591"/>
              </a:spcBef>
              <a:defRPr/>
            </a:pPr>
            <a:r>
              <a:rPr lang="en-US" sz="1041" dirty="0">
                <a:solidFill>
                  <a:srgbClr val="000000"/>
                </a:solidFill>
                <a:latin typeface="Calibri" panose="020F0502020204030204"/>
              </a:rPr>
              <a:t>	19.1.5	Administrative, financial, accounting, risk analysis, and client relationship purposes (the “Purposes”).</a:t>
            </a:r>
          </a:p>
          <a:p>
            <a:pPr marL="362481" indent="-634342" algn="just" defTabSz="1208241">
              <a:spcBef>
                <a:spcPts val="591"/>
              </a:spcBef>
              <a:defRPr/>
            </a:pPr>
            <a:r>
              <a:rPr lang="en-US" sz="1041" dirty="0">
                <a:solidFill>
                  <a:srgbClr val="000000"/>
                </a:solidFill>
                <a:latin typeface="Calibri" panose="020F0502020204030204"/>
              </a:rPr>
              <a:t>19.2	“Personal Data” means any information relating to an identified or identifiable natural person (“data subject”); an identifiable person is one who can be identified, directly or indirectly, in particular by reference to an identifier such as a name, an identification number, location data, an online identifier or to one or more factors specific to the physical, physiological, genetic, mental, economic, cultural or social identity of that natural person.</a:t>
            </a:r>
          </a:p>
          <a:p>
            <a:pPr marL="362481" indent="-634342" algn="just" defTabSz="1208241">
              <a:spcBef>
                <a:spcPts val="591"/>
              </a:spcBef>
              <a:defRPr/>
            </a:pPr>
            <a:r>
              <a:rPr lang="en-US" sz="1041" dirty="0">
                <a:solidFill>
                  <a:srgbClr val="000000"/>
                </a:solidFill>
                <a:latin typeface="Calibri" panose="020F0502020204030204"/>
              </a:rPr>
              <a:t>19.3	“Data Protection Legislation” means any applicable data protection legislation as amended, replaced or superseded from time to time. </a:t>
            </a:r>
          </a:p>
          <a:p>
            <a:pPr marL="362481" indent="-634342" algn="just" defTabSz="1208241">
              <a:spcBef>
                <a:spcPts val="591"/>
              </a:spcBef>
              <a:defRPr/>
            </a:pPr>
            <a:r>
              <a:rPr lang="en-US" sz="1041" dirty="0">
                <a:solidFill>
                  <a:srgbClr val="000000"/>
                </a:solidFill>
                <a:latin typeface="Calibri" panose="020F0502020204030204"/>
              </a:rPr>
              <a:t>19.4	“Deloitte Personal Data” means any Personal Data of Deloitte employees and or/clients processed by the Client on behalf of Deloitte pursuant to or in connection with the Proposal.</a:t>
            </a:r>
          </a:p>
          <a:p>
            <a:pPr marL="362481" indent="-634342" algn="just" defTabSz="1208241">
              <a:spcBef>
                <a:spcPts val="591"/>
              </a:spcBef>
              <a:defRPr/>
            </a:pPr>
            <a:r>
              <a:rPr lang="en-US" sz="1041" dirty="0">
                <a:solidFill>
                  <a:srgbClr val="000000"/>
                </a:solidFill>
                <a:latin typeface="Calibri" panose="020F0502020204030204"/>
              </a:rPr>
              <a:t>19.5	“Controller” means a legal person which, alone or jointly with others, determines the purposes and means of the processing of Personal Data.</a:t>
            </a:r>
          </a:p>
          <a:p>
            <a:pPr marL="362481" indent="-634342" algn="just" defTabSz="1208241">
              <a:spcBef>
                <a:spcPts val="591"/>
              </a:spcBef>
              <a:defRPr/>
            </a:pPr>
            <a:r>
              <a:rPr lang="en-US" sz="1041" dirty="0">
                <a:solidFill>
                  <a:srgbClr val="000000"/>
                </a:solidFill>
                <a:latin typeface="Calibri" panose="020F0502020204030204"/>
              </a:rPr>
              <a:t>19.6	“Processor” means a natural or legal person which processes Personal Data on behalf of the Controller.</a:t>
            </a:r>
          </a:p>
          <a:p>
            <a:pPr marL="362481" indent="-634342" algn="just" defTabSz="1208241">
              <a:spcBef>
                <a:spcPts val="591"/>
              </a:spcBef>
              <a:defRPr/>
            </a:pPr>
            <a:r>
              <a:rPr lang="en-US" sz="1041" dirty="0">
                <a:solidFill>
                  <a:srgbClr val="000000"/>
                </a:solidFill>
                <a:latin typeface="Calibri" panose="020F0502020204030204"/>
              </a:rPr>
              <a:t>	19.6.1	The Client acknowledges that without the provision of the requested Personal Data, Deloitte may not be able to provide the Services to the Client or carry out any of 	the other Purposes referenced herein. In providing the Services to the Client or otherwise in connection with the Services, Deloitte may also occasionally contact the 	Client with details of events/seminars Deloitte is holding, Deloitte may send you publications or newsletters which we believe are of interest to the Client, or provide 	the Client with direct marketing or promotional communication for subjects which may be of interest to the Client.</a:t>
            </a:r>
          </a:p>
          <a:p>
            <a:pPr marL="362481" indent="-634342" algn="just" defTabSz="1208241">
              <a:spcBef>
                <a:spcPts val="591"/>
              </a:spcBef>
              <a:defRPr/>
            </a:pPr>
            <a:endParaRPr lang="en-US" sz="104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2276DE60-7B37-473C-BD26-FF85DD908F69}"/>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2DFBDA7B-EDCF-4260-82EA-DE22E59F1324}"/>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645032493"/>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2 of 18)</a:t>
            </a:r>
          </a:p>
        </p:txBody>
      </p:sp>
      <p:sp>
        <p:nvSpPr>
          <p:cNvPr id="6" name="Triangle 28">
            <a:extLst>
              <a:ext uri="{FF2B5EF4-FFF2-40B4-BE49-F238E27FC236}">
                <a16:creationId xmlns:a16="http://schemas.microsoft.com/office/drawing/2014/main" id="{37B9547B-750D-4A2D-868E-A341B06005F2}"/>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7EE52D27-3237-41BB-BE8B-023B70715AAC}"/>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8" name="TextBox 7">
            <a:extLst>
              <a:ext uri="{FF2B5EF4-FFF2-40B4-BE49-F238E27FC236}">
                <a16:creationId xmlns:a16="http://schemas.microsoft.com/office/drawing/2014/main" id="{DF27B3BF-04FB-42F4-865E-90D6CECDEE3B}"/>
              </a:ext>
            </a:extLst>
          </p:cNvPr>
          <p:cNvSpPr txBox="1"/>
          <p:nvPr/>
        </p:nvSpPr>
        <p:spPr bwMode="gray">
          <a:xfrm>
            <a:off x="522377" y="761806"/>
            <a:ext cx="10342039" cy="6265820"/>
          </a:xfrm>
          <a:prstGeom prst="rect">
            <a:avLst/>
          </a:prstGeom>
          <a:noFill/>
        </p:spPr>
        <p:txBody>
          <a:bodyPr wrap="square">
            <a:spAutoFit/>
          </a:bodyPr>
          <a:lstStyle/>
          <a:p>
            <a:pPr marL="362481" indent="-634342" algn="just" defTabSz="1208241">
              <a:spcBef>
                <a:spcPts val="591"/>
              </a:spcBef>
              <a:defRPr/>
            </a:pPr>
            <a:r>
              <a:rPr lang="en-US" sz="1041" dirty="0">
                <a:solidFill>
                  <a:srgbClr val="000000"/>
                </a:solidFill>
                <a:latin typeface="Calibri" panose="020F0502020204030204"/>
              </a:rPr>
              <a:t>	19.6.2	Personal Data may be disclosed to, and processed by, other members of the Deloitte Network, Deloitte’s service providers and competent authorities for one or more 	of the Purposes. The processing and disclosure of Personal Data may involve the transfer of Personal Data to other jurisdictions cross border only insofar as such a 	transfer is necessary for the performance of the Agreement. In such cases, Deloitte shall take adequate measures to ensure that such transfer is in compliance with 	applicable Data Protection Legislation or according to Deloitte’s Privacy Policies and Procedures and that direct recipients shall provide the same level of protection. 	Deloitte has in place appropriate technical and organizational measures to ensure that the Personal Data are secure, having regard to the level of the risk, the state of 	technological development and the costs of implementation. Deloitte shall ensure that all persons authorized to process the Personal Data for the Purposes (including, 	without limitation, Deloitte’s employees, agents or contractors) are obliged to keep the Personal Data confidential.</a:t>
            </a:r>
          </a:p>
          <a:p>
            <a:pPr marL="362481" indent="-634342" algn="just" defTabSz="1208241">
              <a:spcBef>
                <a:spcPts val="591"/>
              </a:spcBef>
              <a:defRPr/>
            </a:pPr>
            <a:r>
              <a:rPr lang="en-US" sz="1041" dirty="0">
                <a:solidFill>
                  <a:srgbClr val="000000"/>
                </a:solidFill>
                <a:latin typeface="Calibri" panose="020F0502020204030204"/>
              </a:rPr>
              <a:t>	19.6.3	Where Deloitte acts as a Processor, it shall additionally:</a:t>
            </a:r>
          </a:p>
          <a:p>
            <a:pPr marL="362481" indent="-634342" algn="just" defTabSz="1208241">
              <a:spcBef>
                <a:spcPts val="591"/>
              </a:spcBef>
              <a:defRPr/>
            </a:pPr>
            <a:r>
              <a:rPr lang="en-US" sz="1041" dirty="0">
                <a:solidFill>
                  <a:srgbClr val="000000"/>
                </a:solidFill>
                <a:latin typeface="Calibri" panose="020F0502020204030204"/>
              </a:rPr>
              <a:t>		19.6.3 (a)	Process Personal Data on the lawful written instructions of the Client;</a:t>
            </a:r>
          </a:p>
          <a:p>
            <a:pPr marL="362481" indent="-634342" algn="just" defTabSz="1208241">
              <a:spcBef>
                <a:spcPts val="591"/>
              </a:spcBef>
              <a:defRPr/>
            </a:pPr>
            <a:r>
              <a:rPr lang="en-US" sz="1041" dirty="0">
                <a:solidFill>
                  <a:srgbClr val="000000"/>
                </a:solidFill>
                <a:latin typeface="Calibri" panose="020F0502020204030204"/>
              </a:rPr>
              <a:t>		19.6.3 (b)	Provide reasonable assistance to the Client, at the Client’s cost, in responding to any data subject request in relation to the data subjects’ rights 		and in ensuring compliance with its obligations under the applicable Data Protection Legislation and Deloitte’s Privacy Policies and Procedures 		in relation to security, breach notifications, impact assessments and consultations with supervisory authorities;</a:t>
            </a:r>
          </a:p>
          <a:p>
            <a:pPr marL="362481" indent="-634342" algn="just" defTabSz="1208241">
              <a:spcBef>
                <a:spcPts val="591"/>
              </a:spcBef>
              <a:defRPr/>
            </a:pPr>
            <a:r>
              <a:rPr lang="en-US" sz="1041" dirty="0">
                <a:solidFill>
                  <a:srgbClr val="000000"/>
                </a:solidFill>
                <a:latin typeface="Calibri" panose="020F0502020204030204"/>
              </a:rPr>
              <a:t>		19.6.3 (c)	Notify the Client without undue delay on becoming aware of a personal data breach where the Personal Data have been, or are likely to have 		been, compromised;</a:t>
            </a:r>
          </a:p>
          <a:p>
            <a:pPr marL="362481" indent="-634342" algn="just" defTabSz="1208241">
              <a:spcBef>
                <a:spcPts val="591"/>
              </a:spcBef>
              <a:defRPr/>
            </a:pPr>
            <a:r>
              <a:rPr lang="en-US" sz="1041" dirty="0">
                <a:solidFill>
                  <a:srgbClr val="000000"/>
                </a:solidFill>
                <a:latin typeface="Calibri" panose="020F0502020204030204"/>
              </a:rPr>
              <a:t>		19.6.3 (d)	At the written direction of the Client, delete or return Personal Data and copies thereof on termination of the Agreement, subject to the 		provisions of any legal and/or regulatory requirements with which Deloitte must comply;</a:t>
            </a:r>
          </a:p>
          <a:p>
            <a:pPr marL="362481" indent="-634342" algn="just" defTabSz="1208241">
              <a:spcBef>
                <a:spcPts val="591"/>
              </a:spcBef>
              <a:defRPr/>
            </a:pPr>
            <a:r>
              <a:rPr lang="en-US" sz="1041" dirty="0">
                <a:solidFill>
                  <a:srgbClr val="000000"/>
                </a:solidFill>
                <a:latin typeface="Calibri" panose="020F0502020204030204"/>
              </a:rPr>
              <a:t>		19.6.3 (e)	Make available to the Client, upon the Client’s request, all information necessary to demonstrate compliance with this Clause; and</a:t>
            </a:r>
          </a:p>
          <a:p>
            <a:pPr marL="362481" indent="-634342" algn="just" defTabSz="1208241">
              <a:spcBef>
                <a:spcPts val="591"/>
              </a:spcBef>
              <a:defRPr/>
            </a:pPr>
            <a:r>
              <a:rPr lang="en-US" sz="1041" dirty="0">
                <a:solidFill>
                  <a:srgbClr val="000000"/>
                </a:solidFill>
                <a:latin typeface="Calibri" panose="020F0502020204030204"/>
              </a:rPr>
              <a:t>		19.6.3 (f)	Engage other sub-processors only with the prior notification of the Client and provided Deloitte will enter into a written agreement with such 		sub-processors, incorporating terms, which are substantially similar to this Clause.</a:t>
            </a:r>
          </a:p>
          <a:p>
            <a:pPr marL="362481" indent="-634342" algn="just" defTabSz="1208241">
              <a:spcBef>
                <a:spcPts val="591"/>
              </a:spcBef>
              <a:defRPr/>
            </a:pPr>
            <a:r>
              <a:rPr lang="en-US" sz="1041" dirty="0">
                <a:solidFill>
                  <a:srgbClr val="000000"/>
                </a:solidFill>
                <a:latin typeface="Calibri" panose="020F0502020204030204"/>
              </a:rPr>
              <a:t>	19.6.4	Where Deloitte acts as a Processor, the Client agrees that it shall communicate to Deloitte any rectification or erasure of any Personal Data which Deloitte holds or 	restriction of processing of such Personal Data to Deloitte unless, in Client’s reasonable opinion, such communication proves impossible or involves disproportionate 	effort.</a:t>
            </a:r>
          </a:p>
          <a:p>
            <a:pPr marL="362481" indent="-634342" algn="just" defTabSz="1208241">
              <a:spcBef>
                <a:spcPts val="591"/>
              </a:spcBef>
              <a:defRPr/>
            </a:pPr>
            <a:r>
              <a:rPr lang="en-US" sz="1041" dirty="0">
                <a:solidFill>
                  <a:srgbClr val="000000"/>
                </a:solidFill>
                <a:latin typeface="Calibri" panose="020F0502020204030204"/>
              </a:rPr>
              <a:t>	19.6.5.	The parties acknowledge and agree that this Data Protection Clause forms a summary of the applicable Deloitte privacy policy (the “Privacy Policy”).   </a:t>
            </a:r>
          </a:p>
          <a:p>
            <a:pPr marL="362481" indent="-634342" algn="just" defTabSz="1208241">
              <a:spcBef>
                <a:spcPts val="591"/>
              </a:spcBef>
              <a:defRPr/>
            </a:pPr>
            <a:r>
              <a:rPr lang="en-US" sz="1041" dirty="0">
                <a:solidFill>
                  <a:srgbClr val="000000"/>
                </a:solidFill>
                <a:latin typeface="Calibri" panose="020F0502020204030204"/>
              </a:rPr>
              <a:t>	19.6.6.	Deloitte may retain any Personal Data provided by the Client in connection with the Purposes in accordance with Deloitte’s data retention policy which may be found 	in the Privacy Statement and which is in compliance with applicable Data Protection Legislation.</a:t>
            </a:r>
          </a:p>
          <a:p>
            <a:pPr marL="362481" indent="-634342" algn="just" defTabSz="1208241">
              <a:spcBef>
                <a:spcPts val="591"/>
              </a:spcBef>
              <a:defRPr/>
            </a:pPr>
            <a:r>
              <a:rPr lang="en-US" sz="1041" dirty="0">
                <a:solidFill>
                  <a:srgbClr val="000000"/>
                </a:solidFill>
                <a:latin typeface="Calibri" panose="020F0502020204030204"/>
              </a:rPr>
              <a:t>	19.6.7.	The Client shall ensure that it has all necessary consents and notices in place to enable the lawful transfer of the Personal Data to Deloitte for the duration and 	Purposes of this Agreement. Both parties will comply with all requirements of the applicable Data Protection Legislation and Deloitte’s Privacy Policies and Procedures 	when processing Personal Data. The Client shall ensure that it does not knowingly or negligently do or omit to do anything which places Deloitte in breach of its 	obligations under the Data Protection Legislation. The Client shall indemnify Deloitte against all costs, expenses (including legal expenses), damages, loss (including 	loss of business or loss of profits), liabilities, demands, claims, actions or proceedings, which Deloitte may incur arising out of any breach by the Client of its obligations 	under these Data Protection Legislation clauses.</a:t>
            </a:r>
          </a:p>
          <a:p>
            <a:pPr marL="362481" indent="-634342" algn="just" defTabSz="1208241">
              <a:spcBef>
                <a:spcPts val="591"/>
              </a:spcBef>
              <a:defRPr/>
            </a:pPr>
            <a:endParaRPr lang="en-US" sz="891" dirty="0">
              <a:solidFill>
                <a:srgbClr val="000000"/>
              </a:solidFill>
              <a:latin typeface="Calibri" panose="020F0502020204030204"/>
            </a:endParaRPr>
          </a:p>
        </p:txBody>
      </p:sp>
    </p:spTree>
    <p:extLst>
      <p:ext uri="{BB962C8B-B14F-4D97-AF65-F5344CB8AC3E}">
        <p14:creationId xmlns:p14="http://schemas.microsoft.com/office/powerpoint/2010/main" val="2090644594"/>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3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5"/>
            <a:ext cx="10342039" cy="3593432"/>
          </a:xfrm>
          <a:prstGeom prst="rect">
            <a:avLst/>
          </a:prstGeom>
          <a:noFill/>
        </p:spPr>
        <p:txBody>
          <a:bodyPr wrap="square">
            <a:spAutoFit/>
          </a:bodyPr>
          <a:lstStyle/>
          <a:p>
            <a:pPr marL="362481" indent="-634342" algn="just">
              <a:spcBef>
                <a:spcPts val="591"/>
              </a:spcBef>
            </a:pPr>
            <a:r>
              <a:rPr lang="en-US" sz="1041" dirty="0">
                <a:solidFill>
                  <a:srgbClr val="000000"/>
                </a:solidFill>
                <a:latin typeface="Calibri" panose="020F0502020204030204"/>
              </a:rPr>
              <a:t>	19.6.8.	The following two clauses are applicable when Deloitte acts as a Controller and provides services to Individuals ONLY. These clauses will not be applicable in 	case Deloitte acts as a Controller and provides services to legal entities or in case Deloitte acts as a Processor:</a:t>
            </a:r>
          </a:p>
          <a:p>
            <a:pPr marL="362481" indent="-634342" algn="just">
              <a:spcBef>
                <a:spcPts val="591"/>
              </a:spcBef>
            </a:pPr>
            <a:r>
              <a:rPr lang="en-US" sz="1041" dirty="0">
                <a:solidFill>
                  <a:srgbClr val="000000"/>
                </a:solidFill>
                <a:latin typeface="Calibri" panose="020F0502020204030204"/>
              </a:rPr>
              <a:t>		19.6.8 (a) 	The Client has the right to request from Deloitte at any time access to, rectification or erasure of his/her Personal Data or restriction of 				processing of his/her Personal Data concerning him/her or to object to processing as well as the right to data portability. The Client can 	find further details 		in relation to his rights and the extent to which he can exercise them in Deloitte’s Privacy Policy.</a:t>
            </a:r>
          </a:p>
          <a:p>
            <a:pPr marL="362481" indent="-634342" algn="just">
              <a:spcBef>
                <a:spcPts val="591"/>
              </a:spcBef>
            </a:pPr>
            <a:r>
              <a:rPr lang="en-US" sz="1041" dirty="0">
                <a:solidFill>
                  <a:srgbClr val="000000"/>
                </a:solidFill>
                <a:latin typeface="Calibri" panose="020F0502020204030204"/>
              </a:rPr>
              <a:t>		19.6.8 (b)	If the Client has a complaint or query with regards to the way his/her Personal Data are handled by Deloitte, the Client can contact the 				Privacy Office at DMEprivacy@deloitte.com.  If the Client is not satisfied with the way Deloitte has handled a complaint regarding his/her 			Personal Data, the client has the right to lodge a complaint with the Data Protection Authority, where applicable.</a:t>
            </a:r>
          </a:p>
          <a:p>
            <a:pPr marL="362481" indent="-634342" algn="just">
              <a:spcBef>
                <a:spcPts val="591"/>
              </a:spcBef>
            </a:pPr>
            <a:r>
              <a:rPr lang="en-US" sz="1041" dirty="0">
                <a:solidFill>
                  <a:srgbClr val="000000"/>
                </a:solidFill>
                <a:latin typeface="Calibri" panose="020F0502020204030204"/>
              </a:rPr>
              <a:t>19.7	Transfer of Confidential and Personal Information:</a:t>
            </a:r>
          </a:p>
          <a:p>
            <a:pPr marL="362481" indent="-634342" algn="just">
              <a:spcBef>
                <a:spcPts val="591"/>
              </a:spcBef>
            </a:pPr>
            <a:r>
              <a:rPr lang="en-US" sz="1041" dirty="0">
                <a:solidFill>
                  <a:srgbClr val="000000"/>
                </a:solidFill>
                <a:latin typeface="Calibri" panose="020F0502020204030204"/>
              </a:rPr>
              <a:t>	Notwithstanding any other term in this Agreement, the Client Group’s management acting on behalf of its shareholders provide their consent by signing this Agreement that, Deloitte may transfer the Group’s information to other members of the Deloitte Network, third parties or contractors providing administrative, infrastructure and other support services such as audit review support and subcontractors providing services as part of the engagement to store and process any information received, wherever located within or outside of </a:t>
            </a:r>
            <a:r>
              <a:rPr lang="en-US" sz="1041" b="1" dirty="0">
                <a:solidFill>
                  <a:srgbClr val="000000"/>
                </a:solidFill>
                <a:latin typeface="Calibri" panose="020F0502020204030204"/>
              </a:rPr>
              <a:t>the Kingdom of Saudi Arabia</a:t>
            </a:r>
            <a:r>
              <a:rPr lang="en-US" sz="1041" dirty="0">
                <a:solidFill>
                  <a:srgbClr val="000000"/>
                </a:solidFill>
                <a:latin typeface="Calibri" panose="020F0502020204030204"/>
              </a:rPr>
              <a:t>. In this respect, third parties are bound by similar Confidentiality, Privacy and Data Security Obligations (“Confidentiality and Privacy Obligations”) to those contained in this Agreement. In addition, such third parties will keep all data confidential and private and will be shared with their employees/ management/ partners/ agents/ officers/ members strictly on a need to know basis (“Authorized Recipient”). The Authorized Recipients are also bound by similar Confidentiality and Privacy Obligations. Each party shall be solely responsible for its own breach of Confidentiality and Privacy obligations including that of its Authorized Recipient. The above provision is as an express written consent from the Client Group’s management acting on behalf of its shareholders regarding the transfer of the Client Group’s information to the abovementioned third parties.</a:t>
            </a:r>
          </a:p>
          <a:p>
            <a:pPr marL="362481" indent="-634342" algn="just">
              <a:spcBef>
                <a:spcPts val="591"/>
              </a:spcBef>
            </a:pPr>
            <a:endParaRPr lang="en-US" sz="1041" dirty="0">
              <a:solidFill>
                <a:srgbClr val="000000"/>
              </a:solidFill>
              <a:latin typeface="Calibri" panose="020F0502020204030204"/>
            </a:endParaRPr>
          </a:p>
          <a:p>
            <a:pPr marL="362481" indent="-634342" algn="just">
              <a:spcBef>
                <a:spcPts val="591"/>
              </a:spcBef>
            </a:pPr>
            <a:endParaRPr lang="en-US" sz="104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525E3C6D-388D-47A3-8AA1-F998B112FFD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4803437E-E425-463D-B730-90E63C10F04C}"/>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179121647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6">
            <a:extLst>
              <a:ext uri="{FF2B5EF4-FFF2-40B4-BE49-F238E27FC236}">
                <a16:creationId xmlns:a16="http://schemas.microsoft.com/office/drawing/2014/main" id="{36AA4147-F54A-4DCD-8F70-AC74104C5B7C}"/>
              </a:ext>
            </a:extLst>
          </p:cNvPr>
          <p:cNvSpPr>
            <a:spLocks noGrp="1"/>
          </p:cNvSpPr>
          <p:nvPr>
            <p:ph type="body" sz="quarter" idx="13"/>
          </p:nvPr>
        </p:nvSpPr>
        <p:spPr>
          <a:xfrm>
            <a:off x="522373" y="761804"/>
            <a:ext cx="11147258" cy="750193"/>
          </a:xfrm>
        </p:spPr>
        <p:txBody>
          <a:bodyPr/>
          <a:lstStyle/>
          <a:p>
            <a:pPr>
              <a:lnSpc>
                <a:spcPct val="120000"/>
              </a:lnSpc>
            </a:pPr>
            <a:r>
              <a:rPr lang="en-US" dirty="0">
                <a:solidFill>
                  <a:srgbClr val="00A3E0"/>
                </a:solidFill>
                <a:cs typeface="Calibri" panose="020F0502020204030204" pitchFamily="34" charset="0"/>
              </a:rPr>
              <a:t>Our BCM Profile</a:t>
            </a:r>
          </a:p>
        </p:txBody>
      </p:sp>
      <p:sp>
        <p:nvSpPr>
          <p:cNvPr id="89" name="Title 1">
            <a:extLst>
              <a:ext uri="{FF2B5EF4-FFF2-40B4-BE49-F238E27FC236}">
                <a16:creationId xmlns:a16="http://schemas.microsoft.com/office/drawing/2014/main" id="{AE1B16E5-D504-4B8A-BB8F-92CD1666E2F1}"/>
              </a:ext>
            </a:extLst>
          </p:cNvPr>
          <p:cNvSpPr>
            <a:spLocks noGrp="1"/>
          </p:cNvSpPr>
          <p:nvPr>
            <p:ph type="title"/>
          </p:nvPr>
        </p:nvSpPr>
        <p:spPr>
          <a:xfrm>
            <a:off x="522373" y="430820"/>
            <a:ext cx="11147258" cy="330986"/>
          </a:xfrm>
        </p:spPr>
        <p:txBody>
          <a:bodyPr/>
          <a:lstStyle/>
          <a:p>
            <a:r>
              <a:rPr lang="en-US" sz="2382" dirty="0">
                <a:solidFill>
                  <a:prstClr val="black"/>
                </a:solidFill>
                <a:cs typeface="Calibri" panose="020F0502020204030204" pitchFamily="34" charset="0"/>
              </a:rPr>
              <a:t>Our Capabilities</a:t>
            </a:r>
          </a:p>
        </p:txBody>
      </p:sp>
      <p:sp>
        <p:nvSpPr>
          <p:cNvPr id="35" name="TextBox 34">
            <a:extLst>
              <a:ext uri="{FF2B5EF4-FFF2-40B4-BE49-F238E27FC236}">
                <a16:creationId xmlns:a16="http://schemas.microsoft.com/office/drawing/2014/main" id="{DF013F7C-E39D-41E3-829B-BAE1DCA6334C}"/>
              </a:ext>
            </a:extLst>
          </p:cNvPr>
          <p:cNvSpPr txBox="1"/>
          <p:nvPr/>
        </p:nvSpPr>
        <p:spPr>
          <a:xfrm>
            <a:off x="522378" y="1274370"/>
            <a:ext cx="5234508" cy="1099532"/>
          </a:xfrm>
          <a:prstGeom prst="rect">
            <a:avLst/>
          </a:prstGeom>
          <a:noFill/>
        </p:spPr>
        <p:txBody>
          <a:bodyPr wrap="square" lIns="0" tIns="0" rIns="0" bIns="0" rtlCol="0">
            <a:spAutoFit/>
          </a:bodyPr>
          <a:lstStyle/>
          <a:p>
            <a:pPr>
              <a:spcBef>
                <a:spcPts val="591"/>
              </a:spcBef>
              <a:buSzPct val="100000"/>
            </a:pPr>
            <a:r>
              <a:rPr lang="en-US" sz="1191" b="1" dirty="0">
                <a:solidFill>
                  <a:srgbClr val="008BA4"/>
                </a:solidFill>
                <a:latin typeface="Calibri" panose="020F0502020204030204" pitchFamily="34" charset="0"/>
                <a:cs typeface="Calibri" panose="020F0502020204030204" pitchFamily="34" charset="0"/>
              </a:rPr>
              <a:t>Why Deloitte?</a:t>
            </a:r>
          </a:p>
          <a:p>
            <a:pPr>
              <a:spcBef>
                <a:spcPts val="591"/>
              </a:spcBef>
              <a:buSzPct val="100000"/>
            </a:pPr>
            <a:r>
              <a:rPr lang="en-US" sz="1091" dirty="0">
                <a:solidFill>
                  <a:srgbClr val="313131"/>
                </a:solidFill>
                <a:latin typeface="Calibri" panose="020F0502020204030204" pitchFamily="34" charset="0"/>
                <a:cs typeface="Calibri" panose="020F0502020204030204" pitchFamily="34" charset="0"/>
              </a:rPr>
              <a:t>Deloitte - an award-winning service provider for Crisis &amp; Resilience (C&amp;R) and global C&amp;R thought leader - can help public and private entities successfully implement the requirements in the ISO 22301:2019 - Business Continuity Management Systems – standard, ISO 22361:2022 – Crisis Management – Guidelines and ISO 22316:2017 – Security and Resilience.</a:t>
            </a:r>
          </a:p>
        </p:txBody>
      </p:sp>
      <p:sp>
        <p:nvSpPr>
          <p:cNvPr id="36" name="TextBox 35">
            <a:extLst>
              <a:ext uri="{FF2B5EF4-FFF2-40B4-BE49-F238E27FC236}">
                <a16:creationId xmlns:a16="http://schemas.microsoft.com/office/drawing/2014/main" id="{AB7D4A12-0191-4595-9B2B-9ED948A359A1}"/>
              </a:ext>
            </a:extLst>
          </p:cNvPr>
          <p:cNvSpPr txBox="1"/>
          <p:nvPr/>
        </p:nvSpPr>
        <p:spPr>
          <a:xfrm>
            <a:off x="5980759" y="1273853"/>
            <a:ext cx="5113806" cy="929962"/>
          </a:xfrm>
          <a:prstGeom prst="rect">
            <a:avLst/>
          </a:prstGeom>
          <a:noFill/>
        </p:spPr>
        <p:txBody>
          <a:bodyPr wrap="square" lIns="0" tIns="0" rIns="0" bIns="0" rtlCol="0">
            <a:spAutoFit/>
          </a:bodyPr>
          <a:lstStyle/>
          <a:p>
            <a:pPr>
              <a:spcBef>
                <a:spcPts val="591"/>
              </a:spcBef>
              <a:buSzPct val="100000"/>
            </a:pPr>
            <a:r>
              <a:rPr lang="en-US" sz="1191" b="1" dirty="0">
                <a:solidFill>
                  <a:srgbClr val="008BA4"/>
                </a:solidFill>
                <a:latin typeface="Calibri" panose="020F0502020204030204" pitchFamily="34" charset="0"/>
                <a:cs typeface="Calibri" panose="020F0502020204030204" pitchFamily="34" charset="0"/>
              </a:rPr>
              <a:t>Extensive Experience</a:t>
            </a:r>
          </a:p>
          <a:p>
            <a:pPr>
              <a:spcBef>
                <a:spcPts val="591"/>
              </a:spcBef>
              <a:buSzPct val="100000"/>
            </a:pPr>
            <a:r>
              <a:rPr lang="en-US" sz="1091" dirty="0">
                <a:solidFill>
                  <a:srgbClr val="313131"/>
                </a:solidFill>
                <a:latin typeface="Calibri" panose="020F0502020204030204" pitchFamily="34" charset="0"/>
                <a:cs typeface="Calibri" panose="020F0502020204030204" pitchFamily="34" charset="0"/>
              </a:rPr>
              <a:t>We have delivered full BCM implementations, IT Disaster Recovery Management programs, assessed organizational readiness and maturity and advised on best BCM practices for government, semi-government and private sector organizations in multiple industries. </a:t>
            </a:r>
          </a:p>
        </p:txBody>
      </p:sp>
      <p:sp>
        <p:nvSpPr>
          <p:cNvPr id="37" name="TextBox 36">
            <a:extLst>
              <a:ext uri="{FF2B5EF4-FFF2-40B4-BE49-F238E27FC236}">
                <a16:creationId xmlns:a16="http://schemas.microsoft.com/office/drawing/2014/main" id="{40A7D537-DB9A-4541-BE09-563A8F65D8A4}"/>
              </a:ext>
            </a:extLst>
          </p:cNvPr>
          <p:cNvSpPr txBox="1"/>
          <p:nvPr/>
        </p:nvSpPr>
        <p:spPr>
          <a:xfrm>
            <a:off x="522378" y="2512443"/>
            <a:ext cx="5234508" cy="1267398"/>
          </a:xfrm>
          <a:prstGeom prst="rect">
            <a:avLst/>
          </a:prstGeom>
          <a:noFill/>
        </p:spPr>
        <p:txBody>
          <a:bodyPr wrap="square" lIns="0" tIns="0" rIns="0" bIns="0" rtlCol="0">
            <a:spAutoFit/>
          </a:bodyPr>
          <a:lstStyle/>
          <a:p>
            <a:pPr>
              <a:spcBef>
                <a:spcPts val="591"/>
              </a:spcBef>
              <a:buSzPct val="100000"/>
            </a:pPr>
            <a:r>
              <a:rPr lang="en-US" sz="1191" b="1" dirty="0">
                <a:solidFill>
                  <a:srgbClr val="008BA4"/>
                </a:solidFill>
                <a:latin typeface="Calibri" panose="020F0502020204030204" pitchFamily="34" charset="0"/>
                <a:cs typeface="Calibri" panose="020F0502020204030204" pitchFamily="34" charset="0"/>
              </a:rPr>
              <a:t>A World-class Team </a:t>
            </a:r>
          </a:p>
          <a:p>
            <a:pPr>
              <a:spcBef>
                <a:spcPts val="591"/>
              </a:spcBef>
              <a:buSzPct val="100000"/>
            </a:pPr>
            <a:r>
              <a:rPr lang="en-US" sz="1091" dirty="0">
                <a:solidFill>
                  <a:srgbClr val="313131"/>
                </a:solidFill>
                <a:latin typeface="Calibri" panose="020F0502020204030204" pitchFamily="34" charset="0"/>
                <a:cs typeface="Calibri" panose="020F0502020204030204" pitchFamily="34" charset="0"/>
              </a:rPr>
              <a:t>Our diverse, multicultural and multilingual team has outstanding Crisis &amp; Resilience experience in Middle East with over 35 dedicated, locally-based, BCM trained and certified professionals, supported by 250 risk consultants. Our team was twice recognized by the Business Continuity Institute (BCI) as the Continuity &amp; Resilience Provider and the Business Continuity Provider. Our teams were recently awarded by the CISO Global Forum for BCM Services in both KSA and UAE.</a:t>
            </a:r>
          </a:p>
        </p:txBody>
      </p:sp>
      <p:sp>
        <p:nvSpPr>
          <p:cNvPr id="38" name="TextBox 37">
            <a:extLst>
              <a:ext uri="{FF2B5EF4-FFF2-40B4-BE49-F238E27FC236}">
                <a16:creationId xmlns:a16="http://schemas.microsoft.com/office/drawing/2014/main" id="{12ABE175-A674-4EDC-9EB3-074CDF7A3B82}"/>
              </a:ext>
            </a:extLst>
          </p:cNvPr>
          <p:cNvSpPr txBox="1"/>
          <p:nvPr/>
        </p:nvSpPr>
        <p:spPr>
          <a:xfrm>
            <a:off x="5976469" y="2517147"/>
            <a:ext cx="5113806" cy="762264"/>
          </a:xfrm>
          <a:prstGeom prst="rect">
            <a:avLst/>
          </a:prstGeom>
          <a:noFill/>
        </p:spPr>
        <p:txBody>
          <a:bodyPr wrap="square" lIns="0" tIns="0" rIns="0" bIns="0" rtlCol="0">
            <a:spAutoFit/>
          </a:bodyPr>
          <a:lstStyle/>
          <a:p>
            <a:pPr>
              <a:spcBef>
                <a:spcPts val="591"/>
              </a:spcBef>
              <a:buSzPct val="100000"/>
            </a:pPr>
            <a:r>
              <a:rPr lang="en-US" sz="1191" b="1" dirty="0">
                <a:solidFill>
                  <a:srgbClr val="008BA4"/>
                </a:solidFill>
                <a:latin typeface="Calibri" panose="020F0502020204030204" pitchFamily="34" charset="0"/>
                <a:cs typeface="Calibri" panose="020F0502020204030204" pitchFamily="34" charset="0"/>
              </a:rPr>
              <a:t>Our Robust &amp; Agile BCM Methodology</a:t>
            </a:r>
          </a:p>
          <a:p>
            <a:pPr>
              <a:spcBef>
                <a:spcPts val="591"/>
              </a:spcBef>
              <a:buSzPct val="100000"/>
            </a:pPr>
            <a:r>
              <a:rPr lang="en-US" sz="1091" dirty="0">
                <a:solidFill>
                  <a:srgbClr val="313131"/>
                </a:solidFill>
                <a:latin typeface="Calibri" panose="020F0502020204030204" pitchFamily="34" charset="0"/>
                <a:cs typeface="Calibri" panose="020F0502020204030204" pitchFamily="34" charset="0"/>
              </a:rPr>
              <a:t>We provide customizable solutions to meet your BCM objectives. Our methodology is adaptive to the needs of every organization and addresses complex processes and drivers in order to ensure effective implementation. </a:t>
            </a:r>
          </a:p>
        </p:txBody>
      </p:sp>
      <p:grpSp>
        <p:nvGrpSpPr>
          <p:cNvPr id="40" name="Group 39">
            <a:extLst>
              <a:ext uri="{FF2B5EF4-FFF2-40B4-BE49-F238E27FC236}">
                <a16:creationId xmlns:a16="http://schemas.microsoft.com/office/drawing/2014/main" id="{8823CAFA-9522-4779-901D-CA2E8E747657}"/>
              </a:ext>
            </a:extLst>
          </p:cNvPr>
          <p:cNvGrpSpPr/>
          <p:nvPr/>
        </p:nvGrpSpPr>
        <p:grpSpPr>
          <a:xfrm>
            <a:off x="1753339" y="4211933"/>
            <a:ext cx="2032262" cy="941625"/>
            <a:chOff x="2725322" y="4624438"/>
            <a:chExt cx="2410558" cy="1126387"/>
          </a:xfrm>
        </p:grpSpPr>
        <p:sp>
          <p:nvSpPr>
            <p:cNvPr id="41" name="Freeform 933">
              <a:extLst>
                <a:ext uri="{FF2B5EF4-FFF2-40B4-BE49-F238E27FC236}">
                  <a16:creationId xmlns:a16="http://schemas.microsoft.com/office/drawing/2014/main" id="{64C7B062-FE6C-4B40-9883-DC8906FAD930}"/>
                </a:ext>
              </a:extLst>
            </p:cNvPr>
            <p:cNvSpPr>
              <a:spLocks noEditPoints="1"/>
            </p:cNvSpPr>
            <p:nvPr/>
          </p:nvSpPr>
          <p:spPr bwMode="auto">
            <a:xfrm>
              <a:off x="3843052" y="4655046"/>
              <a:ext cx="794047" cy="554335"/>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solidFill>
              <a:schemeClr val="accent4"/>
            </a:solidFill>
            <a:ln>
              <a:solidFill>
                <a:schemeClr val="accent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391" dirty="0">
                <a:latin typeface="Calibri" panose="020F0502020204030204" pitchFamily="34" charset="0"/>
                <a:cs typeface="Calibri" panose="020F0502020204030204" pitchFamily="34" charset="0"/>
              </a:endParaRPr>
            </a:p>
          </p:txBody>
        </p:sp>
        <p:sp>
          <p:nvSpPr>
            <p:cNvPr id="42" name="TextBox 41">
              <a:extLst>
                <a:ext uri="{FF2B5EF4-FFF2-40B4-BE49-F238E27FC236}">
                  <a16:creationId xmlns:a16="http://schemas.microsoft.com/office/drawing/2014/main" id="{482AE8A3-D9DC-4D0B-8E97-F1F059713E6A}"/>
                </a:ext>
              </a:extLst>
            </p:cNvPr>
            <p:cNvSpPr txBox="1"/>
            <p:nvPr/>
          </p:nvSpPr>
          <p:spPr>
            <a:xfrm>
              <a:off x="2725322" y="4624438"/>
              <a:ext cx="1641848" cy="591974"/>
            </a:xfrm>
            <a:prstGeom prst="rect">
              <a:avLst/>
            </a:prstGeom>
            <a:noFill/>
          </p:spPr>
          <p:txBody>
            <a:bodyPr wrap="square" lIns="0" tIns="0" rIns="0" bIns="0" rtlCol="0">
              <a:spAutoFit/>
            </a:bodyPr>
            <a:lstStyle/>
            <a:p>
              <a:pPr>
                <a:spcBef>
                  <a:spcPts val="591"/>
                </a:spcBef>
                <a:buSzPct val="100000"/>
              </a:pPr>
              <a:r>
                <a:rPr lang="en-US" sz="3173" dirty="0">
                  <a:latin typeface="Calibri" panose="020F0502020204030204" pitchFamily="34" charset="0"/>
                  <a:cs typeface="Calibri" panose="020F0502020204030204" pitchFamily="34" charset="0"/>
                </a:rPr>
                <a:t>35+</a:t>
              </a:r>
            </a:p>
          </p:txBody>
        </p:sp>
        <p:sp>
          <p:nvSpPr>
            <p:cNvPr id="43" name="TextBox 42">
              <a:extLst>
                <a:ext uri="{FF2B5EF4-FFF2-40B4-BE49-F238E27FC236}">
                  <a16:creationId xmlns:a16="http://schemas.microsoft.com/office/drawing/2014/main" id="{63204B4D-B6F1-4881-9304-7CFABA78F685}"/>
                </a:ext>
              </a:extLst>
            </p:cNvPr>
            <p:cNvSpPr txBox="1"/>
            <p:nvPr/>
          </p:nvSpPr>
          <p:spPr>
            <a:xfrm>
              <a:off x="2725322" y="5386091"/>
              <a:ext cx="2410558" cy="364734"/>
            </a:xfrm>
            <a:prstGeom prst="rect">
              <a:avLst/>
            </a:prstGeom>
            <a:noFill/>
          </p:spPr>
          <p:txBody>
            <a:bodyPr wrap="square" lIns="0" tIns="0" rIns="0" bIns="0" rtlCol="0">
              <a:spAutoFit/>
            </a:bodyPr>
            <a:lstStyle/>
            <a:p>
              <a:pPr>
                <a:spcBef>
                  <a:spcPts val="591"/>
                </a:spcBef>
                <a:buSzPct val="100000"/>
              </a:pPr>
              <a:r>
                <a:rPr lang="en-US" sz="991" dirty="0">
                  <a:latin typeface="Calibri" panose="020F0502020204030204" pitchFamily="34" charset="0"/>
                  <a:cs typeface="Calibri" panose="020F0502020204030204" pitchFamily="34" charset="0"/>
                </a:rPr>
                <a:t>Trained and dedicated BCM Professionals </a:t>
              </a:r>
            </a:p>
          </p:txBody>
        </p:sp>
      </p:grpSp>
      <p:sp>
        <p:nvSpPr>
          <p:cNvPr id="44" name="TextBox 43">
            <a:extLst>
              <a:ext uri="{FF2B5EF4-FFF2-40B4-BE49-F238E27FC236}">
                <a16:creationId xmlns:a16="http://schemas.microsoft.com/office/drawing/2014/main" id="{06868C98-82A7-4A56-80F9-227E83C1FDC8}"/>
              </a:ext>
            </a:extLst>
          </p:cNvPr>
          <p:cNvSpPr txBox="1"/>
          <p:nvPr/>
        </p:nvSpPr>
        <p:spPr>
          <a:xfrm>
            <a:off x="1729535" y="5306308"/>
            <a:ext cx="1773070" cy="487851"/>
          </a:xfrm>
          <a:prstGeom prst="rect">
            <a:avLst/>
          </a:prstGeom>
          <a:noFill/>
        </p:spPr>
        <p:txBody>
          <a:bodyPr wrap="square" lIns="0" tIns="0" rIns="0" bIns="0" rtlCol="0">
            <a:spAutoFit/>
          </a:bodyPr>
          <a:lstStyle/>
          <a:p>
            <a:pPr>
              <a:spcBef>
                <a:spcPts val="591"/>
              </a:spcBef>
              <a:buSzPct val="100000"/>
            </a:pPr>
            <a:r>
              <a:rPr lang="en-US" sz="3173" dirty="0">
                <a:latin typeface="Calibri" panose="020F0502020204030204" pitchFamily="34" charset="0"/>
                <a:cs typeface="Calibri" panose="020F0502020204030204" pitchFamily="34" charset="0"/>
              </a:rPr>
              <a:t>25+</a:t>
            </a:r>
          </a:p>
        </p:txBody>
      </p:sp>
      <p:sp>
        <p:nvSpPr>
          <p:cNvPr id="45" name="TextBox 44">
            <a:extLst>
              <a:ext uri="{FF2B5EF4-FFF2-40B4-BE49-F238E27FC236}">
                <a16:creationId xmlns:a16="http://schemas.microsoft.com/office/drawing/2014/main" id="{6E0DE882-E5ED-473F-A393-32E9B65075CF}"/>
              </a:ext>
            </a:extLst>
          </p:cNvPr>
          <p:cNvSpPr txBox="1"/>
          <p:nvPr/>
        </p:nvSpPr>
        <p:spPr>
          <a:xfrm>
            <a:off x="1729529" y="5952682"/>
            <a:ext cx="2388076" cy="335397"/>
          </a:xfrm>
          <a:prstGeom prst="rect">
            <a:avLst/>
          </a:prstGeom>
          <a:noFill/>
        </p:spPr>
        <p:txBody>
          <a:bodyPr wrap="square" lIns="0" tIns="0" rIns="0" bIns="0" rtlCol="0">
            <a:spAutoFit/>
          </a:bodyPr>
          <a:lstStyle/>
          <a:p>
            <a:pPr>
              <a:spcBef>
                <a:spcPts val="591"/>
              </a:spcBef>
              <a:buSzPct val="100000"/>
            </a:pPr>
            <a:r>
              <a:rPr lang="en-US" sz="1091" dirty="0">
                <a:latin typeface="Calibri" panose="020F0502020204030204" pitchFamily="34" charset="0"/>
                <a:cs typeface="Calibri" panose="020F0502020204030204" pitchFamily="34" charset="0"/>
              </a:rPr>
              <a:t>Certified ISO 22301 LI, CBCI, MBCI Professionals</a:t>
            </a:r>
          </a:p>
        </p:txBody>
      </p:sp>
      <p:grpSp>
        <p:nvGrpSpPr>
          <p:cNvPr id="46" name="Group 675">
            <a:extLst>
              <a:ext uri="{FF2B5EF4-FFF2-40B4-BE49-F238E27FC236}">
                <a16:creationId xmlns:a16="http://schemas.microsoft.com/office/drawing/2014/main" id="{6A0573DD-6028-4E03-B66A-38DF8001F517}"/>
              </a:ext>
            </a:extLst>
          </p:cNvPr>
          <p:cNvGrpSpPr>
            <a:grpSpLocks noChangeAspect="1"/>
          </p:cNvGrpSpPr>
          <p:nvPr/>
        </p:nvGrpSpPr>
        <p:grpSpPr bwMode="auto">
          <a:xfrm>
            <a:off x="3004708" y="5295404"/>
            <a:ext cx="420080" cy="580850"/>
            <a:chOff x="6672" y="2741"/>
            <a:chExt cx="162" cy="224"/>
          </a:xfrm>
          <a:solidFill>
            <a:schemeClr val="accent4"/>
          </a:solidFill>
        </p:grpSpPr>
        <p:sp>
          <p:nvSpPr>
            <p:cNvPr id="47" name="Freeform 677">
              <a:extLst>
                <a:ext uri="{FF2B5EF4-FFF2-40B4-BE49-F238E27FC236}">
                  <a16:creationId xmlns:a16="http://schemas.microsoft.com/office/drawing/2014/main" id="{B050BAF4-9906-45AA-BF88-5998170BFE91}"/>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sp>
          <p:nvSpPr>
            <p:cNvPr id="48" name="Freeform 678">
              <a:extLst>
                <a:ext uri="{FF2B5EF4-FFF2-40B4-BE49-F238E27FC236}">
                  <a16:creationId xmlns:a16="http://schemas.microsoft.com/office/drawing/2014/main" id="{2105C5B1-64B2-4BB1-9E2A-64DC576B16F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grpSp>
      <p:sp>
        <p:nvSpPr>
          <p:cNvPr id="49" name="TextBox 48">
            <a:extLst>
              <a:ext uri="{FF2B5EF4-FFF2-40B4-BE49-F238E27FC236}">
                <a16:creationId xmlns:a16="http://schemas.microsoft.com/office/drawing/2014/main" id="{04CCC060-5B41-4E00-91AE-EB29FF93CD6E}"/>
              </a:ext>
            </a:extLst>
          </p:cNvPr>
          <p:cNvSpPr txBox="1"/>
          <p:nvPr/>
        </p:nvSpPr>
        <p:spPr>
          <a:xfrm>
            <a:off x="4698356" y="4211937"/>
            <a:ext cx="1773070" cy="487851"/>
          </a:xfrm>
          <a:prstGeom prst="rect">
            <a:avLst/>
          </a:prstGeom>
          <a:noFill/>
        </p:spPr>
        <p:txBody>
          <a:bodyPr wrap="square" lIns="0" tIns="0" rIns="0" bIns="0" rtlCol="0">
            <a:spAutoFit/>
          </a:bodyPr>
          <a:lstStyle/>
          <a:p>
            <a:pPr>
              <a:spcBef>
                <a:spcPts val="591"/>
              </a:spcBef>
              <a:buSzPct val="100000"/>
            </a:pPr>
            <a:r>
              <a:rPr lang="en-US" sz="3173" dirty="0">
                <a:latin typeface="Calibri" panose="020F0502020204030204" pitchFamily="34" charset="0"/>
                <a:cs typeface="Calibri" panose="020F0502020204030204" pitchFamily="34" charset="0"/>
              </a:rPr>
              <a:t>250+</a:t>
            </a:r>
          </a:p>
        </p:txBody>
      </p:sp>
      <p:sp>
        <p:nvSpPr>
          <p:cNvPr id="50" name="TextBox 49">
            <a:extLst>
              <a:ext uri="{FF2B5EF4-FFF2-40B4-BE49-F238E27FC236}">
                <a16:creationId xmlns:a16="http://schemas.microsoft.com/office/drawing/2014/main" id="{CDD33608-4363-4542-A444-4520DD1D0F54}"/>
              </a:ext>
            </a:extLst>
          </p:cNvPr>
          <p:cNvSpPr txBox="1"/>
          <p:nvPr/>
        </p:nvSpPr>
        <p:spPr>
          <a:xfrm>
            <a:off x="4698355" y="4828740"/>
            <a:ext cx="2032262" cy="167698"/>
          </a:xfrm>
          <a:prstGeom prst="rect">
            <a:avLst/>
          </a:prstGeom>
          <a:noFill/>
        </p:spPr>
        <p:txBody>
          <a:bodyPr wrap="square" lIns="0" tIns="0" rIns="0" bIns="0" rtlCol="0">
            <a:spAutoFit/>
          </a:bodyPr>
          <a:lstStyle/>
          <a:p>
            <a:pPr>
              <a:spcBef>
                <a:spcPts val="591"/>
              </a:spcBef>
              <a:buSzPct val="100000"/>
            </a:pPr>
            <a:r>
              <a:rPr lang="en-US" sz="1091" dirty="0">
                <a:latin typeface="Calibri" panose="020F0502020204030204" pitchFamily="34" charset="0"/>
                <a:cs typeface="Calibri" panose="020F0502020204030204" pitchFamily="34" charset="0"/>
              </a:rPr>
              <a:t>Technology Risk Consultants</a:t>
            </a:r>
          </a:p>
        </p:txBody>
      </p:sp>
      <p:sp>
        <p:nvSpPr>
          <p:cNvPr id="51" name="TextBox 50">
            <a:extLst>
              <a:ext uri="{FF2B5EF4-FFF2-40B4-BE49-F238E27FC236}">
                <a16:creationId xmlns:a16="http://schemas.microsoft.com/office/drawing/2014/main" id="{D082C541-FC27-451A-BF63-0A59A3A05E93}"/>
              </a:ext>
            </a:extLst>
          </p:cNvPr>
          <p:cNvSpPr txBox="1"/>
          <p:nvPr/>
        </p:nvSpPr>
        <p:spPr>
          <a:xfrm>
            <a:off x="4674551" y="5306308"/>
            <a:ext cx="1773070" cy="487851"/>
          </a:xfrm>
          <a:prstGeom prst="rect">
            <a:avLst/>
          </a:prstGeom>
          <a:noFill/>
        </p:spPr>
        <p:txBody>
          <a:bodyPr wrap="square" lIns="0" tIns="0" rIns="0" bIns="0" rtlCol="0">
            <a:spAutoFit/>
          </a:bodyPr>
          <a:lstStyle/>
          <a:p>
            <a:pPr>
              <a:spcBef>
                <a:spcPts val="591"/>
              </a:spcBef>
              <a:buSzPct val="100000"/>
            </a:pPr>
            <a:r>
              <a:rPr lang="en-US" sz="3173" dirty="0">
                <a:latin typeface="Calibri" panose="020F0502020204030204" pitchFamily="34" charset="0"/>
                <a:cs typeface="Calibri" panose="020F0502020204030204" pitchFamily="34" charset="0"/>
              </a:rPr>
              <a:t>15+</a:t>
            </a:r>
          </a:p>
        </p:txBody>
      </p:sp>
      <p:sp>
        <p:nvSpPr>
          <p:cNvPr id="52" name="TextBox 51">
            <a:extLst>
              <a:ext uri="{FF2B5EF4-FFF2-40B4-BE49-F238E27FC236}">
                <a16:creationId xmlns:a16="http://schemas.microsoft.com/office/drawing/2014/main" id="{DCE6DEC9-BACC-408B-A57F-63F801F5EADA}"/>
              </a:ext>
            </a:extLst>
          </p:cNvPr>
          <p:cNvSpPr txBox="1"/>
          <p:nvPr/>
        </p:nvSpPr>
        <p:spPr>
          <a:xfrm>
            <a:off x="4674545" y="5952682"/>
            <a:ext cx="2388076" cy="335397"/>
          </a:xfrm>
          <a:prstGeom prst="rect">
            <a:avLst/>
          </a:prstGeom>
          <a:noFill/>
        </p:spPr>
        <p:txBody>
          <a:bodyPr wrap="square" lIns="0" tIns="0" rIns="0" bIns="0" rtlCol="0">
            <a:spAutoFit/>
          </a:bodyPr>
          <a:lstStyle/>
          <a:p>
            <a:pPr>
              <a:spcBef>
                <a:spcPts val="591"/>
              </a:spcBef>
              <a:buSzPct val="100000"/>
            </a:pPr>
            <a:r>
              <a:rPr lang="en-US" sz="1091" dirty="0">
                <a:latin typeface="Calibri" panose="020F0502020204030204" pitchFamily="34" charset="0"/>
                <a:cs typeface="Calibri" panose="020F0502020204030204" pitchFamily="34" charset="0"/>
              </a:rPr>
              <a:t>Industry sectors for which BCM services have been provided</a:t>
            </a:r>
          </a:p>
        </p:txBody>
      </p:sp>
      <p:sp>
        <p:nvSpPr>
          <p:cNvPr id="53" name="TextBox 52">
            <a:extLst>
              <a:ext uri="{FF2B5EF4-FFF2-40B4-BE49-F238E27FC236}">
                <a16:creationId xmlns:a16="http://schemas.microsoft.com/office/drawing/2014/main" id="{29E0B57E-F1AC-4868-B901-E34D8F722FD8}"/>
              </a:ext>
            </a:extLst>
          </p:cNvPr>
          <p:cNvSpPr txBox="1"/>
          <p:nvPr/>
        </p:nvSpPr>
        <p:spPr>
          <a:xfrm>
            <a:off x="8047533" y="4216803"/>
            <a:ext cx="1770884" cy="487851"/>
          </a:xfrm>
          <a:prstGeom prst="rect">
            <a:avLst/>
          </a:prstGeom>
          <a:noFill/>
        </p:spPr>
        <p:txBody>
          <a:bodyPr wrap="square" lIns="0" tIns="0" rIns="0" bIns="0" rtlCol="0">
            <a:spAutoFit/>
          </a:bodyPr>
          <a:lstStyle/>
          <a:p>
            <a:pPr>
              <a:spcBef>
                <a:spcPts val="591"/>
              </a:spcBef>
              <a:buSzPct val="100000"/>
            </a:pPr>
            <a:r>
              <a:rPr lang="en-US" sz="3173" dirty="0">
                <a:latin typeface="Calibri" panose="020F0502020204030204" pitchFamily="34" charset="0"/>
                <a:cs typeface="Calibri" panose="020F0502020204030204" pitchFamily="34" charset="0"/>
              </a:rPr>
              <a:t>40+</a:t>
            </a:r>
          </a:p>
        </p:txBody>
      </p:sp>
      <p:sp>
        <p:nvSpPr>
          <p:cNvPr id="54" name="TextBox 53">
            <a:extLst>
              <a:ext uri="{FF2B5EF4-FFF2-40B4-BE49-F238E27FC236}">
                <a16:creationId xmlns:a16="http://schemas.microsoft.com/office/drawing/2014/main" id="{F7C0C09E-FEB8-4AB3-8485-17B4107832DF}"/>
              </a:ext>
            </a:extLst>
          </p:cNvPr>
          <p:cNvSpPr txBox="1"/>
          <p:nvPr/>
        </p:nvSpPr>
        <p:spPr>
          <a:xfrm>
            <a:off x="8047522" y="4821482"/>
            <a:ext cx="2399519" cy="335397"/>
          </a:xfrm>
          <a:prstGeom prst="rect">
            <a:avLst/>
          </a:prstGeom>
          <a:noFill/>
        </p:spPr>
        <p:txBody>
          <a:bodyPr wrap="square" lIns="0" tIns="0" rIns="0" bIns="0" rtlCol="0">
            <a:spAutoFit/>
          </a:bodyPr>
          <a:lstStyle/>
          <a:p>
            <a:pPr>
              <a:spcBef>
                <a:spcPts val="591"/>
              </a:spcBef>
              <a:buSzPct val="100000"/>
            </a:pPr>
            <a:r>
              <a:rPr lang="en-US" sz="1091" dirty="0">
                <a:latin typeface="Calibri" panose="020F0502020204030204" pitchFamily="34" charset="0"/>
                <a:cs typeface="Calibri" panose="020F0502020204030204" pitchFamily="34" charset="0"/>
              </a:rPr>
              <a:t>End-to-end BCM implementations in the ME Region</a:t>
            </a:r>
          </a:p>
        </p:txBody>
      </p:sp>
      <p:grpSp>
        <p:nvGrpSpPr>
          <p:cNvPr id="55" name="Group 749">
            <a:extLst>
              <a:ext uri="{FF2B5EF4-FFF2-40B4-BE49-F238E27FC236}">
                <a16:creationId xmlns:a16="http://schemas.microsoft.com/office/drawing/2014/main" id="{8A9BBCC0-1979-4E33-9201-A0FCF793A0AE}"/>
              </a:ext>
            </a:extLst>
          </p:cNvPr>
          <p:cNvGrpSpPr>
            <a:grpSpLocks noChangeAspect="1"/>
          </p:cNvGrpSpPr>
          <p:nvPr/>
        </p:nvGrpSpPr>
        <p:grpSpPr bwMode="auto">
          <a:xfrm>
            <a:off x="6104212" y="4242257"/>
            <a:ext cx="571081" cy="423952"/>
            <a:chOff x="3582" y="2789"/>
            <a:chExt cx="215" cy="137"/>
          </a:xfrm>
          <a:solidFill>
            <a:schemeClr val="bg2">
              <a:lumMod val="50000"/>
            </a:schemeClr>
          </a:solidFill>
        </p:grpSpPr>
        <p:sp>
          <p:nvSpPr>
            <p:cNvPr id="56" name="Freeform 751">
              <a:extLst>
                <a:ext uri="{FF2B5EF4-FFF2-40B4-BE49-F238E27FC236}">
                  <a16:creationId xmlns:a16="http://schemas.microsoft.com/office/drawing/2014/main" id="{C2702837-7EF8-4902-9C8E-663EB582C6D9}"/>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sp>
          <p:nvSpPr>
            <p:cNvPr id="57" name="Freeform 752">
              <a:extLst>
                <a:ext uri="{FF2B5EF4-FFF2-40B4-BE49-F238E27FC236}">
                  <a16:creationId xmlns:a16="http://schemas.microsoft.com/office/drawing/2014/main" id="{0C5F5C13-9AB2-4C69-B9D2-9544BF5DC0D9}"/>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grpSp>
      <p:sp>
        <p:nvSpPr>
          <p:cNvPr id="58" name="Freeform 218">
            <a:extLst>
              <a:ext uri="{FF2B5EF4-FFF2-40B4-BE49-F238E27FC236}">
                <a16:creationId xmlns:a16="http://schemas.microsoft.com/office/drawing/2014/main" id="{4A092385-7FA2-4773-AEF7-96FF08EBE9DA}"/>
              </a:ext>
            </a:extLst>
          </p:cNvPr>
          <p:cNvSpPr>
            <a:spLocks noEditPoints="1"/>
          </p:cNvSpPr>
          <p:nvPr/>
        </p:nvSpPr>
        <p:spPr bwMode="auto">
          <a:xfrm>
            <a:off x="9196266" y="4152320"/>
            <a:ext cx="529588" cy="552412"/>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sp>
        <p:nvSpPr>
          <p:cNvPr id="59" name="Freeform 286">
            <a:extLst>
              <a:ext uri="{FF2B5EF4-FFF2-40B4-BE49-F238E27FC236}">
                <a16:creationId xmlns:a16="http://schemas.microsoft.com/office/drawing/2014/main" id="{931BB25E-3BF5-4236-B224-731C3931D3A3}"/>
              </a:ext>
            </a:extLst>
          </p:cNvPr>
          <p:cNvSpPr>
            <a:spLocks noEditPoints="1"/>
          </p:cNvSpPr>
          <p:nvPr/>
        </p:nvSpPr>
        <p:spPr bwMode="auto">
          <a:xfrm>
            <a:off x="5697712" y="5334881"/>
            <a:ext cx="483661" cy="479588"/>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sp>
        <p:nvSpPr>
          <p:cNvPr id="60" name="Freeform 383">
            <a:extLst>
              <a:ext uri="{FF2B5EF4-FFF2-40B4-BE49-F238E27FC236}">
                <a16:creationId xmlns:a16="http://schemas.microsoft.com/office/drawing/2014/main" id="{623A47A3-3F81-4082-8229-7CFA72976563}"/>
              </a:ext>
            </a:extLst>
          </p:cNvPr>
          <p:cNvSpPr>
            <a:spLocks noEditPoints="1"/>
          </p:cNvSpPr>
          <p:nvPr/>
        </p:nvSpPr>
        <p:spPr bwMode="auto">
          <a:xfrm>
            <a:off x="9885377" y="5441548"/>
            <a:ext cx="406189" cy="39657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sp>
        <p:nvSpPr>
          <p:cNvPr id="61" name="Freeform 146">
            <a:extLst>
              <a:ext uri="{FF2B5EF4-FFF2-40B4-BE49-F238E27FC236}">
                <a16:creationId xmlns:a16="http://schemas.microsoft.com/office/drawing/2014/main" id="{D4304D9B-145B-4AF2-B978-A119841972FE}"/>
              </a:ext>
            </a:extLst>
          </p:cNvPr>
          <p:cNvSpPr>
            <a:spLocks noEditPoints="1"/>
          </p:cNvSpPr>
          <p:nvPr/>
        </p:nvSpPr>
        <p:spPr bwMode="auto">
          <a:xfrm>
            <a:off x="9161253" y="5519004"/>
            <a:ext cx="528092" cy="296611"/>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sp>
        <p:nvSpPr>
          <p:cNvPr id="62" name="Freeform 253">
            <a:extLst>
              <a:ext uri="{FF2B5EF4-FFF2-40B4-BE49-F238E27FC236}">
                <a16:creationId xmlns:a16="http://schemas.microsoft.com/office/drawing/2014/main" id="{C463423B-7953-448F-8BD2-189D0CCFA6E6}"/>
              </a:ext>
            </a:extLst>
          </p:cNvPr>
          <p:cNvSpPr>
            <a:spLocks/>
          </p:cNvSpPr>
          <p:nvPr/>
        </p:nvSpPr>
        <p:spPr bwMode="auto">
          <a:xfrm>
            <a:off x="7818403" y="5441542"/>
            <a:ext cx="494747" cy="376374"/>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grpSp>
        <p:nvGrpSpPr>
          <p:cNvPr id="63" name="Group 578">
            <a:extLst>
              <a:ext uri="{FF2B5EF4-FFF2-40B4-BE49-F238E27FC236}">
                <a16:creationId xmlns:a16="http://schemas.microsoft.com/office/drawing/2014/main" id="{FBAADE88-EF27-4E50-B034-EF122D00CB95}"/>
              </a:ext>
            </a:extLst>
          </p:cNvPr>
          <p:cNvGrpSpPr>
            <a:grpSpLocks noChangeAspect="1"/>
          </p:cNvGrpSpPr>
          <p:nvPr/>
        </p:nvGrpSpPr>
        <p:grpSpPr bwMode="auto">
          <a:xfrm>
            <a:off x="8488992" y="5295408"/>
            <a:ext cx="509500" cy="580849"/>
            <a:chOff x="463" y="2445"/>
            <a:chExt cx="212" cy="185"/>
          </a:xfrm>
          <a:solidFill>
            <a:schemeClr val="bg2">
              <a:lumMod val="50000"/>
            </a:schemeClr>
          </a:solidFill>
        </p:grpSpPr>
        <p:sp>
          <p:nvSpPr>
            <p:cNvPr id="64" name="Freeform 579">
              <a:extLst>
                <a:ext uri="{FF2B5EF4-FFF2-40B4-BE49-F238E27FC236}">
                  <a16:creationId xmlns:a16="http://schemas.microsoft.com/office/drawing/2014/main" id="{534D9898-8C36-4C09-8C66-D6D7D5DE1362}"/>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391" dirty="0">
                <a:latin typeface="Calibri" panose="020F0502020204030204" pitchFamily="34" charset="0"/>
                <a:cs typeface="Calibri" panose="020F0502020204030204" pitchFamily="34" charset="0"/>
              </a:endParaRPr>
            </a:p>
          </p:txBody>
        </p:sp>
        <p:sp>
          <p:nvSpPr>
            <p:cNvPr id="65" name="Freeform 580">
              <a:extLst>
                <a:ext uri="{FF2B5EF4-FFF2-40B4-BE49-F238E27FC236}">
                  <a16:creationId xmlns:a16="http://schemas.microsoft.com/office/drawing/2014/main" id="{83B9A68B-9CCD-40C7-BB1B-258EB6ADB14C}"/>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391" dirty="0">
                <a:latin typeface="Calibri" panose="020F0502020204030204" pitchFamily="34" charset="0"/>
                <a:cs typeface="Calibri" panose="020F0502020204030204" pitchFamily="34" charset="0"/>
              </a:endParaRPr>
            </a:p>
          </p:txBody>
        </p:sp>
        <p:sp>
          <p:nvSpPr>
            <p:cNvPr id="66" name="Freeform 581">
              <a:extLst>
                <a:ext uri="{FF2B5EF4-FFF2-40B4-BE49-F238E27FC236}">
                  <a16:creationId xmlns:a16="http://schemas.microsoft.com/office/drawing/2014/main" id="{249CA2C8-8862-4AE8-8ED1-24E4CA4DBF90}"/>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391" dirty="0">
                <a:latin typeface="Calibri" panose="020F0502020204030204" pitchFamily="34" charset="0"/>
                <a:cs typeface="Calibri" panose="020F0502020204030204" pitchFamily="34" charset="0"/>
              </a:endParaRPr>
            </a:p>
          </p:txBody>
        </p:sp>
      </p:grpSp>
      <p:sp>
        <p:nvSpPr>
          <p:cNvPr id="67" name="Freeform 48">
            <a:extLst>
              <a:ext uri="{FF2B5EF4-FFF2-40B4-BE49-F238E27FC236}">
                <a16:creationId xmlns:a16="http://schemas.microsoft.com/office/drawing/2014/main" id="{A1AC1768-8820-43B8-A036-A62F7CB59B9D}"/>
              </a:ext>
            </a:extLst>
          </p:cNvPr>
          <p:cNvSpPr>
            <a:spLocks noEditPoints="1"/>
          </p:cNvSpPr>
          <p:nvPr/>
        </p:nvSpPr>
        <p:spPr bwMode="auto">
          <a:xfrm>
            <a:off x="6361184" y="5321993"/>
            <a:ext cx="372045" cy="501344"/>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grpSp>
        <p:nvGrpSpPr>
          <p:cNvPr id="68" name="Group 67">
            <a:extLst>
              <a:ext uri="{FF2B5EF4-FFF2-40B4-BE49-F238E27FC236}">
                <a16:creationId xmlns:a16="http://schemas.microsoft.com/office/drawing/2014/main" id="{1B2019E2-34E3-4A6D-B534-E9A3E580140F}"/>
              </a:ext>
            </a:extLst>
          </p:cNvPr>
          <p:cNvGrpSpPr/>
          <p:nvPr/>
        </p:nvGrpSpPr>
        <p:grpSpPr>
          <a:xfrm>
            <a:off x="6615610" y="5635156"/>
            <a:ext cx="303317" cy="305233"/>
            <a:chOff x="8885141" y="6442279"/>
            <a:chExt cx="359778" cy="365125"/>
          </a:xfrm>
        </p:grpSpPr>
        <p:sp>
          <p:nvSpPr>
            <p:cNvPr id="69" name="Oval 68">
              <a:extLst>
                <a:ext uri="{FF2B5EF4-FFF2-40B4-BE49-F238E27FC236}">
                  <a16:creationId xmlns:a16="http://schemas.microsoft.com/office/drawing/2014/main" id="{F2F6DF4C-DF15-4C1D-AE09-4F99A26995BE}"/>
                </a:ext>
              </a:extLst>
            </p:cNvPr>
            <p:cNvSpPr/>
            <p:nvPr/>
          </p:nvSpPr>
          <p:spPr bwMode="gray">
            <a:xfrm>
              <a:off x="8886971" y="6442279"/>
              <a:ext cx="356128" cy="356616"/>
            </a:xfrm>
            <a:prstGeom prst="ellipse">
              <a:avLst/>
            </a:prstGeom>
            <a:solidFill>
              <a:schemeClr val="bg1"/>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cs typeface="Calibri" panose="020F0502020204030204" pitchFamily="34" charset="0"/>
              </a:endParaRPr>
            </a:p>
          </p:txBody>
        </p:sp>
        <p:grpSp>
          <p:nvGrpSpPr>
            <p:cNvPr id="70" name="Group 427">
              <a:extLst>
                <a:ext uri="{FF2B5EF4-FFF2-40B4-BE49-F238E27FC236}">
                  <a16:creationId xmlns:a16="http://schemas.microsoft.com/office/drawing/2014/main" id="{12FC6136-30C0-4AC8-B6DC-80CD75504A3A}"/>
                </a:ext>
              </a:extLst>
            </p:cNvPr>
            <p:cNvGrpSpPr>
              <a:grpSpLocks noChangeAspect="1"/>
            </p:cNvGrpSpPr>
            <p:nvPr/>
          </p:nvGrpSpPr>
          <p:grpSpPr bwMode="auto">
            <a:xfrm>
              <a:off x="8885146" y="6447627"/>
              <a:ext cx="359778" cy="359778"/>
              <a:chOff x="3492" y="1636"/>
              <a:chExt cx="340" cy="340"/>
            </a:xfrm>
            <a:solidFill>
              <a:schemeClr val="accent2"/>
            </a:solidFill>
          </p:grpSpPr>
          <p:sp>
            <p:nvSpPr>
              <p:cNvPr id="71" name="Freeform 428">
                <a:extLst>
                  <a:ext uri="{FF2B5EF4-FFF2-40B4-BE49-F238E27FC236}">
                    <a16:creationId xmlns:a16="http://schemas.microsoft.com/office/drawing/2014/main" id="{2AB53FB9-74B0-460F-91DB-9F7B3719EBB4}"/>
                  </a:ext>
                </a:extLst>
              </p:cNvPr>
              <p:cNvSpPr>
                <a:spLocks noEditPoints="1"/>
              </p:cNvSpPr>
              <p:nvPr/>
            </p:nvSpPr>
            <p:spPr bwMode="auto">
              <a:xfrm>
                <a:off x="3586" y="1700"/>
                <a:ext cx="151" cy="212"/>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grpFill/>
              <a:ln>
                <a:solidFill>
                  <a:schemeClr val="accent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sp>
            <p:nvSpPr>
              <p:cNvPr id="72" name="Freeform 429">
                <a:extLst>
                  <a:ext uri="{FF2B5EF4-FFF2-40B4-BE49-F238E27FC236}">
                    <a16:creationId xmlns:a16="http://schemas.microsoft.com/office/drawing/2014/main" id="{F1BF0F6C-5311-4AFE-8B2C-FDCB2FC81EA3}"/>
                  </a:ext>
                </a:extLst>
              </p:cNvPr>
              <p:cNvSpPr>
                <a:spLocks noEditPoints="1"/>
              </p:cNvSpPr>
              <p:nvPr/>
            </p:nvSpPr>
            <p:spPr bwMode="auto">
              <a:xfrm>
                <a:off x="3492"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latin typeface="Calibri" panose="020F0502020204030204" pitchFamily="34" charset="0"/>
                  <a:cs typeface="Calibri" panose="020F0502020204030204" pitchFamily="34" charset="0"/>
                </a:endParaRPr>
              </a:p>
            </p:txBody>
          </p:sp>
        </p:grpSp>
      </p:grpSp>
      <p:sp>
        <p:nvSpPr>
          <p:cNvPr id="74" name="Triangle 28">
            <a:extLst>
              <a:ext uri="{FF2B5EF4-FFF2-40B4-BE49-F238E27FC236}">
                <a16:creationId xmlns:a16="http://schemas.microsoft.com/office/drawing/2014/main" id="{FE74D2D8-5CB1-4100-94C4-26770B6FC195}"/>
              </a:ext>
            </a:extLst>
          </p:cNvPr>
          <p:cNvSpPr/>
          <p:nvPr/>
        </p:nvSpPr>
        <p:spPr>
          <a:xfrm rot="16200000">
            <a:off x="11060702" y="2333835"/>
            <a:ext cx="267460" cy="230569"/>
          </a:xfrm>
          <a:prstGeom prst="triangl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73" name="Rectangle 72">
            <a:extLst>
              <a:ext uri="{FF2B5EF4-FFF2-40B4-BE49-F238E27FC236}">
                <a16:creationId xmlns:a16="http://schemas.microsoft.com/office/drawing/2014/main" id="{5EF9F684-AD8D-4E94-9567-DF6B1FA390BA}"/>
              </a:ext>
            </a:extLst>
          </p:cNvPr>
          <p:cNvSpPr/>
          <p:nvPr/>
        </p:nvSpPr>
        <p:spPr bwMode="gray">
          <a:xfrm>
            <a:off x="1" y="0"/>
            <a:ext cx="165462" cy="6858000"/>
          </a:xfrm>
          <a:prstGeom prst="rect">
            <a:avLst/>
          </a:prstGeom>
          <a:solidFill>
            <a:srgbClr val="00A3E0"/>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800" b="1" dirty="0">
              <a:solidFill>
                <a:schemeClr val="bg1"/>
              </a:solidFill>
              <a:latin typeface="+mj-lt"/>
              <a:cs typeface="Sakkal Majalla" panose="02000000000000000000" pitchFamily="2" charset="-78"/>
            </a:endParaRPr>
          </a:p>
        </p:txBody>
      </p:sp>
    </p:spTree>
    <p:extLst>
      <p:ext uri="{BB962C8B-B14F-4D97-AF65-F5344CB8AC3E}">
        <p14:creationId xmlns:p14="http://schemas.microsoft.com/office/powerpoint/2010/main" val="2283915036"/>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4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7"/>
            <a:ext cx="10342039" cy="5023329"/>
          </a:xfrm>
          <a:prstGeom prst="rect">
            <a:avLst/>
          </a:prstGeom>
          <a:noFill/>
        </p:spPr>
        <p:txBody>
          <a:bodyPr wrap="square">
            <a:spAutoFit/>
          </a:bodyPr>
          <a:lstStyle/>
          <a:p>
            <a:pPr marL="362481" indent="-634342" algn="just">
              <a:spcBef>
                <a:spcPts val="591"/>
              </a:spcBef>
            </a:pPr>
            <a:r>
              <a:rPr lang="en-US" sz="1041" b="1" dirty="0">
                <a:solidFill>
                  <a:srgbClr val="000000"/>
                </a:solidFill>
                <a:latin typeface="Calibri" panose="020F0502020204030204"/>
              </a:rPr>
              <a:t>20	Electronic Communications.</a:t>
            </a:r>
          </a:p>
          <a:p>
            <a:pPr marL="362481" indent="-634342" algn="just">
              <a:spcBef>
                <a:spcPts val="591"/>
              </a:spcBef>
            </a:pPr>
            <a:r>
              <a:rPr lang="en-US" sz="1041" dirty="0">
                <a:solidFill>
                  <a:srgbClr val="000000"/>
                </a:solidFill>
                <a:latin typeface="Calibri" panose="020F0502020204030204"/>
              </a:rPr>
              <a:t>20.1	The Parties agree that we may communicate with each other by way of business e-mail (including the internet). The Client acknowledges that, in order for Deloitte personnel to operate effectively and efficiently from the Client’s premises, Deloitte personnel may require access to the Client’s networks, for example, to enable access to Deloitte applications and systems. If Deloitte personnel need to have access to the Client’s systems in order to perform the Services, the Parties acknowledge that such access may be subject to further terms and conditions that are intended to protect the security and integrity of the Client’s data and systems, provided that the Client informs Deloitte of any such terms and conditions before such access takes place. </a:t>
            </a:r>
          </a:p>
          <a:p>
            <a:pPr marL="362481" indent="-634342" algn="just">
              <a:spcBef>
                <a:spcPts val="591"/>
              </a:spcBef>
            </a:pPr>
            <a:r>
              <a:rPr lang="en-US" sz="1041" dirty="0">
                <a:solidFill>
                  <a:srgbClr val="000000"/>
                </a:solidFill>
                <a:latin typeface="Calibri" panose="020F0502020204030204"/>
              </a:rPr>
              <a:t>20.2	The Parties recognise that e-mail and the internet are inherently insecure and that e-mails and data can become corrupted, communications are not always delivered promptly (or at all) and that other methods of communication may be appropriate. In addition, the internet is prone to malware. Similar hazards apply where Deloitte access its systems via Client networks. The Parties recognise these hazards and therefore each Party will be responsible for protecting their our own systems and interests and neither Deloitte nor the Client will be responsible to the other on any basis (contract, tort or otherwise) for any loss, damage or omission in anyway arising from the use of e-mail (including the internet) as a form of communication or from Deloitte personnel connecting to or accessing your network. The exclusion of liability in this clause shall not apply to any liability which arises out of the negligent incorrect addressing of any electronic communication.</a:t>
            </a:r>
          </a:p>
          <a:p>
            <a:pPr marL="362481" indent="-634342" algn="just">
              <a:spcBef>
                <a:spcPts val="591"/>
              </a:spcBef>
            </a:pPr>
            <a:r>
              <a:rPr lang="en-US" sz="1041" dirty="0">
                <a:solidFill>
                  <a:srgbClr val="000000"/>
                </a:solidFill>
                <a:latin typeface="Calibri" panose="020F0502020204030204"/>
              </a:rPr>
              <a:t>20.3	Deloitte will not initiate communications with the Client via instant messaging channels (such as WhatsApp, WeChat or other social media platforms or personal email addresses (such as Gmail, yahoo mail, Hotmail, etc.) as Deloitte does not have control over these and such use may prejudice the confidentiality of the Client’s information. If the Client communicates with Deloitte via instant messaging or personal email addresses, Deloitte will not be held liable for any data breach which results from transmitting information through these means, nor will Deloitte be liable for any direct or indirect loss resulting from a data breach caused by using instant messaging, personal email addresses or by third parties intercepting Client information. </a:t>
            </a:r>
          </a:p>
          <a:p>
            <a:pPr marL="362481" indent="-634342" algn="just">
              <a:spcBef>
                <a:spcPts val="591"/>
              </a:spcBef>
            </a:pPr>
            <a:r>
              <a:rPr lang="en-US" sz="1041" dirty="0">
                <a:solidFill>
                  <a:srgbClr val="000000"/>
                </a:solidFill>
                <a:latin typeface="Calibri" panose="020F0502020204030204"/>
              </a:rPr>
              <a:t>20.4	Cloud Technology: </a:t>
            </a:r>
          </a:p>
          <a:p>
            <a:pPr marL="362481" indent="-634342" algn="just">
              <a:spcBef>
                <a:spcPts val="591"/>
              </a:spcBef>
            </a:pPr>
            <a:r>
              <a:rPr lang="en-US" sz="1041" dirty="0">
                <a:solidFill>
                  <a:srgbClr val="000000"/>
                </a:solidFill>
                <a:latin typeface="Calibri" panose="020F0502020204030204"/>
              </a:rPr>
              <a:t>	Deloitte is committed to implementing new and innovative technologies, advanced analytics and cloud-based solutions (“Cloud Technology”) to better serve our clients through more collaborative ways of working. By signing this Agreement, as the Client management, acting on behalf of its shareholders, you provide us with your consent that Deloitte may transfer, process (including collecting, recording, ordering, accumulating, storing, updating or modifying, extracting, utilizing, redacting, blocking, removing, erasing and transferring) or host your information using such Cloud Technology. In addition, you consent that Deloitte may use such Cloud Technology, which may be located outside of the Country, for the purpose of delivering the Services in this Agreement, on the understanding that Deloitte and any of the Deloitte Parties, or other subcontractors used in delivery of the Services, shall keep your information confidential in line with the provisions of this Agreement and, in the case of Personal Data, in accordance with the requirements and obligations of any applicable data protection law. The above provision refers to an explicit consent from you regarding the transfer, processing or hosting of your information in such Cloud Technology. In addition, you agree that Deloitte shall not be held liable for the transfer, processing or hosting of your information to and by the above-mentioned parties, or for the use of Cloud Technology for this purpose. You confirm that the information is suitable for transfer and is not restricted as per relevant applicable law.</a:t>
            </a:r>
          </a:p>
          <a:p>
            <a:pPr marL="362481" indent="-634342" algn="just">
              <a:spcBef>
                <a:spcPts val="591"/>
              </a:spcBef>
            </a:pPr>
            <a:endParaRPr lang="en-US" sz="89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077EFDE3-F43B-4225-A468-187AE1347FCA}"/>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605AD40F-C961-49AE-B630-111B587E6E32}"/>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879902018"/>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5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5"/>
            <a:ext cx="10342039" cy="5823707"/>
          </a:xfrm>
          <a:prstGeom prst="rect">
            <a:avLst/>
          </a:prstGeom>
          <a:noFill/>
        </p:spPr>
        <p:txBody>
          <a:bodyPr wrap="square">
            <a:spAutoFit/>
          </a:bodyPr>
          <a:lstStyle/>
          <a:p>
            <a:pPr marL="362481" indent="-634342" algn="just" defTabSz="1208241">
              <a:spcBef>
                <a:spcPts val="591"/>
              </a:spcBef>
              <a:defRPr/>
            </a:pPr>
            <a:r>
              <a:rPr lang="en-US" sz="1041" b="1" dirty="0">
                <a:solidFill>
                  <a:srgbClr val="000000"/>
                </a:solidFill>
                <a:latin typeface="Calibri" panose="020F0502020204030204"/>
              </a:rPr>
              <a:t>21	 Survival and Interpretation.</a:t>
            </a:r>
          </a:p>
          <a:p>
            <a:pPr marL="362481" indent="-634342" algn="just" defTabSz="1208241">
              <a:spcBef>
                <a:spcPts val="591"/>
              </a:spcBef>
              <a:defRPr/>
            </a:pPr>
            <a:r>
              <a:rPr lang="en-US" sz="1041" b="1" dirty="0">
                <a:solidFill>
                  <a:srgbClr val="000000"/>
                </a:solidFill>
                <a:latin typeface="Calibri" panose="020F0502020204030204"/>
              </a:rPr>
              <a:t>	</a:t>
            </a:r>
            <a:r>
              <a:rPr lang="en-US" sz="1041" dirty="0">
                <a:solidFill>
                  <a:srgbClr val="000000"/>
                </a:solidFill>
                <a:latin typeface="Calibri" panose="020F0502020204030204"/>
              </a:rPr>
              <a:t>The terms of any Clauses which by its nature should survive to give adequate meaning and effect to the provisions of this Agreement and/or Change Order will survive the termination or expiration of the entire or any part of this Agreement and/or Change Order.</a:t>
            </a:r>
          </a:p>
          <a:p>
            <a:pPr marL="362481" indent="-634342" algn="just" defTabSz="1208241">
              <a:spcBef>
                <a:spcPts val="591"/>
              </a:spcBef>
              <a:defRPr/>
            </a:pPr>
            <a:endParaRPr lang="en-US" sz="1041" b="1" dirty="0">
              <a:solidFill>
                <a:srgbClr val="000000"/>
              </a:solidFill>
              <a:latin typeface="Calibri" panose="020F0502020204030204"/>
            </a:endParaRPr>
          </a:p>
          <a:p>
            <a:pPr marL="362481" indent="-634342" algn="just" defTabSz="1208241">
              <a:spcBef>
                <a:spcPts val="591"/>
              </a:spcBef>
              <a:defRPr/>
            </a:pPr>
            <a:r>
              <a:rPr lang="en-US" sz="1041" b="1" dirty="0">
                <a:solidFill>
                  <a:srgbClr val="000000"/>
                </a:solidFill>
                <a:latin typeface="Calibri" panose="020F0502020204030204"/>
              </a:rPr>
              <a:t>22	Assignment and Subcontracting.</a:t>
            </a:r>
          </a:p>
          <a:p>
            <a:pPr marL="362481" indent="-634342" algn="just" defTabSz="1208241">
              <a:spcBef>
                <a:spcPts val="591"/>
              </a:spcBef>
              <a:defRPr/>
            </a:pPr>
            <a:r>
              <a:rPr lang="en-US" sz="1041" dirty="0">
                <a:solidFill>
                  <a:srgbClr val="000000"/>
                </a:solidFill>
                <a:latin typeface="Calibri" panose="020F0502020204030204"/>
              </a:rPr>
              <a:t>22.1	Assignment. </a:t>
            </a:r>
          </a:p>
          <a:p>
            <a:pPr marL="362481" indent="-634342" algn="just" defTabSz="1208241">
              <a:spcBef>
                <a:spcPts val="591"/>
              </a:spcBef>
              <a:defRPr/>
            </a:pPr>
            <a:r>
              <a:rPr lang="en-US" sz="1041" dirty="0">
                <a:solidFill>
                  <a:srgbClr val="000000"/>
                </a:solidFill>
                <a:latin typeface="Calibri" panose="020F0502020204030204"/>
              </a:rPr>
              <a:t>	Except as provided below, neither Party may assign, transfer or delegate any of its rights or obligations hereunder (including, without limitation, interests or claims relating to this engagement) without the prior written consent of the other Party. Deloitte may, with written notice, but without the consent of the Client, assign or subcontract its rights and obligations hereunder to (a) any affiliate or related entity or (b) any entity that acquires all or a substantial part of the assets or business of Deloitte. </a:t>
            </a:r>
          </a:p>
          <a:p>
            <a:pPr marL="362481" indent="-634342" algn="just" defTabSz="1208241">
              <a:spcBef>
                <a:spcPts val="591"/>
              </a:spcBef>
              <a:defRPr/>
            </a:pPr>
            <a:r>
              <a:rPr lang="en-US" sz="1041" dirty="0">
                <a:solidFill>
                  <a:srgbClr val="000000"/>
                </a:solidFill>
                <a:latin typeface="Calibri" panose="020F0502020204030204"/>
              </a:rPr>
              <a:t>22.2	Subcontracting.</a:t>
            </a:r>
          </a:p>
          <a:p>
            <a:pPr marL="362481" indent="-634342" algn="just" defTabSz="1208241">
              <a:spcBef>
                <a:spcPts val="591"/>
              </a:spcBef>
              <a:defRPr/>
            </a:pPr>
            <a:r>
              <a:rPr lang="en-US" sz="1041" dirty="0">
                <a:solidFill>
                  <a:srgbClr val="000000"/>
                </a:solidFill>
                <a:latin typeface="Calibri" panose="020F0502020204030204"/>
              </a:rPr>
              <a:t>	Deloitte shall have the right to subcontract its obligations under this Agreement, provided that Deloitte shall remain responsible to the Client for the fulfilment of obligations assumed in terms of this Agreement, under the following circumstances:</a:t>
            </a:r>
          </a:p>
          <a:p>
            <a:pPr marL="362481" indent="-634342" algn="just" defTabSz="1208241">
              <a:spcBef>
                <a:spcPts val="591"/>
              </a:spcBef>
              <a:defRPr/>
            </a:pPr>
            <a:r>
              <a:rPr lang="en-US" sz="1041" dirty="0">
                <a:solidFill>
                  <a:srgbClr val="000000"/>
                </a:solidFill>
                <a:latin typeface="Calibri" panose="020F0502020204030204"/>
              </a:rPr>
              <a:t>	22.2.1	Subcontracting components of the Services:</a:t>
            </a:r>
          </a:p>
          <a:p>
            <a:pPr marL="362481" indent="-634342" algn="just" defTabSz="1208241">
              <a:spcBef>
                <a:spcPts val="591"/>
              </a:spcBef>
              <a:defRPr/>
            </a:pPr>
            <a:r>
              <a:rPr lang="en-US" sz="1041" dirty="0">
                <a:solidFill>
                  <a:srgbClr val="000000"/>
                </a:solidFill>
                <a:latin typeface="Calibri" panose="020F0502020204030204"/>
              </a:rPr>
              <a:t>		22.2.1 (a)	Deloitte may not subcontract any or all of the Services to be rendered under the Agreement on its behalf, without the prior written approval of 		the Client, which approval shall not be unreasonably withheld or delayed.  Subcontractors listed in the Agreement, or in a Change Order, will be 		deemed approved.</a:t>
            </a:r>
          </a:p>
          <a:p>
            <a:pPr marL="362481" indent="-634342" algn="just" defTabSz="1208241">
              <a:spcBef>
                <a:spcPts val="591"/>
              </a:spcBef>
              <a:defRPr/>
            </a:pPr>
            <a:r>
              <a:rPr lang="en-US" sz="1041" dirty="0">
                <a:solidFill>
                  <a:srgbClr val="000000"/>
                </a:solidFill>
                <a:latin typeface="Calibri" panose="020F0502020204030204"/>
              </a:rPr>
              <a:t>		22.2.1 (b)	Deloitte is responsible for ensuring that any obligations which it subcontracts are fulfilled by any such subcontractor(s) concerned.  </a:t>
            </a:r>
          </a:p>
          <a:p>
            <a:pPr marL="362481" indent="-634342" algn="just" defTabSz="1208241">
              <a:spcBef>
                <a:spcPts val="591"/>
              </a:spcBef>
              <a:defRPr/>
            </a:pPr>
            <a:r>
              <a:rPr lang="en-US" sz="1041" dirty="0">
                <a:solidFill>
                  <a:srgbClr val="000000"/>
                </a:solidFill>
                <a:latin typeface="Calibri" panose="020F0502020204030204"/>
              </a:rPr>
              <a:t>	22.2.2	Subcontracting for Resources:</a:t>
            </a:r>
          </a:p>
          <a:p>
            <a:pPr marL="362481" indent="-634342" algn="just" defTabSz="1208241">
              <a:spcBef>
                <a:spcPts val="591"/>
              </a:spcBef>
              <a:defRPr/>
            </a:pPr>
            <a:r>
              <a:rPr lang="en-US" sz="1041" dirty="0">
                <a:solidFill>
                  <a:srgbClr val="000000"/>
                </a:solidFill>
                <a:latin typeface="Calibri" panose="020F0502020204030204"/>
              </a:rPr>
              <a:t>		22.2.2 (a)	Deloitte may, from time to time in its sole discretion, subcontract external companies to provide resources to Deloitte, to enable Deloitte to 		fulfil its obligations under this Agreement.  For purposes of this Agreement, Personnel of such a subcontractor would be included in the 		Personnel of Deloitte.</a:t>
            </a:r>
          </a:p>
          <a:p>
            <a:pPr marL="362481" indent="-634342" algn="just" defTabSz="1208241">
              <a:spcBef>
                <a:spcPts val="591"/>
              </a:spcBef>
              <a:defRPr/>
            </a:pPr>
            <a:r>
              <a:rPr lang="en-US" sz="1041" dirty="0">
                <a:solidFill>
                  <a:srgbClr val="000000"/>
                </a:solidFill>
                <a:latin typeface="Calibri" panose="020F0502020204030204"/>
              </a:rPr>
              <a:t>		22.2.2 (b)	In the event of another D&amp;T Party providing resources to Deloitte for the Project, such D&amp;T Party would, for the purposes of this Agreement, be 		considered a subcontractor to Deloitte.</a:t>
            </a:r>
          </a:p>
          <a:p>
            <a:pPr marL="362481" indent="-634342" algn="just" defTabSz="1208241">
              <a:spcBef>
                <a:spcPts val="591"/>
              </a:spcBef>
              <a:defRPr/>
            </a:pPr>
            <a:r>
              <a:rPr lang="en-US" sz="1041" dirty="0">
                <a:solidFill>
                  <a:srgbClr val="000000"/>
                </a:solidFill>
                <a:latin typeface="Calibri" panose="020F0502020204030204"/>
              </a:rPr>
              <a:t>		22.2.2 (c)	Deloitte shall not be required to disclose the existence or terms of any other subcontract entered into in such instances, but shall take the 		Client’s reasonable wishes into account in its choice of such subcontractors. </a:t>
            </a:r>
          </a:p>
          <a:p>
            <a:pPr marL="362481" indent="-634342" algn="just" defTabSz="1208241">
              <a:spcBef>
                <a:spcPts val="591"/>
              </a:spcBef>
              <a:defRPr/>
            </a:pPr>
            <a:endParaRPr lang="en-US" sz="1041" dirty="0">
              <a:solidFill>
                <a:srgbClr val="000000"/>
              </a:solidFill>
              <a:latin typeface="Calibri" panose="020F0502020204030204"/>
            </a:endParaRPr>
          </a:p>
          <a:p>
            <a:pPr marL="362481" indent="-634342" algn="just" defTabSz="1208241">
              <a:spcBef>
                <a:spcPts val="591"/>
              </a:spcBef>
              <a:defRPr/>
            </a:pPr>
            <a:endParaRPr lang="en-US" sz="89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7F6D0920-476A-4FCE-936C-C29D468ED606}"/>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C9B5F0E6-6485-49E9-BADF-0964A0D38BF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530181788"/>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6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5"/>
            <a:ext cx="10342039" cy="4748913"/>
          </a:xfrm>
          <a:prstGeom prst="rect">
            <a:avLst/>
          </a:prstGeom>
          <a:noFill/>
        </p:spPr>
        <p:txBody>
          <a:bodyPr wrap="square">
            <a:spAutoFit/>
          </a:bodyPr>
          <a:lstStyle/>
          <a:p>
            <a:pPr marL="362481" indent="-634342" algn="just" defTabSz="1208241">
              <a:spcBef>
                <a:spcPts val="591"/>
              </a:spcBef>
              <a:defRPr/>
            </a:pPr>
            <a:r>
              <a:rPr lang="en-US" sz="1041" b="1" dirty="0">
                <a:solidFill>
                  <a:srgbClr val="000000"/>
                </a:solidFill>
                <a:latin typeface="Calibri" panose="020F0502020204030204"/>
              </a:rPr>
              <a:t>23	Dispute Settlement. </a:t>
            </a:r>
          </a:p>
          <a:p>
            <a:pPr marL="362481" indent="-634342" algn="just" defTabSz="1208241">
              <a:spcBef>
                <a:spcPts val="591"/>
              </a:spcBef>
              <a:defRPr/>
            </a:pPr>
            <a:r>
              <a:rPr lang="en-US" sz="1041" b="1" dirty="0">
                <a:solidFill>
                  <a:srgbClr val="000000"/>
                </a:solidFill>
                <a:latin typeface="Calibri" panose="020F0502020204030204"/>
              </a:rPr>
              <a:t>	</a:t>
            </a:r>
            <a:r>
              <a:rPr lang="en-US" sz="1041" dirty="0">
                <a:solidFill>
                  <a:srgbClr val="000000"/>
                </a:solidFill>
                <a:latin typeface="Calibri" panose="020F0502020204030204"/>
              </a:rPr>
              <a:t>In the event of a dispute, Deloitte and the Client agree to work with the other Party to resolve the disputed matters in good faith, including providing the other with written notification of the disputed matters and affording the other reasonable time, not exceeding 1 (one) month (30 days) or a mutually agreed upon time frame, to implement corrective measures to the satisfaction of the Disputing Party and obtain written acknowledgement of the same. Only after exhausting all possible options of dispute resolution may either Party consider legal recourse as the option of last resort in accordance with the </a:t>
            </a:r>
            <a:r>
              <a:rPr lang="en-US" sz="1041" b="1" dirty="0">
                <a:solidFill>
                  <a:srgbClr val="000000"/>
                </a:solidFill>
                <a:latin typeface="Calibri" panose="020F0502020204030204"/>
              </a:rPr>
              <a:t>Kingdom of Saudi Arabia rules</a:t>
            </a:r>
            <a:r>
              <a:rPr lang="en-US" sz="1041" dirty="0">
                <a:solidFill>
                  <a:srgbClr val="000000"/>
                </a:solidFill>
                <a:latin typeface="Calibri" panose="020F0502020204030204"/>
              </a:rPr>
              <a:t>. </a:t>
            </a:r>
          </a:p>
          <a:p>
            <a:pPr marL="362481" indent="-634342" algn="just" defTabSz="1208241">
              <a:spcBef>
                <a:spcPts val="591"/>
              </a:spcBef>
              <a:defRPr/>
            </a:pPr>
            <a:endParaRPr lang="en-US" sz="1041" dirty="0">
              <a:solidFill>
                <a:srgbClr val="000000"/>
              </a:solidFill>
              <a:latin typeface="Calibri" panose="020F0502020204030204"/>
            </a:endParaRPr>
          </a:p>
          <a:p>
            <a:pPr marL="362481" indent="-634342" algn="just" defTabSz="1208241">
              <a:spcBef>
                <a:spcPts val="591"/>
              </a:spcBef>
              <a:defRPr/>
            </a:pPr>
            <a:r>
              <a:rPr lang="en-US" sz="1041" b="1" dirty="0">
                <a:solidFill>
                  <a:srgbClr val="000000"/>
                </a:solidFill>
                <a:latin typeface="Calibri" panose="020F0502020204030204"/>
              </a:rPr>
              <a:t>24	Governing Law and Severability.</a:t>
            </a:r>
          </a:p>
          <a:p>
            <a:pPr marL="362481" indent="-634342" algn="just" defTabSz="1208241">
              <a:spcBef>
                <a:spcPts val="591"/>
              </a:spcBef>
              <a:defRPr/>
            </a:pPr>
            <a:r>
              <a:rPr lang="en-US" sz="1041" dirty="0">
                <a:solidFill>
                  <a:srgbClr val="000000"/>
                </a:solidFill>
                <a:latin typeface="Calibri" panose="020F0502020204030204"/>
              </a:rPr>
              <a:t>	These terms, the Proposal to which these terms are attached, including exhibits, and all matters relating to this engagement whether in contract, statute, tort (such as negligence), or otherwise, shall be governed by, and construed in accordance with, the laws of the </a:t>
            </a:r>
            <a:r>
              <a:rPr lang="en-US" sz="1041" b="1" dirty="0">
                <a:solidFill>
                  <a:srgbClr val="000000"/>
                </a:solidFill>
                <a:latin typeface="Calibri" panose="020F0502020204030204"/>
              </a:rPr>
              <a:t>Kingdom of Saudi Arabia</a:t>
            </a:r>
            <a:r>
              <a:rPr lang="en-US" sz="1041" dirty="0">
                <a:solidFill>
                  <a:srgbClr val="000000"/>
                </a:solidFill>
                <a:latin typeface="Calibri" panose="020F0502020204030204"/>
              </a:rPr>
              <a:t>. If any provision of such terms or Proposal is found by a court of competent jurisdiction in the </a:t>
            </a:r>
            <a:r>
              <a:rPr lang="en-US" sz="1041" b="1" dirty="0">
                <a:solidFill>
                  <a:srgbClr val="000000"/>
                </a:solidFill>
                <a:latin typeface="Calibri" panose="020F0502020204030204"/>
              </a:rPr>
              <a:t>Kingdom of Saudi Arabia</a:t>
            </a:r>
            <a:r>
              <a:rPr lang="en-US" sz="1041" dirty="0">
                <a:solidFill>
                  <a:srgbClr val="000000"/>
                </a:solidFill>
                <a:latin typeface="Calibri" panose="020F0502020204030204"/>
              </a:rPr>
              <a:t>, to be unenforceable, such provision shall not affect the other provisions, but such unenforceable provision shall be deemed modified to the extent necessary to render it enforceable, preserving to the fullest extent permissible the intent of the Parties set forth herein.</a:t>
            </a:r>
          </a:p>
          <a:p>
            <a:pPr marL="362481" indent="-634342" algn="just" defTabSz="1208241">
              <a:spcBef>
                <a:spcPts val="591"/>
              </a:spcBef>
              <a:defRPr/>
            </a:pPr>
            <a:endParaRPr lang="en-US" sz="1041" dirty="0">
              <a:solidFill>
                <a:srgbClr val="000000"/>
              </a:solidFill>
              <a:latin typeface="Calibri" panose="020F0502020204030204"/>
            </a:endParaRPr>
          </a:p>
          <a:p>
            <a:pPr marL="362481" indent="-634342" algn="just" defTabSz="1208241">
              <a:spcBef>
                <a:spcPts val="591"/>
              </a:spcBef>
              <a:defRPr/>
            </a:pPr>
            <a:r>
              <a:rPr lang="en-US" sz="1041" b="1" dirty="0">
                <a:solidFill>
                  <a:srgbClr val="000000"/>
                </a:solidFill>
                <a:latin typeface="Calibri" panose="020F0502020204030204"/>
              </a:rPr>
              <a:t>25	Disclaimer. </a:t>
            </a:r>
          </a:p>
          <a:p>
            <a:pPr marL="362481" indent="-634342" algn="just" defTabSz="1208241">
              <a:spcBef>
                <a:spcPts val="591"/>
              </a:spcBef>
              <a:defRPr/>
            </a:pPr>
            <a:r>
              <a:rPr lang="en-US" sz="1041" dirty="0">
                <a:solidFill>
                  <a:srgbClr val="000000"/>
                </a:solidFill>
                <a:latin typeface="Calibri" panose="020F0502020204030204"/>
              </a:rPr>
              <a:t>25.1	It is understood and agreed that the Services may include advice and recommendations provided by Deloitte, but all decisions in connection with the implementation of such advice and recommendations shall be the responsibility of, and made by, the Client.</a:t>
            </a:r>
          </a:p>
          <a:p>
            <a:pPr marL="362481" indent="-634342" algn="just" defTabSz="1208241">
              <a:spcBef>
                <a:spcPts val="591"/>
              </a:spcBef>
              <a:defRPr/>
            </a:pPr>
            <a:r>
              <a:rPr lang="en-US" sz="1041" dirty="0">
                <a:solidFill>
                  <a:srgbClr val="000000"/>
                </a:solidFill>
                <a:latin typeface="Calibri" panose="020F0502020204030204"/>
              </a:rPr>
              <a:t>25.2	Deliverables are supplied on the basis that they are for the sole internal use of the Client and for the exclusive purpose set out therein. Deloitte shall not be liable for any loss, damages, costs or expenses directly or indirectly incurred by any party other than the Client as stated above, who may rely upon the Deliverables for whatsoever reason.</a:t>
            </a:r>
          </a:p>
          <a:p>
            <a:pPr marL="362481" indent="-634342" algn="just" defTabSz="1208241">
              <a:spcBef>
                <a:spcPts val="591"/>
              </a:spcBef>
              <a:defRPr/>
            </a:pPr>
            <a:r>
              <a:rPr lang="en-US" sz="1041" dirty="0">
                <a:solidFill>
                  <a:srgbClr val="000000"/>
                </a:solidFill>
                <a:latin typeface="Calibri" panose="020F0502020204030204"/>
              </a:rPr>
              <a:t>25.3	Any advice, recommendation, report, certificate, schedule or other Deliverable arising from or in connection with the Services under this Agreement will be for the sole use of the Client.  No person other than the Client shall be entitled to make use of any Deliverable, unless this has been agreed to in writing between the Parties, in advance, and subject to terms agreed between the Parties.</a:t>
            </a:r>
          </a:p>
          <a:p>
            <a:pPr marL="362481" indent="-634342" algn="just" defTabSz="1208241">
              <a:spcBef>
                <a:spcPts val="591"/>
              </a:spcBef>
              <a:defRPr/>
            </a:pPr>
            <a:r>
              <a:rPr lang="en-US" sz="1041" dirty="0">
                <a:solidFill>
                  <a:srgbClr val="000000"/>
                </a:solidFill>
                <a:latin typeface="Calibri" panose="020F0502020204030204"/>
              </a:rPr>
              <a:t>25.4	Any such advice, recommendation, report, certificate, schedule or other Deliverable is based on the particular facts and circumstances of the Client at a particular point in time.  Consequently, such advice, recommendation, report, certificate, schedule or other Deliverable may not be relevant to another Party or at a different time and under different circumstances.</a:t>
            </a:r>
          </a:p>
          <a:p>
            <a:pPr marL="362481" indent="-634342" algn="just" defTabSz="1208241">
              <a:spcBef>
                <a:spcPts val="591"/>
              </a:spcBef>
              <a:defRPr/>
            </a:pPr>
            <a:endParaRPr lang="en-US" sz="89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D50193A6-6F92-4839-B2E0-CEB945AB8548}"/>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0658510-A359-48DF-A0C3-2C84AD992A4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278296460"/>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7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8"/>
            <a:ext cx="10342039" cy="5549288"/>
          </a:xfrm>
          <a:prstGeom prst="rect">
            <a:avLst/>
          </a:prstGeom>
          <a:noFill/>
        </p:spPr>
        <p:txBody>
          <a:bodyPr wrap="square">
            <a:spAutoFit/>
          </a:bodyPr>
          <a:lstStyle/>
          <a:p>
            <a:pPr marL="362481" indent="-634342" algn="just" defTabSz="1208241">
              <a:spcBef>
                <a:spcPts val="591"/>
              </a:spcBef>
              <a:defRPr/>
            </a:pPr>
            <a:r>
              <a:rPr lang="en-US" sz="1041" b="1" dirty="0">
                <a:solidFill>
                  <a:srgbClr val="000000"/>
                </a:solidFill>
                <a:latin typeface="Calibri" panose="020F0502020204030204"/>
              </a:rPr>
              <a:t>26	Special Terms.</a:t>
            </a:r>
          </a:p>
          <a:p>
            <a:pPr marL="362481" indent="-634342" algn="just" defTabSz="1208241">
              <a:spcBef>
                <a:spcPts val="591"/>
              </a:spcBef>
              <a:defRPr/>
            </a:pPr>
            <a:r>
              <a:rPr lang="en-US" sz="1041" dirty="0">
                <a:solidFill>
                  <a:srgbClr val="000000"/>
                </a:solidFill>
                <a:latin typeface="Calibri" panose="020F0502020204030204"/>
              </a:rPr>
              <a:t>26.1	Deloitte Auditor Independence.</a:t>
            </a:r>
          </a:p>
          <a:p>
            <a:pPr marL="362481" indent="-634342" algn="just" defTabSz="1208241">
              <a:spcBef>
                <a:spcPts val="591"/>
              </a:spcBef>
              <a:defRPr/>
            </a:pPr>
            <a:r>
              <a:rPr lang="en-US" sz="1041" dirty="0">
                <a:solidFill>
                  <a:srgbClr val="000000"/>
                </a:solidFill>
                <a:latin typeface="Calibri" panose="020F0502020204030204"/>
              </a:rPr>
              <a:t>	26.1.1	Deloitte is committed to fully complying with the Code of Professional Conduct for Registered Auditors, and the Code of Ethics for Professional Accountants of IFAC 	(International Federation of Accountants), and the legal requirements of stock exchanges around the world, all as amended from time to time, which require a 	multidisciplinary firm like Deloitte to maintain, and to be seen to maintain, its independence as auditors when rendering non-audit services to, and forming business  	relationships with, audit clients.</a:t>
            </a:r>
          </a:p>
          <a:p>
            <a:pPr marL="362481" indent="-634342" algn="just" defTabSz="1208241">
              <a:spcBef>
                <a:spcPts val="591"/>
              </a:spcBef>
              <a:defRPr/>
            </a:pPr>
            <a:r>
              <a:rPr lang="en-US" sz="1041" dirty="0">
                <a:solidFill>
                  <a:srgbClr val="000000"/>
                </a:solidFill>
                <a:latin typeface="Calibri" panose="020F0502020204030204"/>
              </a:rPr>
              <a:t>	26.1.2	In the context of the codes referenced above, Deloitte is at times precluded from rendering certain consulting services to, or forming business relationships with, 	companies that are subsidiaries of, or affiliates of, any company that is listed (or intends listing) on the New York Stock Exchange or the London Stock Exchange, 	or  any other national stock exchange, or which has a subsidiary or affiliate that is listed in the United States or the United Kingdom or elsewhere, for which any D&amp;T 	Party is an appointed external auditor. The restrictions described in this clause also apply to Deloitte forming business relationships with the management of any such  	companies in their personal capacities.</a:t>
            </a:r>
          </a:p>
          <a:p>
            <a:pPr marL="362481" indent="-634342" algn="just" defTabSz="1208241">
              <a:spcBef>
                <a:spcPts val="591"/>
              </a:spcBef>
              <a:defRPr/>
            </a:pPr>
            <a:r>
              <a:rPr lang="en-US" sz="1041" dirty="0">
                <a:solidFill>
                  <a:srgbClr val="000000"/>
                </a:solidFill>
                <a:latin typeface="Calibri" panose="020F0502020204030204"/>
              </a:rPr>
              <a:t>	26.1.3	Deloitte is also restricted from rendering certain consulting services to, or forming business relationships with, other audit clients of any of the D&amp;T Parties, or their 	subsidiaries or affiliates, which do not fall into the categories listed in clause 26.1.2 above, including listed and unlisted audit clients unless such services are 	permissible.</a:t>
            </a:r>
          </a:p>
          <a:p>
            <a:pPr marL="362481" indent="-634342" algn="just" defTabSz="1208241">
              <a:spcBef>
                <a:spcPts val="591"/>
              </a:spcBef>
              <a:defRPr/>
            </a:pPr>
            <a:r>
              <a:rPr lang="en-US" sz="1041" dirty="0">
                <a:solidFill>
                  <a:srgbClr val="000000"/>
                </a:solidFill>
                <a:latin typeface="Calibri" panose="020F0502020204030204"/>
              </a:rPr>
              <a:t>	26.1.4	Deloitte and the Client agree to take all reasonable actions to resolve any constraints resulting from this clause 26 without delay.  Should it not be possible to resolve 	any such constraints, Deloitte reserves the right to terminate the Agreement in terms of clause 9 of this Agreement.</a:t>
            </a:r>
          </a:p>
          <a:p>
            <a:pPr marL="362481" indent="-634342" algn="just" defTabSz="1208241">
              <a:spcBef>
                <a:spcPts val="591"/>
              </a:spcBef>
              <a:defRPr/>
            </a:pPr>
            <a:r>
              <a:rPr lang="en-US" sz="1041" dirty="0">
                <a:solidFill>
                  <a:srgbClr val="000000"/>
                </a:solidFill>
                <a:latin typeface="Calibri" panose="020F0502020204030204"/>
              </a:rPr>
              <a:t>26.2	Termination due to Auditor Independence.</a:t>
            </a:r>
          </a:p>
          <a:p>
            <a:pPr marL="362481" indent="-634342" algn="just" defTabSz="1208241">
              <a:spcBef>
                <a:spcPts val="591"/>
              </a:spcBef>
              <a:defRPr/>
            </a:pPr>
            <a:r>
              <a:rPr lang="en-US" sz="1041" dirty="0">
                <a:solidFill>
                  <a:srgbClr val="000000"/>
                </a:solidFill>
                <a:latin typeface="Calibri" panose="020F0502020204030204"/>
              </a:rPr>
              <a:t>	Deloitte may, without incurring any penalty, terminate this Agreement in whole or in part, with immediate effect upon written notice to the Client if Deloitte determines that (i) a governmental, regulatory, or professional entity or other entity having the force of law has introduced a new, or modified an existing law, rule, regulation, interpretation, or decision, the result of which would render Deloitte’s performance of any part of this Agreement illegal or otherwise unlawful or in conflict with independence or professional rules or (ii) circumstances change (including, without limitation, changes in ownership of the Client or of its Affiliates, so that Deloitte’s performance of any part of this Agreement would be illegal or otherwise unlawful or in conflict with independence or professional rules.  </a:t>
            </a:r>
          </a:p>
          <a:p>
            <a:pPr marL="362481" indent="-634342" algn="just" defTabSz="1208241">
              <a:spcBef>
                <a:spcPts val="591"/>
              </a:spcBef>
              <a:defRPr/>
            </a:pPr>
            <a:endParaRPr lang="en-US" sz="1041" b="1" dirty="0">
              <a:solidFill>
                <a:srgbClr val="000000"/>
              </a:solidFill>
              <a:latin typeface="Calibri" panose="020F0502020204030204"/>
            </a:endParaRPr>
          </a:p>
          <a:p>
            <a:pPr marL="362481" indent="-634342" algn="just" defTabSz="1208241">
              <a:spcBef>
                <a:spcPts val="591"/>
              </a:spcBef>
              <a:defRPr/>
            </a:pPr>
            <a:r>
              <a:rPr lang="en-US" sz="1041" b="1" dirty="0">
                <a:solidFill>
                  <a:srgbClr val="000000"/>
                </a:solidFill>
                <a:latin typeface="Calibri" panose="020F0502020204030204"/>
              </a:rPr>
              <a:t>27	Non-Exclusivity.</a:t>
            </a:r>
          </a:p>
          <a:p>
            <a:pPr marL="362481" indent="-634342" algn="just" defTabSz="1208241">
              <a:spcBef>
                <a:spcPts val="591"/>
              </a:spcBef>
              <a:defRPr/>
            </a:pPr>
            <a:r>
              <a:rPr lang="en-US" sz="1041" b="1" dirty="0">
                <a:solidFill>
                  <a:srgbClr val="000000"/>
                </a:solidFill>
                <a:latin typeface="Calibri" panose="020F0502020204030204"/>
              </a:rPr>
              <a:t>	</a:t>
            </a:r>
            <a:r>
              <a:rPr lang="en-US" sz="1041" dirty="0">
                <a:solidFill>
                  <a:srgbClr val="000000"/>
                </a:solidFill>
                <a:latin typeface="Calibri" panose="020F0502020204030204"/>
              </a:rPr>
              <a:t>The Client acknowledges that the D&amp;T Parties render audit, accounting, financial services, management consulting, consultants, and a variety of other services to a large and diverse range of clients.  The rendering of the Services to the Client will not prevent Deloitte or D&amp;T Parties from rendering the same or similar Services to other parties, some of whom could be competitors of the Client or who may be in conflict with the Client.  In addition, the existence of this Agreement will not prevent Deloitte or D&amp;T Parties from establishing similar agreements with other parties. </a:t>
            </a:r>
          </a:p>
          <a:p>
            <a:pPr marL="362481" indent="-634342" algn="just" defTabSz="1208241">
              <a:spcBef>
                <a:spcPts val="591"/>
              </a:spcBef>
              <a:defRPr/>
            </a:pPr>
            <a:endParaRPr lang="en-US" sz="89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C01E2D5C-25F2-4014-8DDA-5B2E681E7EA5}"/>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25D330E9-C0C8-4F99-B585-78E44EC9432C}"/>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1184605419"/>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8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7"/>
            <a:ext cx="10342039" cy="5556913"/>
          </a:xfrm>
          <a:prstGeom prst="rect">
            <a:avLst/>
          </a:prstGeom>
          <a:noFill/>
        </p:spPr>
        <p:txBody>
          <a:bodyPr wrap="square">
            <a:spAutoFit/>
          </a:bodyPr>
          <a:lstStyle/>
          <a:p>
            <a:pPr marL="362481" indent="-634342" algn="just" defTabSz="1208241">
              <a:spcBef>
                <a:spcPts val="591"/>
              </a:spcBef>
              <a:defRPr/>
            </a:pPr>
            <a:r>
              <a:rPr lang="en-US" sz="1041" b="1" dirty="0">
                <a:solidFill>
                  <a:srgbClr val="000000"/>
                </a:solidFill>
                <a:latin typeface="Calibri" panose="020F0502020204030204"/>
              </a:rPr>
              <a:t>28	Entire Agreement, Validity and Duration.</a:t>
            </a:r>
          </a:p>
          <a:p>
            <a:pPr marL="362481" indent="-634342" algn="just" defTabSz="1208241">
              <a:spcBef>
                <a:spcPts val="591"/>
              </a:spcBef>
              <a:defRPr/>
            </a:pPr>
            <a:r>
              <a:rPr lang="en-US" sz="1041" dirty="0">
                <a:solidFill>
                  <a:srgbClr val="000000"/>
                </a:solidFill>
                <a:latin typeface="Calibri" panose="020F0502020204030204"/>
              </a:rPr>
              <a:t>28.1	The Agreement, together with all Change Orders, constitutes the entire agreement between Deloitte and the Client as to their respective subject matters, and supersedes all other oral and written representations, understandings or agreements between them as to their respective subject matters.  Where there is a conflict between the terms contained in this Agreement and any prior written proposals, quotations or submissions provided by Deloitte to the Client regarding the Services under this Agreement, this Agreement (or the Change Order) will take preference.</a:t>
            </a:r>
          </a:p>
          <a:p>
            <a:pPr marL="362481" indent="-634342" algn="just" defTabSz="1208241">
              <a:spcBef>
                <a:spcPts val="591"/>
              </a:spcBef>
              <a:defRPr/>
            </a:pPr>
            <a:r>
              <a:rPr lang="en-US" sz="1041" dirty="0">
                <a:solidFill>
                  <a:srgbClr val="000000"/>
                </a:solidFill>
                <a:latin typeface="Calibri" panose="020F0502020204030204"/>
              </a:rPr>
              <a:t>28.2	Should either Party wish to make any change to the body of this Agreement, including a Change Order, such change shall only take effect once made in writing and signed by both Parties.  The same restriction applies to the waiving of this requirement, which cannot be overridden verbally or by action implying intention.</a:t>
            </a:r>
          </a:p>
          <a:p>
            <a:pPr marL="362481" indent="-634342" algn="just" defTabSz="1208241">
              <a:spcBef>
                <a:spcPts val="591"/>
              </a:spcBef>
              <a:defRPr/>
            </a:pPr>
            <a:r>
              <a:rPr lang="en-US" sz="1041" dirty="0">
                <a:solidFill>
                  <a:srgbClr val="000000"/>
                </a:solidFill>
                <a:latin typeface="Calibri" panose="020F0502020204030204"/>
              </a:rPr>
              <a:t>28.3	This Agreement shall be regarded as commencing on the Effective Date and shall, unless terminated earlier in terms of this Agreement, automatically terminate once the Services under this Agreement have been rendered by Deloitte and all monies related thereto have been paid over by the Client to Deloitte, unless a further agreement, replacing and superseding this Agreement, is established in writing between the Parties. </a:t>
            </a:r>
          </a:p>
          <a:p>
            <a:pPr marL="362481" indent="-634342" algn="just" defTabSz="1208241">
              <a:spcBef>
                <a:spcPts val="591"/>
              </a:spcBef>
              <a:defRPr/>
            </a:pPr>
            <a:r>
              <a:rPr lang="en-US" sz="1041" dirty="0">
                <a:solidFill>
                  <a:srgbClr val="000000"/>
                </a:solidFill>
                <a:latin typeface="Calibri" panose="020F0502020204030204"/>
              </a:rPr>
              <a:t>28.4	All obligations created in this Agreement shall survive change or termination of the business relationship between the Parties, unless such obligations have been expressly terminated in writing by both Parties.</a:t>
            </a:r>
          </a:p>
          <a:p>
            <a:pPr marL="362481" indent="-634342" algn="just" defTabSz="1208241">
              <a:spcBef>
                <a:spcPts val="591"/>
              </a:spcBef>
              <a:defRPr/>
            </a:pPr>
            <a:endParaRPr lang="en-US" sz="1041" b="1" dirty="0">
              <a:solidFill>
                <a:srgbClr val="000000"/>
              </a:solidFill>
              <a:latin typeface="Calibri" panose="020F0502020204030204"/>
            </a:endParaRPr>
          </a:p>
          <a:p>
            <a:pPr marL="362481" indent="-634342" algn="just" defTabSz="1208241">
              <a:spcBef>
                <a:spcPts val="591"/>
              </a:spcBef>
              <a:defRPr/>
            </a:pPr>
            <a:r>
              <a:rPr lang="en-US" sz="1041" b="1" dirty="0">
                <a:solidFill>
                  <a:srgbClr val="000000"/>
                </a:solidFill>
                <a:latin typeface="Calibri" panose="020F0502020204030204"/>
              </a:rPr>
              <a:t>29	Anti-Corruption.</a:t>
            </a:r>
          </a:p>
          <a:p>
            <a:pPr marL="362481" indent="-634342" algn="just" defTabSz="1208241">
              <a:spcBef>
                <a:spcPts val="591"/>
              </a:spcBef>
              <a:defRPr/>
            </a:pPr>
            <a:r>
              <a:rPr lang="en-US" sz="1041" dirty="0">
                <a:solidFill>
                  <a:srgbClr val="000000"/>
                </a:solidFill>
                <a:latin typeface="Calibri" panose="020F0502020204030204"/>
              </a:rPr>
              <a:t>29.1	Each contracting party hereby acknowledges and confirms that each has adopted a policy of zero tolerance to bribery and corruption, implementing a total ban of any corrupt practices and on any facilitation payments. Both parties, in connection to the performance of services, conform and shall continue to abide by the applicable legislation as currently exists or as may be amended from time to time; as well as the internal policies and procedures of each party developed and focused on combating bribery and corruption.</a:t>
            </a:r>
          </a:p>
          <a:p>
            <a:pPr marL="362481" indent="-634342" algn="just" defTabSz="1208241">
              <a:spcBef>
                <a:spcPts val="591"/>
              </a:spcBef>
              <a:defRPr/>
            </a:pPr>
            <a:r>
              <a:rPr lang="en-US" sz="1041" dirty="0">
                <a:solidFill>
                  <a:srgbClr val="000000"/>
                </a:solidFill>
                <a:latin typeface="Calibri" panose="020F0502020204030204"/>
              </a:rPr>
              <a:t>29.2	In connection with its performance of services, each contracting party ensures that the parties and their employees shall be prohibited to offer make, consent to offer or make, any suspicious payment (in cash or valuable gifts) to any persons (including, but not limited to, private individuals, commercial entities and government public officials), and shall not solicit, accept or agree to accept from any person any corruption-related payments (cash or valuable gifts), whether directly or indirectly.</a:t>
            </a:r>
          </a:p>
          <a:p>
            <a:pPr marL="362481" indent="-634342" algn="just" defTabSz="1208241">
              <a:spcBef>
                <a:spcPts val="591"/>
              </a:spcBef>
              <a:defRPr/>
            </a:pPr>
            <a:endParaRPr lang="en-US" sz="1041" dirty="0">
              <a:solidFill>
                <a:srgbClr val="000000"/>
              </a:solidFill>
              <a:latin typeface="Calibri" panose="020F0502020204030204"/>
            </a:endParaRPr>
          </a:p>
          <a:p>
            <a:pPr marL="362481" indent="-634342" algn="just" defTabSz="1208241">
              <a:spcBef>
                <a:spcPts val="591"/>
              </a:spcBef>
              <a:defRPr/>
            </a:pPr>
            <a:r>
              <a:rPr lang="en-US" sz="1041" b="1" dirty="0">
                <a:solidFill>
                  <a:srgbClr val="000000"/>
                </a:solidFill>
                <a:latin typeface="Calibri" panose="020F0502020204030204"/>
              </a:rPr>
              <a:t>30	Respect and Inclusion Behaviors.</a:t>
            </a:r>
          </a:p>
          <a:p>
            <a:pPr marL="362481" indent="-634342" algn="just" defTabSz="1208241">
              <a:spcBef>
                <a:spcPts val="591"/>
              </a:spcBef>
              <a:defRPr/>
            </a:pPr>
            <a:r>
              <a:rPr lang="en-US" sz="1041" dirty="0">
                <a:solidFill>
                  <a:srgbClr val="000000"/>
                </a:solidFill>
                <a:latin typeface="Calibri" panose="020F0502020204030204"/>
              </a:rPr>
              <a:t>30.1	In relation to the engagement, we each agree to foster a culture and working environment where our people treat each other with respect, courtesy and fairness (“Respect &amp; Inclusion Behaviors”). We are committed to encouraging and enabling conversations to address any behaviors that are not aligned with the Respect &amp; Inclusion Behaviors. If an individual would like to raise a concern, they should discuss the matter within their respective organizations in the first instance, following which a conversation between the Deloitte partner and the Client sponsor will be held to address the matter.</a:t>
            </a:r>
          </a:p>
          <a:p>
            <a:pPr marL="362481" indent="-634342" algn="just" defTabSz="1208241">
              <a:spcBef>
                <a:spcPts val="591"/>
              </a:spcBef>
              <a:defRPr/>
            </a:pPr>
            <a:r>
              <a:rPr lang="en-US" sz="1041" dirty="0">
                <a:solidFill>
                  <a:srgbClr val="000000"/>
                </a:solidFill>
                <a:latin typeface="Calibri" panose="020F0502020204030204"/>
              </a:rPr>
              <a:t>30.2	The parties will communicate the steps taken to resolve the matter and will notify each other of the agreed outcomes in writing.</a:t>
            </a:r>
          </a:p>
          <a:p>
            <a:pPr marL="362481" indent="-634342" algn="just" defTabSz="1208241">
              <a:spcBef>
                <a:spcPts val="591"/>
              </a:spcBef>
              <a:defRPr/>
            </a:pPr>
            <a:endParaRPr lang="en-US" sz="891" dirty="0">
              <a:solidFill>
                <a:srgbClr val="000000"/>
              </a:solidFill>
              <a:latin typeface="Calibri" panose="020F0502020204030204"/>
            </a:endParaRPr>
          </a:p>
        </p:txBody>
      </p:sp>
      <p:sp>
        <p:nvSpPr>
          <p:cNvPr id="6" name="Triangle 28">
            <a:extLst>
              <a:ext uri="{FF2B5EF4-FFF2-40B4-BE49-F238E27FC236}">
                <a16:creationId xmlns:a16="http://schemas.microsoft.com/office/drawing/2014/main" id="{7E861545-7A4D-4CC3-B69E-2EA81CEBDD35}"/>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E8486DB4-B771-4760-933A-66270083D3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50147945"/>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979804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6">
            <a:extLst>
              <a:ext uri="{FF2B5EF4-FFF2-40B4-BE49-F238E27FC236}">
                <a16:creationId xmlns:a16="http://schemas.microsoft.com/office/drawing/2014/main" id="{36AA4147-F54A-4DCD-8F70-AC74104C5B7C}"/>
              </a:ext>
            </a:extLst>
          </p:cNvPr>
          <p:cNvSpPr>
            <a:spLocks noGrp="1"/>
          </p:cNvSpPr>
          <p:nvPr>
            <p:ph type="body" sz="quarter" idx="13"/>
          </p:nvPr>
        </p:nvSpPr>
        <p:spPr>
          <a:xfrm>
            <a:off x="522373" y="761804"/>
            <a:ext cx="11147258" cy="750193"/>
          </a:xfrm>
        </p:spPr>
        <p:txBody>
          <a:bodyPr/>
          <a:lstStyle/>
          <a:p>
            <a:pPr>
              <a:lnSpc>
                <a:spcPct val="120000"/>
              </a:lnSpc>
            </a:pPr>
            <a:r>
              <a:rPr lang="en-US" dirty="0">
                <a:solidFill>
                  <a:srgbClr val="00A3E0"/>
                </a:solidFill>
                <a:cs typeface="Calibri" panose="020F0502020204030204" pitchFamily="34" charset="0"/>
              </a:rPr>
              <a:t>Leaders in Resilience</a:t>
            </a:r>
          </a:p>
        </p:txBody>
      </p:sp>
      <p:sp>
        <p:nvSpPr>
          <p:cNvPr id="91" name="Rectangle 90">
            <a:extLst>
              <a:ext uri="{FF2B5EF4-FFF2-40B4-BE49-F238E27FC236}">
                <a16:creationId xmlns:a16="http://schemas.microsoft.com/office/drawing/2014/main" id="{09C19827-00C1-4AEB-AEAD-6EA65BF38BE2}"/>
              </a:ext>
            </a:extLst>
          </p:cNvPr>
          <p:cNvSpPr/>
          <p:nvPr/>
        </p:nvSpPr>
        <p:spPr>
          <a:xfrm>
            <a:off x="435544" y="1667156"/>
            <a:ext cx="5603749" cy="1629998"/>
          </a:xfrm>
          <a:prstGeom prst="rect">
            <a:avLst/>
          </a:prstGeom>
        </p:spPr>
        <p:txBody>
          <a:bodyPr wrap="square">
            <a:spAutoFit/>
          </a:bodyPr>
          <a:lstStyle/>
          <a:p>
            <a:pPr algn="just" defTabSz="1208241">
              <a:spcAft>
                <a:spcPct val="60000"/>
              </a:spcAft>
              <a:buClr>
                <a:srgbClr val="000000"/>
              </a:buClr>
              <a:defRPr/>
            </a:pPr>
            <a:r>
              <a:rPr lang="en-US" sz="1041" kern="0" dirty="0">
                <a:solidFill>
                  <a:prstClr val="black"/>
                </a:solidFill>
                <a:latin typeface="Calibri" panose="020F0502020204030204" pitchFamily="34" charset="0"/>
                <a:ea typeface="Verdana" panose="020B0604030504040204" pitchFamily="34" charset="0"/>
                <a:cs typeface="Calibri" panose="020F0502020204030204" pitchFamily="34" charset="0"/>
              </a:rPr>
              <a:t>“The </a:t>
            </a:r>
            <a:r>
              <a:rPr lang="en-US" sz="1041" b="1" kern="0" dirty="0">
                <a:solidFill>
                  <a:prstClr val="black"/>
                </a:solidFill>
                <a:latin typeface="Calibri" panose="020F0502020204030204" pitchFamily="34" charset="0"/>
                <a:ea typeface="Verdana" panose="020B0604030504040204" pitchFamily="34" charset="0"/>
                <a:cs typeface="Calibri" panose="020F0502020204030204" pitchFamily="34" charset="0"/>
              </a:rPr>
              <a:t>winning organization</a:t>
            </a:r>
            <a:r>
              <a:rPr lang="en-US" sz="1041" kern="0" dirty="0">
                <a:solidFill>
                  <a:prstClr val="black"/>
                </a:solidFill>
                <a:latin typeface="Calibri" panose="020F0502020204030204" pitchFamily="34" charset="0"/>
                <a:ea typeface="Verdana" panose="020B0604030504040204" pitchFamily="34" charset="0"/>
                <a:cs typeface="Calibri" panose="020F0502020204030204" pitchFamily="34" charset="0"/>
              </a:rPr>
              <a:t> of this award (Deloitte) offers a </a:t>
            </a:r>
            <a:r>
              <a:rPr lang="en-US" sz="1041" b="1" kern="0" dirty="0">
                <a:solidFill>
                  <a:prstClr val="black"/>
                </a:solidFill>
                <a:latin typeface="Calibri" panose="020F0502020204030204" pitchFamily="34" charset="0"/>
                <a:ea typeface="Verdana" panose="020B0604030504040204" pitchFamily="34" charset="0"/>
                <a:cs typeface="Calibri" panose="020F0502020204030204" pitchFamily="34" charset="0"/>
              </a:rPr>
              <a:t>comprehensive array of solutions </a:t>
            </a:r>
            <a:r>
              <a:rPr lang="en-US" sz="1041" kern="0" dirty="0">
                <a:solidFill>
                  <a:prstClr val="black"/>
                </a:solidFill>
                <a:latin typeface="Calibri" panose="020F0502020204030204" pitchFamily="34" charset="0"/>
                <a:ea typeface="Verdana" panose="020B0604030504040204" pitchFamily="34" charset="0"/>
                <a:cs typeface="Calibri" panose="020F0502020204030204" pitchFamily="34" charset="0"/>
              </a:rPr>
              <a:t>designed to help their clients evaluate their risks, determine acceptable levels of exposure and monitor the applications of these controls. Throughout 2013, they </a:t>
            </a:r>
            <a:r>
              <a:rPr lang="en-US" sz="1041" b="1" kern="0" dirty="0">
                <a:solidFill>
                  <a:prstClr val="black"/>
                </a:solidFill>
                <a:latin typeface="Calibri" panose="020F0502020204030204" pitchFamily="34" charset="0"/>
                <a:ea typeface="Verdana" panose="020B0604030504040204" pitchFamily="34" charset="0"/>
                <a:cs typeface="Calibri" panose="020F0502020204030204" pitchFamily="34" charset="0"/>
              </a:rPr>
              <a:t>excelled in delivering</a:t>
            </a:r>
            <a:r>
              <a:rPr lang="en-US" sz="1041" kern="0" dirty="0">
                <a:solidFill>
                  <a:prstClr val="black"/>
                </a:solidFill>
                <a:latin typeface="Calibri" panose="020F0502020204030204" pitchFamily="34" charset="0"/>
                <a:ea typeface="Verdana" panose="020B0604030504040204" pitchFamily="34" charset="0"/>
                <a:cs typeface="Calibri" panose="020F0502020204030204" pitchFamily="34" charset="0"/>
              </a:rPr>
              <a:t> business continuity, resilience and operational risk management solutions to a number of clients and </a:t>
            </a:r>
            <a:r>
              <a:rPr lang="en-US" sz="1041" b="1" kern="0" dirty="0">
                <a:solidFill>
                  <a:prstClr val="black"/>
                </a:solidFill>
                <a:latin typeface="Calibri" panose="020F0502020204030204" pitchFamily="34" charset="0"/>
                <a:ea typeface="Verdana" panose="020B0604030504040204" pitchFamily="34" charset="0"/>
                <a:cs typeface="Calibri" panose="020F0502020204030204" pitchFamily="34" charset="0"/>
              </a:rPr>
              <a:t>redefined the standard of excellence</a:t>
            </a:r>
            <a:r>
              <a:rPr lang="en-US" sz="1041" kern="0" dirty="0">
                <a:solidFill>
                  <a:prstClr val="black"/>
                </a:solidFill>
                <a:latin typeface="Calibri" panose="020F0502020204030204" pitchFamily="34" charset="0"/>
                <a:ea typeface="Verdana" panose="020B0604030504040204" pitchFamily="34" charset="0"/>
                <a:cs typeface="Calibri" panose="020F0502020204030204" pitchFamily="34" charset="0"/>
              </a:rPr>
              <a:t> in the BCM domain for the region.” - </a:t>
            </a:r>
            <a:r>
              <a:rPr lang="en-US" sz="1041" b="1" kern="0" dirty="0">
                <a:solidFill>
                  <a:prstClr val="black"/>
                </a:solidFill>
                <a:latin typeface="Calibri" panose="020F0502020204030204" pitchFamily="34" charset="0"/>
                <a:ea typeface="Verdana" panose="020B0604030504040204" pitchFamily="34" charset="0"/>
                <a:cs typeface="Calibri" panose="020F0502020204030204" pitchFamily="34" charset="0"/>
              </a:rPr>
              <a:t>Business Continuity Provider of the Year 2014 (Service) Award.</a:t>
            </a:r>
          </a:p>
          <a:p>
            <a:pPr algn="just" defTabSz="1208241">
              <a:spcAft>
                <a:spcPct val="60000"/>
              </a:spcAft>
              <a:buClr>
                <a:srgbClr val="000000"/>
              </a:buClr>
              <a:defRPr/>
            </a:pPr>
            <a:r>
              <a:rPr lang="en-US" sz="1041" kern="0" dirty="0">
                <a:solidFill>
                  <a:prstClr val="black"/>
                </a:solidFill>
                <a:latin typeface="Calibri" panose="020F0502020204030204" pitchFamily="34" charset="0"/>
                <a:ea typeface="Verdana" panose="020B0604030504040204" pitchFamily="34" charset="0"/>
                <a:cs typeface="Calibri" panose="020F0502020204030204" pitchFamily="34" charset="0"/>
              </a:rPr>
              <a:t>Also, our team of Professionals have been honored with the prestigious BCM &amp; Risk Management award for their exceptional contribution at the </a:t>
            </a:r>
            <a:r>
              <a:rPr lang="en-US" sz="1041" b="1" kern="0" dirty="0">
                <a:solidFill>
                  <a:prstClr val="black"/>
                </a:solidFill>
                <a:latin typeface="Calibri" panose="020F0502020204030204" pitchFamily="34" charset="0"/>
                <a:ea typeface="Verdana" panose="020B0604030504040204" pitchFamily="34" charset="0"/>
                <a:cs typeface="Calibri" panose="020F0502020204030204" pitchFamily="34" charset="0"/>
              </a:rPr>
              <a:t>GCC Security Symposium &amp; CISO Awards 7</a:t>
            </a:r>
            <a:r>
              <a:rPr lang="en-US" sz="1041" b="1" kern="0" baseline="30000" dirty="0">
                <a:solidFill>
                  <a:prstClr val="black"/>
                </a:solidFill>
                <a:latin typeface="Calibri" panose="020F0502020204030204" pitchFamily="34" charset="0"/>
                <a:ea typeface="Verdana" panose="020B0604030504040204" pitchFamily="34" charset="0"/>
                <a:cs typeface="Calibri" panose="020F0502020204030204" pitchFamily="34" charset="0"/>
              </a:rPr>
              <a:t>th</a:t>
            </a:r>
            <a:r>
              <a:rPr lang="en-US" sz="1041" b="1" kern="0" dirty="0">
                <a:solidFill>
                  <a:prstClr val="black"/>
                </a:solidFill>
                <a:latin typeface="Calibri" panose="020F0502020204030204" pitchFamily="34" charset="0"/>
                <a:ea typeface="Verdana" panose="020B0604030504040204" pitchFamily="34" charset="0"/>
                <a:cs typeface="Calibri" panose="020F0502020204030204" pitchFamily="34" charset="0"/>
              </a:rPr>
              <a:t> Edition </a:t>
            </a:r>
            <a:r>
              <a:rPr lang="en-US" sz="1041" kern="0" dirty="0">
                <a:solidFill>
                  <a:prstClr val="black"/>
                </a:solidFill>
                <a:latin typeface="Calibri" panose="020F0502020204030204" pitchFamily="34" charset="0"/>
                <a:ea typeface="Verdana" panose="020B0604030504040204" pitchFamily="34" charset="0"/>
                <a:cs typeface="Calibri" panose="020F0502020204030204" pitchFamily="34" charset="0"/>
              </a:rPr>
              <a:t>in Riyadh and UAE in the Year 2023.</a:t>
            </a:r>
          </a:p>
        </p:txBody>
      </p:sp>
      <p:sp>
        <p:nvSpPr>
          <p:cNvPr id="121" name="Rounded Rectangle 5">
            <a:extLst>
              <a:ext uri="{FF2B5EF4-FFF2-40B4-BE49-F238E27FC236}">
                <a16:creationId xmlns:a16="http://schemas.microsoft.com/office/drawing/2014/main" id="{75647ABD-267B-4A66-BC9E-8BA3AEB49AF7}"/>
              </a:ext>
            </a:extLst>
          </p:cNvPr>
          <p:cNvSpPr/>
          <p:nvPr/>
        </p:nvSpPr>
        <p:spPr bwMode="gray">
          <a:xfrm>
            <a:off x="513409" y="1286035"/>
            <a:ext cx="5567670" cy="324213"/>
          </a:xfrm>
          <a:prstGeom prst="roundRect">
            <a:avLst/>
          </a:prstGeom>
          <a:solidFill>
            <a:srgbClr val="00A3E0"/>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071" tIns="88071" rIns="88071" bIns="88071" rtlCol="0" anchor="ctr"/>
          <a:lstStyle/>
          <a:p>
            <a:pPr algn="ctr">
              <a:lnSpc>
                <a:spcPct val="106000"/>
              </a:lnSpc>
              <a:buFont typeface="Wingdings 2" pitchFamily="18" charset="2"/>
              <a:buNone/>
            </a:pPr>
            <a:r>
              <a:rPr lang="en-US" sz="991" b="1" dirty="0">
                <a:solidFill>
                  <a:schemeClr val="bg1"/>
                </a:solidFill>
                <a:latin typeface="Calibri" panose="020F0502020204030204" pitchFamily="34" charset="0"/>
                <a:cs typeface="Calibri" panose="020F0502020204030204" pitchFamily="34" charset="0"/>
              </a:rPr>
              <a:t>Award Winning Performance</a:t>
            </a:r>
          </a:p>
        </p:txBody>
      </p:sp>
      <p:sp>
        <p:nvSpPr>
          <p:cNvPr id="123" name="Rounded Rectangle 45">
            <a:extLst>
              <a:ext uri="{FF2B5EF4-FFF2-40B4-BE49-F238E27FC236}">
                <a16:creationId xmlns:a16="http://schemas.microsoft.com/office/drawing/2014/main" id="{1352B785-D6D6-4925-955E-FB56381B3917}"/>
              </a:ext>
            </a:extLst>
          </p:cNvPr>
          <p:cNvSpPr/>
          <p:nvPr/>
        </p:nvSpPr>
        <p:spPr bwMode="gray">
          <a:xfrm>
            <a:off x="8716400" y="1286035"/>
            <a:ext cx="2189301" cy="329826"/>
          </a:xfrm>
          <a:prstGeom prst="roundRect">
            <a:avLst/>
          </a:prstGeom>
          <a:solidFill>
            <a:srgbClr val="00A1DF"/>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071" tIns="88071" rIns="88071" bIns="88071" rtlCol="0" anchor="ctr"/>
          <a:lstStyle/>
          <a:p>
            <a:pPr algn="ctr">
              <a:lnSpc>
                <a:spcPct val="106000"/>
              </a:lnSpc>
              <a:buFont typeface="Wingdings 2" pitchFamily="18" charset="2"/>
              <a:buNone/>
            </a:pPr>
            <a:r>
              <a:rPr lang="en-US" sz="991" b="1" dirty="0">
                <a:solidFill>
                  <a:schemeClr val="bg1"/>
                </a:solidFill>
                <a:latin typeface="Calibri" panose="020F0502020204030204" pitchFamily="34" charset="0"/>
                <a:cs typeface="Calibri" panose="020F0502020204030204" pitchFamily="34" charset="0"/>
              </a:rPr>
              <a:t>Forums &amp; Community Partners</a:t>
            </a:r>
          </a:p>
        </p:txBody>
      </p:sp>
      <p:sp>
        <p:nvSpPr>
          <p:cNvPr id="124" name="Rounded Rectangle 47">
            <a:extLst>
              <a:ext uri="{FF2B5EF4-FFF2-40B4-BE49-F238E27FC236}">
                <a16:creationId xmlns:a16="http://schemas.microsoft.com/office/drawing/2014/main" id="{D8C3C7F1-B23A-4812-B94C-75CF670D265B}"/>
              </a:ext>
            </a:extLst>
          </p:cNvPr>
          <p:cNvSpPr/>
          <p:nvPr/>
        </p:nvSpPr>
        <p:spPr bwMode="gray">
          <a:xfrm>
            <a:off x="8721144" y="3492318"/>
            <a:ext cx="2184558" cy="319012"/>
          </a:xfrm>
          <a:prstGeom prst="roundRect">
            <a:avLst/>
          </a:prstGeom>
          <a:solidFill>
            <a:srgbClr val="00A1DF"/>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071" tIns="88071" rIns="88071" bIns="88071" rtlCol="0" anchor="ctr"/>
          <a:lstStyle/>
          <a:p>
            <a:pPr algn="ctr">
              <a:lnSpc>
                <a:spcPct val="106000"/>
              </a:lnSpc>
              <a:buFont typeface="Wingdings 2" pitchFamily="18" charset="2"/>
              <a:buNone/>
            </a:pPr>
            <a:r>
              <a:rPr lang="en-US" sz="991" b="1" dirty="0">
                <a:solidFill>
                  <a:schemeClr val="bg1"/>
                </a:solidFill>
                <a:latin typeface="Calibri" panose="020F0502020204030204" pitchFamily="34" charset="0"/>
                <a:cs typeface="Calibri" panose="020F0502020204030204" pitchFamily="34" charset="0"/>
              </a:rPr>
              <a:t>Conferences &amp; Seminars</a:t>
            </a:r>
          </a:p>
        </p:txBody>
      </p:sp>
      <p:sp>
        <p:nvSpPr>
          <p:cNvPr id="129" name="Rectangle 128">
            <a:extLst>
              <a:ext uri="{FF2B5EF4-FFF2-40B4-BE49-F238E27FC236}">
                <a16:creationId xmlns:a16="http://schemas.microsoft.com/office/drawing/2014/main" id="{E35846E8-C14C-424C-9C57-FC524FE74F30}"/>
              </a:ext>
            </a:extLst>
          </p:cNvPr>
          <p:cNvSpPr/>
          <p:nvPr/>
        </p:nvSpPr>
        <p:spPr>
          <a:xfrm>
            <a:off x="8751910" y="2242596"/>
            <a:ext cx="2153791" cy="1212002"/>
          </a:xfrm>
          <a:prstGeom prst="rect">
            <a:avLst/>
          </a:prstGeom>
        </p:spPr>
        <p:txBody>
          <a:bodyPr wrap="square">
            <a:spAutoFit/>
          </a:bodyPr>
          <a:lstStyle/>
          <a:p>
            <a:pPr algn="just" defTabSz="1208241">
              <a:defRPr/>
            </a:pPr>
            <a:r>
              <a:rPr lang="en-US" sz="1041" dirty="0">
                <a:solidFill>
                  <a:prstClr val="black"/>
                </a:solidFill>
                <a:latin typeface="Calibri" panose="020F0502020204030204" pitchFamily="34" charset="0"/>
                <a:ea typeface="Verdana" panose="020B0604030504040204" pitchFamily="34" charset="0"/>
                <a:cs typeface="Calibri" panose="020F0502020204030204" pitchFamily="34" charset="0"/>
              </a:rPr>
              <a:t>Our resilience team members are members of professional communities such as the Business Continuity Institute’s (BCI) chapters and forums across the region, and regularly contribute to thought leadership across those platforms.</a:t>
            </a:r>
          </a:p>
        </p:txBody>
      </p:sp>
      <p:sp>
        <p:nvSpPr>
          <p:cNvPr id="134" name="Rectangle 133">
            <a:extLst>
              <a:ext uri="{FF2B5EF4-FFF2-40B4-BE49-F238E27FC236}">
                <a16:creationId xmlns:a16="http://schemas.microsoft.com/office/drawing/2014/main" id="{6F887961-8A0D-41DA-8BD9-BFA787623E45}"/>
              </a:ext>
            </a:extLst>
          </p:cNvPr>
          <p:cNvSpPr/>
          <p:nvPr/>
        </p:nvSpPr>
        <p:spPr>
          <a:xfrm>
            <a:off x="8716400" y="3858329"/>
            <a:ext cx="2184558" cy="748294"/>
          </a:xfrm>
          <a:prstGeom prst="rect">
            <a:avLst/>
          </a:prstGeom>
        </p:spPr>
        <p:txBody>
          <a:bodyPr wrap="square">
            <a:spAutoFit/>
          </a:bodyPr>
          <a:lstStyle/>
          <a:p>
            <a:pPr algn="just" defTabSz="1208241">
              <a:defRPr/>
            </a:pPr>
            <a:r>
              <a:rPr lang="en-US" sz="1041" dirty="0">
                <a:solidFill>
                  <a:prstClr val="black"/>
                </a:solidFill>
                <a:latin typeface="Calibri" panose="020F0502020204030204" pitchFamily="34" charset="0"/>
                <a:ea typeface="Verdana" panose="020B0604030504040204" pitchFamily="34" charset="0"/>
                <a:cs typeface="Calibri" panose="020F0502020204030204" pitchFamily="34" charset="0"/>
              </a:rPr>
              <a:t>Our resilience leadership team are regularly invited to speak at conferences and seminars on areas in resilience and crisis management.</a:t>
            </a:r>
          </a:p>
        </p:txBody>
      </p:sp>
      <p:sp>
        <p:nvSpPr>
          <p:cNvPr id="38" name="Title 1">
            <a:extLst>
              <a:ext uri="{FF2B5EF4-FFF2-40B4-BE49-F238E27FC236}">
                <a16:creationId xmlns:a16="http://schemas.microsoft.com/office/drawing/2014/main" id="{1BDF9B5D-5C63-43A0-B41F-A40E68E926B4}"/>
              </a:ext>
            </a:extLst>
          </p:cNvPr>
          <p:cNvSpPr>
            <a:spLocks noGrp="1"/>
          </p:cNvSpPr>
          <p:nvPr>
            <p:ph type="title"/>
          </p:nvPr>
        </p:nvSpPr>
        <p:spPr>
          <a:xfrm>
            <a:off x="522373" y="430820"/>
            <a:ext cx="11147258" cy="330986"/>
          </a:xfrm>
        </p:spPr>
        <p:txBody>
          <a:bodyPr/>
          <a:lstStyle/>
          <a:p>
            <a:r>
              <a:rPr lang="en-US" sz="2382" dirty="0">
                <a:solidFill>
                  <a:prstClr val="black"/>
                </a:solidFill>
                <a:cs typeface="Calibri" panose="020F0502020204030204" pitchFamily="34" charset="0"/>
              </a:rPr>
              <a:t>Our Capabilities</a:t>
            </a:r>
          </a:p>
        </p:txBody>
      </p:sp>
      <p:sp>
        <p:nvSpPr>
          <p:cNvPr id="36" name="Triangle 28">
            <a:extLst>
              <a:ext uri="{FF2B5EF4-FFF2-40B4-BE49-F238E27FC236}">
                <a16:creationId xmlns:a16="http://schemas.microsoft.com/office/drawing/2014/main" id="{7070B7CE-72D1-4C91-AE79-97D13CF3342A}"/>
              </a:ext>
            </a:extLst>
          </p:cNvPr>
          <p:cNvSpPr/>
          <p:nvPr/>
        </p:nvSpPr>
        <p:spPr>
          <a:xfrm rot="16200000">
            <a:off x="11060702" y="2333835"/>
            <a:ext cx="267460" cy="230569"/>
          </a:xfrm>
          <a:prstGeom prst="triangl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pic>
        <p:nvPicPr>
          <p:cNvPr id="5122" name="Picture 2" descr="The BCI Event Calendar | For all the best business continuity and  resilience events near you | BCI">
            <a:extLst>
              <a:ext uri="{FF2B5EF4-FFF2-40B4-BE49-F238E27FC236}">
                <a16:creationId xmlns:a16="http://schemas.microsoft.com/office/drawing/2014/main" id="{F3E24166-A21C-4614-98ED-54BE4E3A19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48119" y="1640227"/>
            <a:ext cx="1167905" cy="651170"/>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34C6F387-C3A6-4A70-A0E2-2E4930993751}"/>
              </a:ext>
            </a:extLst>
          </p:cNvPr>
          <p:cNvSpPr/>
          <p:nvPr/>
        </p:nvSpPr>
        <p:spPr bwMode="gray">
          <a:xfrm>
            <a:off x="1" y="0"/>
            <a:ext cx="165462" cy="6858000"/>
          </a:xfrm>
          <a:prstGeom prst="rect">
            <a:avLst/>
          </a:prstGeom>
          <a:solidFill>
            <a:srgbClr val="00A3E0"/>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800" b="1" dirty="0">
              <a:solidFill>
                <a:schemeClr val="bg1"/>
              </a:solidFill>
              <a:latin typeface="+mj-lt"/>
              <a:cs typeface="Sakkal Majalla" panose="02000000000000000000" pitchFamily="2" charset="-78"/>
            </a:endParaRPr>
          </a:p>
        </p:txBody>
      </p:sp>
      <p:grpSp>
        <p:nvGrpSpPr>
          <p:cNvPr id="8" name="Group 7">
            <a:extLst>
              <a:ext uri="{FF2B5EF4-FFF2-40B4-BE49-F238E27FC236}">
                <a16:creationId xmlns:a16="http://schemas.microsoft.com/office/drawing/2014/main" id="{66D7E1BA-BD38-E780-4EDF-4891DD3170EB}"/>
              </a:ext>
            </a:extLst>
          </p:cNvPr>
          <p:cNvGrpSpPr/>
          <p:nvPr/>
        </p:nvGrpSpPr>
        <p:grpSpPr>
          <a:xfrm>
            <a:off x="288049" y="3249825"/>
            <a:ext cx="5694395" cy="2746234"/>
            <a:chOff x="355634" y="3190240"/>
            <a:chExt cx="5694395" cy="2746234"/>
          </a:xfrm>
        </p:grpSpPr>
        <p:grpSp>
          <p:nvGrpSpPr>
            <p:cNvPr id="104" name="Group 103">
              <a:extLst>
                <a:ext uri="{FF2B5EF4-FFF2-40B4-BE49-F238E27FC236}">
                  <a16:creationId xmlns:a16="http://schemas.microsoft.com/office/drawing/2014/main" id="{9C459030-141A-4AA3-915D-E5AA00819D42}"/>
                </a:ext>
              </a:extLst>
            </p:cNvPr>
            <p:cNvGrpSpPr/>
            <p:nvPr/>
          </p:nvGrpSpPr>
          <p:grpSpPr>
            <a:xfrm>
              <a:off x="475216" y="3190240"/>
              <a:ext cx="5574813" cy="2746234"/>
              <a:chOff x="780301" y="1151890"/>
              <a:chExt cx="13587512" cy="5065724"/>
            </a:xfrm>
          </p:grpSpPr>
          <p:grpSp>
            <p:nvGrpSpPr>
              <p:cNvPr id="108" name="Group 107">
                <a:extLst>
                  <a:ext uri="{FF2B5EF4-FFF2-40B4-BE49-F238E27FC236}">
                    <a16:creationId xmlns:a16="http://schemas.microsoft.com/office/drawing/2014/main" id="{BB3BD841-D606-46BD-B30F-6081B3DCBF42}"/>
                  </a:ext>
                </a:extLst>
              </p:cNvPr>
              <p:cNvGrpSpPr/>
              <p:nvPr/>
            </p:nvGrpSpPr>
            <p:grpSpPr>
              <a:xfrm>
                <a:off x="780301" y="1151890"/>
                <a:ext cx="13587512" cy="5065724"/>
                <a:chOff x="780301" y="1151890"/>
                <a:chExt cx="13587512" cy="5065724"/>
              </a:xfrm>
            </p:grpSpPr>
            <p:sp>
              <p:nvSpPr>
                <p:cNvPr id="118" name="Text Placeholder 5">
                  <a:extLst>
                    <a:ext uri="{FF2B5EF4-FFF2-40B4-BE49-F238E27FC236}">
                      <a16:creationId xmlns:a16="http://schemas.microsoft.com/office/drawing/2014/main" id="{F0877E7F-5BD8-4844-B144-4769160BE9C8}"/>
                    </a:ext>
                  </a:extLst>
                </p:cNvPr>
                <p:cNvSpPr txBox="1">
                  <a:spLocks/>
                </p:cNvSpPr>
                <p:nvPr/>
              </p:nvSpPr>
              <p:spPr>
                <a:xfrm>
                  <a:off x="4651375" y="1620838"/>
                  <a:ext cx="3600000" cy="4140000"/>
                </a:xfrm>
                <a:prstGeom prst="rect">
                  <a:avLst/>
                </a:prstGeom>
                <a:solidFill>
                  <a:sysClr val="window" lastClr="FFFFFF"/>
                </a:solidFill>
                <a:ln w="6350">
                  <a:solidFill>
                    <a:srgbClr val="BBBCBC"/>
                  </a:solidFill>
                </a:ln>
              </p:spPr>
              <p:txBody>
                <a:bodyPr wrap="square" lIns="79682" tIns="79682" rIns="79682" bIns="7968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1077"/>
                    </a:spcBef>
                    <a:defRPr/>
                  </a:pPr>
                  <a:endParaRPr lang="en-US" sz="1041" dirty="0">
                    <a:solidFill>
                      <a:prstClr val="black"/>
                    </a:solidFill>
                    <a:latin typeface="Calibri" panose="020F0502020204030204" pitchFamily="34" charset="0"/>
                    <a:cs typeface="Calibri" panose="020F0502020204030204" pitchFamily="34" charset="0"/>
                  </a:endParaRPr>
                </a:p>
              </p:txBody>
            </p:sp>
            <p:sp>
              <p:nvSpPr>
                <p:cNvPr id="119" name="Trapezoid 118">
                  <a:extLst>
                    <a:ext uri="{FF2B5EF4-FFF2-40B4-BE49-F238E27FC236}">
                      <a16:creationId xmlns:a16="http://schemas.microsoft.com/office/drawing/2014/main" id="{1458AD5A-8E33-419E-9DE3-FE6E2C7277D7}"/>
                    </a:ext>
                  </a:extLst>
                </p:cNvPr>
                <p:cNvSpPr/>
                <p:nvPr/>
              </p:nvSpPr>
              <p:spPr>
                <a:xfrm rot="16200000">
                  <a:off x="2264911" y="3375838"/>
                  <a:ext cx="4140000" cy="630000"/>
                </a:xfrm>
                <a:prstGeom prst="trapezoid">
                  <a:avLst>
                    <a:gd name="adj" fmla="val 98866"/>
                  </a:avLst>
                </a:prstGeom>
                <a:gradFill flip="none" rotWithShape="1">
                  <a:gsLst>
                    <a:gs pos="0">
                      <a:srgbClr val="8C8C8C">
                        <a:tint val="66000"/>
                        <a:satMod val="160000"/>
                      </a:srgbClr>
                    </a:gs>
                    <a:gs pos="50000">
                      <a:srgbClr val="8C8C8C">
                        <a:tint val="44500"/>
                        <a:satMod val="160000"/>
                      </a:srgbClr>
                    </a:gs>
                    <a:gs pos="100000">
                      <a:srgbClr val="8C8C8C">
                        <a:tint val="23500"/>
                        <a:satMod val="160000"/>
                      </a:srgbClr>
                    </a:gs>
                  </a:gsLst>
                  <a:lin ang="5400000" scaled="1"/>
                  <a:tileRect/>
                </a:gradFill>
                <a:ln w="19050" algn="ctr">
                  <a:noFill/>
                  <a:miter lim="800000"/>
                  <a:headEnd/>
                  <a:tailEnd/>
                </a:ln>
              </p:spPr>
              <p:txBody>
                <a:bodyPr vert="eaVert" wrap="none" lIns="79682" tIns="79682" rIns="79682" bIns="79682" rtlCol="0" anchor="ctr"/>
                <a:lstStyle/>
                <a:p>
                  <a:pPr algn="ctr" defTabSz="819918">
                    <a:spcBef>
                      <a:spcPts val="362"/>
                    </a:spcBef>
                    <a:defRPr/>
                  </a:pPr>
                  <a:endParaRPr lang="en-GB" sz="1041" kern="0" dirty="0">
                    <a:solidFill>
                      <a:prstClr val="black"/>
                    </a:solidFill>
                    <a:latin typeface="Calibri" panose="020F0502020204030204" pitchFamily="34" charset="0"/>
                    <a:cs typeface="Calibri" panose="020F0502020204030204" pitchFamily="34" charset="0"/>
                  </a:endParaRPr>
                </a:p>
              </p:txBody>
            </p:sp>
            <p:sp>
              <p:nvSpPr>
                <p:cNvPr id="120" name="Text Placeholder 5">
                  <a:extLst>
                    <a:ext uri="{FF2B5EF4-FFF2-40B4-BE49-F238E27FC236}">
                      <a16:creationId xmlns:a16="http://schemas.microsoft.com/office/drawing/2014/main" id="{85605298-BBC1-475C-BDC7-6293D1950AB7}"/>
                    </a:ext>
                  </a:extLst>
                </p:cNvPr>
                <p:cNvSpPr txBox="1">
                  <a:spLocks/>
                </p:cNvSpPr>
                <p:nvPr/>
              </p:nvSpPr>
              <p:spPr>
                <a:xfrm>
                  <a:off x="780301" y="2250838"/>
                  <a:ext cx="3240000" cy="2879999"/>
                </a:xfrm>
                <a:prstGeom prst="rect">
                  <a:avLst/>
                </a:prstGeom>
                <a:solidFill>
                  <a:sysClr val="window" lastClr="FFFFFF"/>
                </a:solidFill>
                <a:ln w="6350">
                  <a:solidFill>
                    <a:srgbClr val="BBBCBC"/>
                  </a:solidFill>
                </a:ln>
              </p:spPr>
              <p:txBody>
                <a:bodyPr wrap="square" lIns="79682" tIns="79682" rIns="79682" bIns="7968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1077"/>
                    </a:spcBef>
                    <a:defRPr/>
                  </a:pPr>
                  <a:endParaRPr lang="en-US" sz="1041" dirty="0">
                    <a:solidFill>
                      <a:prstClr val="black"/>
                    </a:solidFill>
                    <a:latin typeface="Calibri" panose="020F0502020204030204" pitchFamily="34" charset="0"/>
                    <a:cs typeface="Calibri" panose="020F0502020204030204" pitchFamily="34" charset="0"/>
                  </a:endParaRPr>
                </a:p>
              </p:txBody>
            </p:sp>
            <p:sp>
              <p:nvSpPr>
                <p:cNvPr id="39" name="Trapezoid 38">
                  <a:extLst>
                    <a:ext uri="{FF2B5EF4-FFF2-40B4-BE49-F238E27FC236}">
                      <a16:creationId xmlns:a16="http://schemas.microsoft.com/office/drawing/2014/main" id="{B48D0A13-BBB2-43DF-B222-0A96E90B37D8}"/>
                    </a:ext>
                  </a:extLst>
                </p:cNvPr>
                <p:cNvSpPr/>
                <p:nvPr/>
              </p:nvSpPr>
              <p:spPr>
                <a:xfrm rot="16200000">
                  <a:off x="6034974" y="3369753"/>
                  <a:ext cx="5065722" cy="629999"/>
                </a:xfrm>
                <a:prstGeom prst="trapezoid">
                  <a:avLst>
                    <a:gd name="adj" fmla="val 98866"/>
                  </a:avLst>
                </a:prstGeom>
                <a:gradFill flip="none" rotWithShape="1">
                  <a:gsLst>
                    <a:gs pos="0">
                      <a:srgbClr val="8C8C8C">
                        <a:tint val="66000"/>
                        <a:satMod val="160000"/>
                      </a:srgbClr>
                    </a:gs>
                    <a:gs pos="50000">
                      <a:srgbClr val="8C8C8C">
                        <a:tint val="44500"/>
                        <a:satMod val="160000"/>
                      </a:srgbClr>
                    </a:gs>
                    <a:gs pos="100000">
                      <a:srgbClr val="8C8C8C">
                        <a:tint val="23500"/>
                        <a:satMod val="160000"/>
                      </a:srgbClr>
                    </a:gs>
                  </a:gsLst>
                  <a:lin ang="5400000" scaled="1"/>
                  <a:tileRect/>
                </a:gradFill>
                <a:ln w="19050" algn="ctr">
                  <a:noFill/>
                  <a:miter lim="800000"/>
                  <a:headEnd/>
                  <a:tailEnd/>
                </a:ln>
              </p:spPr>
              <p:txBody>
                <a:bodyPr vert="eaVert" wrap="none" lIns="79682" tIns="79682" rIns="79682" bIns="79682" rtlCol="0" anchor="ctr"/>
                <a:lstStyle/>
                <a:p>
                  <a:pPr algn="ctr" defTabSz="819918">
                    <a:spcBef>
                      <a:spcPts val="362"/>
                    </a:spcBef>
                    <a:defRPr/>
                  </a:pPr>
                  <a:endParaRPr lang="en-GB" sz="1041" kern="0" dirty="0">
                    <a:solidFill>
                      <a:prstClr val="black"/>
                    </a:solidFill>
                    <a:latin typeface="Calibri" panose="020F0502020204030204" pitchFamily="34" charset="0"/>
                    <a:cs typeface="Calibri" panose="020F0502020204030204" pitchFamily="34" charset="0"/>
                  </a:endParaRPr>
                </a:p>
              </p:txBody>
            </p:sp>
            <p:sp>
              <p:nvSpPr>
                <p:cNvPr id="41" name="Text Placeholder 5">
                  <a:extLst>
                    <a:ext uri="{FF2B5EF4-FFF2-40B4-BE49-F238E27FC236}">
                      <a16:creationId xmlns:a16="http://schemas.microsoft.com/office/drawing/2014/main" id="{7B82E008-7E6E-4D38-841D-3139CFB95C08}"/>
                    </a:ext>
                  </a:extLst>
                </p:cNvPr>
                <p:cNvSpPr txBox="1">
                  <a:spLocks/>
                </p:cNvSpPr>
                <p:nvPr/>
              </p:nvSpPr>
              <p:spPr>
                <a:xfrm>
                  <a:off x="8918241" y="1151890"/>
                  <a:ext cx="5449572" cy="5065724"/>
                </a:xfrm>
                <a:prstGeom prst="rect">
                  <a:avLst/>
                </a:prstGeom>
                <a:solidFill>
                  <a:sysClr val="window" lastClr="FFFFFF"/>
                </a:solidFill>
                <a:ln w="6350">
                  <a:solidFill>
                    <a:srgbClr val="BBBCBC"/>
                  </a:solidFill>
                </a:ln>
              </p:spPr>
              <p:txBody>
                <a:bodyPr wrap="square" lIns="79682" tIns="79682" rIns="79682" bIns="79682"/>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1077"/>
                    </a:spcBef>
                    <a:defRPr/>
                  </a:pPr>
                  <a:endParaRPr lang="en-US" sz="1041" dirty="0">
                    <a:solidFill>
                      <a:prstClr val="black"/>
                    </a:solidFill>
                    <a:latin typeface="Calibri" panose="020F0502020204030204" pitchFamily="34" charset="0"/>
                    <a:cs typeface="Calibri" panose="020F0502020204030204" pitchFamily="34" charset="0"/>
                  </a:endParaRPr>
                </a:p>
              </p:txBody>
            </p:sp>
          </p:grpSp>
          <p:pic>
            <p:nvPicPr>
              <p:cNvPr id="109" name="Picture 4" descr="image002">
                <a:extLst>
                  <a:ext uri="{FF2B5EF4-FFF2-40B4-BE49-F238E27FC236}">
                    <a16:creationId xmlns:a16="http://schemas.microsoft.com/office/drawing/2014/main" id="{369FDF64-2EC1-4E75-A4CC-0EAF3B48BA1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96842" y="3676370"/>
                <a:ext cx="3221604" cy="1459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109">
                <a:extLst>
                  <a:ext uri="{FF2B5EF4-FFF2-40B4-BE49-F238E27FC236}">
                    <a16:creationId xmlns:a16="http://schemas.microsoft.com/office/drawing/2014/main" id="{B579BA91-7303-433C-A894-3A5596984E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7582" y="1620421"/>
                <a:ext cx="3583793" cy="2685944"/>
              </a:xfrm>
              <a:prstGeom prst="rect">
                <a:avLst/>
              </a:prstGeom>
            </p:spPr>
          </p:pic>
          <p:pic>
            <p:nvPicPr>
              <p:cNvPr id="114" name="Picture 113">
                <a:extLst>
                  <a:ext uri="{FF2B5EF4-FFF2-40B4-BE49-F238E27FC236}">
                    <a16:creationId xmlns:a16="http://schemas.microsoft.com/office/drawing/2014/main" id="{5733B969-05DE-4012-A3BB-1B448B1C72F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51558" y="4494349"/>
                <a:ext cx="2597283" cy="1249480"/>
              </a:xfrm>
              <a:prstGeom prst="rect">
                <a:avLst/>
              </a:prstGeom>
            </p:spPr>
          </p:pic>
          <p:grpSp>
            <p:nvGrpSpPr>
              <p:cNvPr id="115" name="Group 114">
                <a:extLst>
                  <a:ext uri="{FF2B5EF4-FFF2-40B4-BE49-F238E27FC236}">
                    <a16:creationId xmlns:a16="http://schemas.microsoft.com/office/drawing/2014/main" id="{C1A24F1E-10E0-4112-9A8C-9836A0937ACB}"/>
                  </a:ext>
                </a:extLst>
              </p:cNvPr>
              <p:cNvGrpSpPr/>
              <p:nvPr/>
            </p:nvGrpSpPr>
            <p:grpSpPr>
              <a:xfrm>
                <a:off x="816932" y="2329668"/>
                <a:ext cx="13242368" cy="1280638"/>
                <a:chOff x="816932" y="2329668"/>
                <a:chExt cx="13242368" cy="1280638"/>
              </a:xfrm>
            </p:grpSpPr>
            <p:pic>
              <p:nvPicPr>
                <p:cNvPr id="116" name="Picture 115">
                  <a:extLst>
                    <a:ext uri="{FF2B5EF4-FFF2-40B4-BE49-F238E27FC236}">
                      <a16:creationId xmlns:a16="http://schemas.microsoft.com/office/drawing/2014/main" id="{7095F74E-68F8-42B2-856C-6B36E751ED42}"/>
                    </a:ext>
                  </a:extLst>
                </p:cNvPr>
                <p:cNvPicPr/>
                <p:nvPr/>
              </p:nvPicPr>
              <p:blipFill>
                <a:blip r:embed="rId6">
                  <a:extLst>
                    <a:ext uri="{28A0092B-C50C-407E-A947-70E740481C1C}">
                      <a14:useLocalDpi xmlns:a14="http://schemas.microsoft.com/office/drawing/2010/main"/>
                    </a:ext>
                  </a:extLst>
                </a:blip>
                <a:stretch>
                  <a:fillRect/>
                </a:stretch>
              </p:blipFill>
              <p:spPr>
                <a:xfrm>
                  <a:off x="816932" y="2329668"/>
                  <a:ext cx="2228999" cy="1280638"/>
                </a:xfrm>
                <a:prstGeom prst="rect">
                  <a:avLst/>
                </a:prstGeom>
              </p:spPr>
            </p:pic>
            <p:sp>
              <p:nvSpPr>
                <p:cNvPr id="117" name="Rectangle 116">
                  <a:extLst>
                    <a:ext uri="{FF2B5EF4-FFF2-40B4-BE49-F238E27FC236}">
                      <a16:creationId xmlns:a16="http://schemas.microsoft.com/office/drawing/2014/main" id="{E8BE3A92-D9EB-4E1D-9EE7-B612D073A2C5}"/>
                    </a:ext>
                  </a:extLst>
                </p:cNvPr>
                <p:cNvSpPr/>
                <p:nvPr/>
              </p:nvSpPr>
              <p:spPr>
                <a:xfrm>
                  <a:off x="2647357" y="3136157"/>
                  <a:ext cx="980905" cy="474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8241">
                    <a:defRPr/>
                  </a:pPr>
                  <a:r>
                    <a:rPr lang="en-US" sz="800" dirty="0">
                      <a:solidFill>
                        <a:srgbClr val="046A38"/>
                      </a:solidFill>
                      <a:latin typeface="Calibri" panose="020F0502020204030204" pitchFamily="34" charset="0"/>
                      <a:cs typeface="Calibri" panose="020F0502020204030204" pitchFamily="34" charset="0"/>
                    </a:rPr>
                    <a:t>2014</a:t>
                  </a:r>
                  <a:endParaRPr lang="en-US" sz="1041" dirty="0">
                    <a:solidFill>
                      <a:srgbClr val="046A38"/>
                    </a:solidFill>
                    <a:latin typeface="Calibri" panose="020F0502020204030204" pitchFamily="34" charset="0"/>
                    <a:cs typeface="Calibri" panose="020F0502020204030204" pitchFamily="34" charset="0"/>
                  </a:endParaRPr>
                </a:p>
              </p:txBody>
            </p:sp>
            <p:sp>
              <p:nvSpPr>
                <p:cNvPr id="44" name="Rectangle 43">
                  <a:extLst>
                    <a:ext uri="{FF2B5EF4-FFF2-40B4-BE49-F238E27FC236}">
                      <a16:creationId xmlns:a16="http://schemas.microsoft.com/office/drawing/2014/main" id="{22AF5EA4-03FE-43BD-B137-5F9388DB5173}"/>
                    </a:ext>
                  </a:extLst>
                </p:cNvPr>
                <p:cNvSpPr/>
                <p:nvPr/>
              </p:nvSpPr>
              <p:spPr>
                <a:xfrm>
                  <a:off x="13078395" y="3103451"/>
                  <a:ext cx="980905" cy="474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8241">
                    <a:defRPr/>
                  </a:pPr>
                  <a:r>
                    <a:rPr lang="en-US" sz="800" b="1" dirty="0">
                      <a:solidFill>
                        <a:srgbClr val="3C4F77"/>
                      </a:solidFill>
                      <a:latin typeface="Calibri" panose="020F0502020204030204" pitchFamily="34" charset="0"/>
                      <a:cs typeface="Calibri" panose="020F0502020204030204" pitchFamily="34" charset="0"/>
                    </a:rPr>
                    <a:t>2023</a:t>
                  </a:r>
                  <a:endParaRPr lang="en-US" sz="1041" b="1" dirty="0">
                    <a:solidFill>
                      <a:srgbClr val="3C4F77"/>
                    </a:solidFill>
                    <a:latin typeface="Calibri" panose="020F0502020204030204" pitchFamily="34" charset="0"/>
                    <a:cs typeface="Calibri" panose="020F0502020204030204" pitchFamily="34" charset="0"/>
                  </a:endParaRPr>
                </a:p>
              </p:txBody>
            </p:sp>
          </p:grpSp>
        </p:grpSp>
        <p:sp>
          <p:nvSpPr>
            <p:cNvPr id="105" name="Rectangle 104">
              <a:extLst>
                <a:ext uri="{FF2B5EF4-FFF2-40B4-BE49-F238E27FC236}">
                  <a16:creationId xmlns:a16="http://schemas.microsoft.com/office/drawing/2014/main" id="{F9B9FCE9-5FE3-4895-9CD9-ECAFEDB42817}"/>
                </a:ext>
              </a:extLst>
            </p:cNvPr>
            <p:cNvSpPr/>
            <p:nvPr/>
          </p:nvSpPr>
          <p:spPr>
            <a:xfrm>
              <a:off x="1979008" y="4886424"/>
              <a:ext cx="1719232" cy="338554"/>
            </a:xfrm>
            <a:prstGeom prst="rect">
              <a:avLst/>
            </a:prstGeom>
          </p:spPr>
          <p:txBody>
            <a:bodyPr wrap="square">
              <a:spAutoFit/>
            </a:bodyPr>
            <a:lstStyle/>
            <a:p>
              <a:pPr algn="ctr" defTabSz="1208241">
                <a:defRPr/>
              </a:pPr>
              <a:r>
                <a:rPr lang="en-US" sz="800" b="1" dirty="0">
                  <a:solidFill>
                    <a:prstClr val="black"/>
                  </a:solidFill>
                  <a:latin typeface="Calibri" panose="020F0502020204030204" pitchFamily="34" charset="0"/>
                  <a:cs typeface="Calibri" panose="020F0502020204030204" pitchFamily="34" charset="0"/>
                </a:rPr>
                <a:t>Continuity &amp; Resilience Provider</a:t>
              </a:r>
            </a:p>
            <a:p>
              <a:pPr algn="ctr" defTabSz="1208241">
                <a:defRPr/>
              </a:pPr>
              <a:r>
                <a:rPr lang="en-US" sz="800" b="1" dirty="0">
                  <a:solidFill>
                    <a:prstClr val="black"/>
                  </a:solidFill>
                  <a:latin typeface="Calibri" panose="020F0502020204030204" pitchFamily="34" charset="0"/>
                  <a:cs typeface="Calibri" panose="020F0502020204030204" pitchFamily="34" charset="0"/>
                </a:rPr>
                <a:t>(Service / Product) 2016</a:t>
              </a:r>
            </a:p>
          </p:txBody>
        </p:sp>
        <p:sp>
          <p:nvSpPr>
            <p:cNvPr id="107" name="Rectangle 106">
              <a:extLst>
                <a:ext uri="{FF2B5EF4-FFF2-40B4-BE49-F238E27FC236}">
                  <a16:creationId xmlns:a16="http://schemas.microsoft.com/office/drawing/2014/main" id="{846C21F1-836A-4A4B-BC5A-065563A55E03}"/>
                </a:ext>
              </a:extLst>
            </p:cNvPr>
            <p:cNvSpPr/>
            <p:nvPr/>
          </p:nvSpPr>
          <p:spPr>
            <a:xfrm>
              <a:off x="355634" y="5411153"/>
              <a:ext cx="1568501" cy="338554"/>
            </a:xfrm>
            <a:prstGeom prst="rect">
              <a:avLst/>
            </a:prstGeom>
          </p:spPr>
          <p:txBody>
            <a:bodyPr wrap="square">
              <a:spAutoFit/>
            </a:bodyPr>
            <a:lstStyle/>
            <a:p>
              <a:pPr algn="ctr" defTabSz="1208241">
                <a:defRPr/>
              </a:pPr>
              <a:r>
                <a:rPr lang="en-US" sz="800" b="1" dirty="0">
                  <a:solidFill>
                    <a:prstClr val="black"/>
                  </a:solidFill>
                  <a:latin typeface="Calibri" panose="020F0502020204030204" pitchFamily="34" charset="0"/>
                  <a:cs typeface="Calibri" panose="020F0502020204030204" pitchFamily="34" charset="0"/>
                </a:rPr>
                <a:t>Business Continuity Provider </a:t>
              </a:r>
            </a:p>
            <a:p>
              <a:pPr algn="ctr" defTabSz="1208241">
                <a:defRPr/>
              </a:pPr>
              <a:r>
                <a:rPr lang="en-US" sz="800" b="1" dirty="0">
                  <a:solidFill>
                    <a:prstClr val="black"/>
                  </a:solidFill>
                  <a:latin typeface="Calibri" panose="020F0502020204030204" pitchFamily="34" charset="0"/>
                  <a:cs typeface="Calibri" panose="020F0502020204030204" pitchFamily="34" charset="0"/>
                </a:rPr>
                <a:t>of the Year 2014 (Service)</a:t>
              </a:r>
              <a:endParaRPr lang="en-US" sz="1000" b="1" dirty="0">
                <a:solidFill>
                  <a:prstClr val="black"/>
                </a:solidFill>
                <a:latin typeface="Calibri" panose="020F0502020204030204" pitchFamily="34" charset="0"/>
                <a:cs typeface="Calibri" panose="020F0502020204030204" pitchFamily="34" charset="0"/>
              </a:endParaRPr>
            </a:p>
          </p:txBody>
        </p:sp>
        <p:pic>
          <p:nvPicPr>
            <p:cNvPr id="5" name="Picture 4" descr="Two men shaking hands in front of a blue backdrop&#10;&#10;Description automatically generated with medium confidence">
              <a:extLst>
                <a:ext uri="{FF2B5EF4-FFF2-40B4-BE49-F238E27FC236}">
                  <a16:creationId xmlns:a16="http://schemas.microsoft.com/office/drawing/2014/main" id="{B1261691-792E-41DA-B0D4-F5DF0045BDD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14127" y="4680962"/>
              <a:ext cx="2225321" cy="1251743"/>
            </a:xfrm>
            <a:prstGeom prst="rect">
              <a:avLst/>
            </a:prstGeom>
          </p:spPr>
        </p:pic>
        <p:pic>
          <p:nvPicPr>
            <p:cNvPr id="7" name="Picture 6">
              <a:extLst>
                <a:ext uri="{FF2B5EF4-FFF2-40B4-BE49-F238E27FC236}">
                  <a16:creationId xmlns:a16="http://schemas.microsoft.com/office/drawing/2014/main" id="{26F4F2D0-528B-4A64-BDC1-0DC471598F61}"/>
                </a:ext>
              </a:extLst>
            </p:cNvPr>
            <p:cNvPicPr>
              <a:picLocks noChangeAspect="1"/>
            </p:cNvPicPr>
            <p:nvPr/>
          </p:nvPicPr>
          <p:blipFill>
            <a:blip r:embed="rId8">
              <a:duotone>
                <a:prstClr val="black"/>
                <a:schemeClr val="accent4">
                  <a:lumMod val="40000"/>
                  <a:lumOff val="60000"/>
                  <a:tint val="45000"/>
                  <a:satMod val="400000"/>
                </a:schemeClr>
              </a:duotone>
              <a:extLst>
                <a:ext uri="{BEBA8EAE-BF5A-486C-A8C5-ECC9F3942E4B}">
                  <a14:imgProps xmlns:a14="http://schemas.microsoft.com/office/drawing/2010/main">
                    <a14:imgLayer r:embed="rId9">
                      <a14:imgEffect>
                        <a14:sharpenSoften amount="-43000"/>
                      </a14:imgEffect>
                      <a14:imgEffect>
                        <a14:colorTemperature colorTemp="4746"/>
                      </a14:imgEffect>
                      <a14:imgEffect>
                        <a14:saturation sat="28000"/>
                      </a14:imgEffect>
                      <a14:imgEffect>
                        <a14:brightnessContrast bright="-58000" contrast="-64000"/>
                      </a14:imgEffect>
                    </a14:imgLayer>
                  </a14:imgProps>
                </a:ext>
                <a:ext uri="{28A0092B-C50C-407E-A947-70E740481C1C}">
                  <a14:useLocalDpi xmlns:a14="http://schemas.microsoft.com/office/drawing/2010/main" val="0"/>
                </a:ext>
              </a:extLst>
            </a:blip>
            <a:srcRect/>
            <a:stretch/>
          </p:blipFill>
          <p:spPr>
            <a:xfrm>
              <a:off x="3813882" y="3236155"/>
              <a:ext cx="2191951" cy="1213536"/>
            </a:xfrm>
            <a:prstGeom prst="rect">
              <a:avLst/>
            </a:prstGeom>
            <a:noFill/>
          </p:spPr>
        </p:pic>
      </p:grpSp>
      <p:grpSp>
        <p:nvGrpSpPr>
          <p:cNvPr id="12" name="Group 11">
            <a:extLst>
              <a:ext uri="{FF2B5EF4-FFF2-40B4-BE49-F238E27FC236}">
                <a16:creationId xmlns:a16="http://schemas.microsoft.com/office/drawing/2014/main" id="{F6711AAB-A4BD-86CE-59D2-851963144569}"/>
              </a:ext>
            </a:extLst>
          </p:cNvPr>
          <p:cNvGrpSpPr/>
          <p:nvPr/>
        </p:nvGrpSpPr>
        <p:grpSpPr>
          <a:xfrm>
            <a:off x="6212740" y="1286035"/>
            <a:ext cx="2418399" cy="4984650"/>
            <a:chOff x="6212740" y="1286035"/>
            <a:chExt cx="2418399" cy="4984650"/>
          </a:xfrm>
        </p:grpSpPr>
        <p:sp>
          <p:nvSpPr>
            <p:cNvPr id="122" name="Rounded Rectangle 44">
              <a:extLst>
                <a:ext uri="{FF2B5EF4-FFF2-40B4-BE49-F238E27FC236}">
                  <a16:creationId xmlns:a16="http://schemas.microsoft.com/office/drawing/2014/main" id="{F96F08E7-13E9-48BB-88CD-5371333C7C60}"/>
                </a:ext>
              </a:extLst>
            </p:cNvPr>
            <p:cNvSpPr/>
            <p:nvPr/>
          </p:nvSpPr>
          <p:spPr bwMode="gray">
            <a:xfrm>
              <a:off x="6248570" y="1286035"/>
              <a:ext cx="2300339" cy="324213"/>
            </a:xfrm>
            <a:prstGeom prst="roundRect">
              <a:avLst/>
            </a:prstGeom>
            <a:solidFill>
              <a:srgbClr val="00A3E0"/>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071" tIns="88071" rIns="88071" bIns="88071" rtlCol="0" anchor="ctr"/>
            <a:lstStyle/>
            <a:p>
              <a:pPr algn="ctr">
                <a:lnSpc>
                  <a:spcPct val="106000"/>
                </a:lnSpc>
                <a:buFont typeface="Wingdings 2" pitchFamily="18" charset="2"/>
                <a:buNone/>
              </a:pPr>
              <a:r>
                <a:rPr lang="en-US" sz="991" b="1" dirty="0">
                  <a:solidFill>
                    <a:schemeClr val="bg1"/>
                  </a:solidFill>
                  <a:latin typeface="Calibri" panose="020F0502020204030204" pitchFamily="34" charset="0"/>
                  <a:cs typeface="Calibri" panose="020F0502020204030204" pitchFamily="34" charset="0"/>
                </a:rPr>
                <a:t>Thought Leadership</a:t>
              </a:r>
            </a:p>
          </p:txBody>
        </p:sp>
        <p:sp>
          <p:nvSpPr>
            <p:cNvPr id="125" name="Rectangle 124">
              <a:extLst>
                <a:ext uri="{FF2B5EF4-FFF2-40B4-BE49-F238E27FC236}">
                  <a16:creationId xmlns:a16="http://schemas.microsoft.com/office/drawing/2014/main" id="{61028D5A-592C-4944-9CC7-367CC06B9802}"/>
                </a:ext>
              </a:extLst>
            </p:cNvPr>
            <p:cNvSpPr/>
            <p:nvPr/>
          </p:nvSpPr>
          <p:spPr>
            <a:xfrm>
              <a:off x="6212740" y="1654574"/>
              <a:ext cx="2285209" cy="748294"/>
            </a:xfrm>
            <a:prstGeom prst="rect">
              <a:avLst/>
            </a:prstGeom>
          </p:spPr>
          <p:txBody>
            <a:bodyPr wrap="square">
              <a:spAutoFit/>
            </a:bodyPr>
            <a:lstStyle/>
            <a:p>
              <a:pPr algn="just" defTabSz="1208241">
                <a:defRPr/>
              </a:pPr>
              <a:r>
                <a:rPr lang="en-US" sz="1041" dirty="0">
                  <a:solidFill>
                    <a:prstClr val="black"/>
                  </a:solidFill>
                  <a:latin typeface="Calibri" panose="020F0502020204030204" pitchFamily="34" charset="0"/>
                  <a:ea typeface="Verdana" panose="020B0604030504040204" pitchFamily="34" charset="0"/>
                  <a:cs typeface="Calibri" panose="020F0502020204030204" pitchFamily="34" charset="0"/>
                </a:rPr>
                <a:t>Our team of resilience professionals are well regarded in the business community, as evident in some prominent publications such as Forbes Magazine.</a:t>
              </a:r>
            </a:p>
          </p:txBody>
        </p:sp>
        <p:sp>
          <p:nvSpPr>
            <p:cNvPr id="127" name="Rectangle 126">
              <a:extLst>
                <a:ext uri="{FF2B5EF4-FFF2-40B4-BE49-F238E27FC236}">
                  <a16:creationId xmlns:a16="http://schemas.microsoft.com/office/drawing/2014/main" id="{93B302E8-CD9B-4CC6-9933-A9B61364C7DD}"/>
                </a:ext>
              </a:extLst>
            </p:cNvPr>
            <p:cNvSpPr/>
            <p:nvPr/>
          </p:nvSpPr>
          <p:spPr>
            <a:xfrm>
              <a:off x="7419165" y="2508094"/>
              <a:ext cx="1120357" cy="911983"/>
            </a:xfrm>
            <a:prstGeom prst="rect">
              <a:avLst/>
            </a:prstGeom>
          </p:spPr>
          <p:txBody>
            <a:bodyPr wrap="square">
              <a:spAutoFit/>
            </a:bodyPr>
            <a:lstStyle/>
            <a:p>
              <a:pPr defTabSz="1208241">
                <a:defRPr/>
              </a:pPr>
              <a:r>
                <a:rPr lang="en-US" sz="1041" b="1" dirty="0">
                  <a:solidFill>
                    <a:prstClr val="black"/>
                  </a:solidFill>
                  <a:latin typeface="Calibri" panose="020F0502020204030204" pitchFamily="34" charset="0"/>
                  <a:ea typeface="Verdana" panose="020B0604030504040204" pitchFamily="34" charset="0"/>
                  <a:cs typeface="Calibri" panose="020F0502020204030204" pitchFamily="34" charset="0"/>
                </a:rPr>
                <a:t>Forbes Magazine </a:t>
              </a:r>
              <a:r>
                <a:rPr lang="en-US" sz="1041" dirty="0">
                  <a:solidFill>
                    <a:prstClr val="black"/>
                  </a:solidFill>
                  <a:latin typeface="Calibri" panose="020F0502020204030204" pitchFamily="34" charset="0"/>
                  <a:ea typeface="Verdana" panose="020B0604030504040204" pitchFamily="34" charset="0"/>
                  <a:cs typeface="Calibri" panose="020F0502020204030204" pitchFamily="34" charset="0"/>
                </a:rPr>
                <a:t>– April 2019</a:t>
              </a:r>
            </a:p>
            <a:p>
              <a:pPr defTabSz="1208241">
                <a:defRPr/>
              </a:pPr>
              <a:endParaRPr lang="en-US" sz="1041" dirty="0">
                <a:solidFill>
                  <a:prstClr val="black"/>
                </a:solidFill>
                <a:latin typeface="Calibri" panose="020F0502020204030204" pitchFamily="34" charset="0"/>
                <a:ea typeface="Verdana" panose="020B0604030504040204" pitchFamily="34" charset="0"/>
                <a:cs typeface="Calibri" panose="020F0502020204030204" pitchFamily="34" charset="0"/>
              </a:endParaRPr>
            </a:p>
            <a:p>
              <a:pPr defTabSz="1208241">
                <a:defRPr/>
              </a:pPr>
              <a:r>
                <a:rPr lang="en-US" sz="1041" dirty="0">
                  <a:solidFill>
                    <a:prstClr val="black"/>
                  </a:solidFill>
                  <a:latin typeface="Calibri" panose="020F0502020204030204" pitchFamily="34" charset="0"/>
                  <a:ea typeface="Verdana" panose="020B0604030504040204" pitchFamily="34" charset="0"/>
                  <a:cs typeface="Calibri" panose="020F0502020204030204" pitchFamily="34" charset="0"/>
                </a:rPr>
                <a:t>Thought Leaders Section</a:t>
              </a:r>
            </a:p>
          </p:txBody>
        </p:sp>
        <p:sp>
          <p:nvSpPr>
            <p:cNvPr id="130" name="Rectangle 129">
              <a:extLst>
                <a:ext uri="{FF2B5EF4-FFF2-40B4-BE49-F238E27FC236}">
                  <a16:creationId xmlns:a16="http://schemas.microsoft.com/office/drawing/2014/main" id="{8CC4001A-BB6E-412E-8DE2-191634EE6496}"/>
                </a:ext>
              </a:extLst>
            </p:cNvPr>
            <p:cNvSpPr/>
            <p:nvPr/>
          </p:nvSpPr>
          <p:spPr>
            <a:xfrm>
              <a:off x="6276559" y="3731405"/>
              <a:ext cx="2285209" cy="892673"/>
            </a:xfrm>
            <a:prstGeom prst="rect">
              <a:avLst/>
            </a:prstGeom>
          </p:spPr>
          <p:txBody>
            <a:bodyPr wrap="square">
              <a:spAutoFit/>
            </a:bodyPr>
            <a:lstStyle/>
            <a:p>
              <a:pPr algn="just" defTabSz="1208241">
                <a:defRPr/>
              </a:pPr>
              <a:r>
                <a:rPr lang="en-US" sz="1041" dirty="0">
                  <a:solidFill>
                    <a:prstClr val="black"/>
                  </a:solidFill>
                  <a:latin typeface="Calibri" panose="020F0502020204030204" pitchFamily="34" charset="0"/>
                  <a:ea typeface="Verdana" panose="020B0604030504040204" pitchFamily="34" charset="0"/>
                  <a:cs typeface="Calibri" panose="020F0502020204030204" pitchFamily="34" charset="0"/>
                </a:rPr>
                <a:t>Our professionals have also made an impact in terms of thought leadership at a global scale, such as publishing articles in the BCI’s Continuity Magazine published globally.</a:t>
              </a:r>
            </a:p>
          </p:txBody>
        </p:sp>
        <p:pic>
          <p:nvPicPr>
            <p:cNvPr id="131" name="Picture 130">
              <a:extLst>
                <a:ext uri="{FF2B5EF4-FFF2-40B4-BE49-F238E27FC236}">
                  <a16:creationId xmlns:a16="http://schemas.microsoft.com/office/drawing/2014/main" id="{88C011F1-CE0C-4005-85D7-766B41306263}"/>
                </a:ext>
              </a:extLst>
            </p:cNvPr>
            <p:cNvPicPr>
              <a:picLocks noChangeAspect="1"/>
            </p:cNvPicPr>
            <p:nvPr/>
          </p:nvPicPr>
          <p:blipFill>
            <a:blip r:embed="rId10"/>
            <a:stretch>
              <a:fillRect/>
            </a:stretch>
          </p:blipFill>
          <p:spPr>
            <a:xfrm>
              <a:off x="6299162" y="4633359"/>
              <a:ext cx="1047161" cy="1630869"/>
            </a:xfrm>
            <a:prstGeom prst="rect">
              <a:avLst/>
            </a:prstGeom>
          </p:spPr>
        </p:pic>
        <p:sp>
          <p:nvSpPr>
            <p:cNvPr id="132" name="Rectangle 131">
              <a:extLst>
                <a:ext uri="{FF2B5EF4-FFF2-40B4-BE49-F238E27FC236}">
                  <a16:creationId xmlns:a16="http://schemas.microsoft.com/office/drawing/2014/main" id="{BA768F2B-3813-46DB-9ACF-8262999B484E}"/>
                </a:ext>
              </a:extLst>
            </p:cNvPr>
            <p:cNvSpPr/>
            <p:nvPr/>
          </p:nvSpPr>
          <p:spPr>
            <a:xfrm>
              <a:off x="7428552" y="4622942"/>
              <a:ext cx="1120357" cy="571699"/>
            </a:xfrm>
            <a:prstGeom prst="rect">
              <a:avLst/>
            </a:prstGeom>
          </p:spPr>
          <p:txBody>
            <a:bodyPr wrap="square">
              <a:spAutoFit/>
            </a:bodyPr>
            <a:lstStyle/>
            <a:p>
              <a:pPr defTabSz="1208241">
                <a:defRPr/>
              </a:pPr>
              <a:r>
                <a:rPr lang="en-US" sz="1041" b="1" dirty="0">
                  <a:solidFill>
                    <a:prstClr val="black"/>
                  </a:solidFill>
                  <a:latin typeface="Calibri" panose="020F0502020204030204" pitchFamily="34" charset="0"/>
                  <a:ea typeface="Verdana" panose="020B0604030504040204" pitchFamily="34" charset="0"/>
                  <a:cs typeface="Calibri" panose="020F0502020204030204" pitchFamily="34" charset="0"/>
                </a:rPr>
                <a:t>BCI’s Continuity Magazine </a:t>
              </a:r>
              <a:r>
                <a:rPr lang="en-US" sz="1041" dirty="0">
                  <a:solidFill>
                    <a:prstClr val="black"/>
                  </a:solidFill>
                  <a:latin typeface="Calibri" panose="020F0502020204030204" pitchFamily="34" charset="0"/>
                  <a:ea typeface="Verdana" panose="020B0604030504040204" pitchFamily="34" charset="0"/>
                  <a:cs typeface="Calibri" panose="020F0502020204030204" pitchFamily="34" charset="0"/>
                </a:rPr>
                <a:t>– Q3 2015</a:t>
              </a:r>
            </a:p>
          </p:txBody>
        </p:sp>
        <p:pic>
          <p:nvPicPr>
            <p:cNvPr id="133" name="Picture 132">
              <a:extLst>
                <a:ext uri="{FF2B5EF4-FFF2-40B4-BE49-F238E27FC236}">
                  <a16:creationId xmlns:a16="http://schemas.microsoft.com/office/drawing/2014/main" id="{67FDB620-5BCD-460A-8DD1-DAE6053939CB}"/>
                </a:ext>
              </a:extLst>
            </p:cNvPr>
            <p:cNvPicPr>
              <a:picLocks noChangeAspect="1"/>
            </p:cNvPicPr>
            <p:nvPr/>
          </p:nvPicPr>
          <p:blipFill>
            <a:blip r:embed="rId11"/>
            <a:stretch>
              <a:fillRect/>
            </a:stretch>
          </p:blipFill>
          <p:spPr>
            <a:xfrm>
              <a:off x="7493818" y="5371236"/>
              <a:ext cx="1137321" cy="899449"/>
            </a:xfrm>
            <a:prstGeom prst="rect">
              <a:avLst/>
            </a:prstGeom>
          </p:spPr>
        </p:pic>
        <p:grpSp>
          <p:nvGrpSpPr>
            <p:cNvPr id="9" name="Group 8">
              <a:extLst>
                <a:ext uri="{FF2B5EF4-FFF2-40B4-BE49-F238E27FC236}">
                  <a16:creationId xmlns:a16="http://schemas.microsoft.com/office/drawing/2014/main" id="{DED13497-DD26-2BD4-185B-3D964D11368E}"/>
                </a:ext>
              </a:extLst>
            </p:cNvPr>
            <p:cNvGrpSpPr/>
            <p:nvPr/>
          </p:nvGrpSpPr>
          <p:grpSpPr>
            <a:xfrm>
              <a:off x="6279113" y="2575660"/>
              <a:ext cx="1129530" cy="776850"/>
              <a:chOff x="5485568" y="2503542"/>
              <a:chExt cx="1337706" cy="966957"/>
            </a:xfrm>
          </p:grpSpPr>
          <p:pic>
            <p:nvPicPr>
              <p:cNvPr id="10" name="Picture 9">
                <a:extLst>
                  <a:ext uri="{FF2B5EF4-FFF2-40B4-BE49-F238E27FC236}">
                    <a16:creationId xmlns:a16="http://schemas.microsoft.com/office/drawing/2014/main" id="{9B4FAF8C-63D4-9091-BA36-1B6920004A90}"/>
                  </a:ext>
                </a:extLst>
              </p:cNvPr>
              <p:cNvPicPr>
                <a:picLocks noChangeAspect="1"/>
              </p:cNvPicPr>
              <p:nvPr/>
            </p:nvPicPr>
            <p:blipFill>
              <a:blip r:embed="rId12">
                <a:grayscl/>
              </a:blip>
              <a:stretch>
                <a:fillRect/>
              </a:stretch>
            </p:blipFill>
            <p:spPr>
              <a:xfrm>
                <a:off x="5485568" y="2503542"/>
                <a:ext cx="1337706" cy="966956"/>
              </a:xfrm>
              <a:prstGeom prst="rect">
                <a:avLst/>
              </a:prstGeom>
            </p:spPr>
          </p:pic>
          <p:sp>
            <p:nvSpPr>
              <p:cNvPr id="11" name="Rectangle 10">
                <a:extLst>
                  <a:ext uri="{FF2B5EF4-FFF2-40B4-BE49-F238E27FC236}">
                    <a16:creationId xmlns:a16="http://schemas.microsoft.com/office/drawing/2014/main" id="{E2F7D8CD-B869-AFB8-1B42-90B89298DE9D}"/>
                  </a:ext>
                </a:extLst>
              </p:cNvPr>
              <p:cNvSpPr/>
              <p:nvPr/>
            </p:nvSpPr>
            <p:spPr bwMode="gray">
              <a:xfrm>
                <a:off x="5488162" y="3017839"/>
                <a:ext cx="384002" cy="45266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grpSp>
      </p:grpSp>
    </p:spTree>
    <p:extLst>
      <p:ext uri="{BB962C8B-B14F-4D97-AF65-F5344CB8AC3E}">
        <p14:creationId xmlns:p14="http://schemas.microsoft.com/office/powerpoint/2010/main" val="409301889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riangle 28">
            <a:extLst>
              <a:ext uri="{FF2B5EF4-FFF2-40B4-BE49-F238E27FC236}">
                <a16:creationId xmlns:a16="http://schemas.microsoft.com/office/drawing/2014/main" id="{9E20A015-1AA7-4C52-AF83-5FB82AF3DEE4}"/>
              </a:ext>
            </a:extLst>
          </p:cNvPr>
          <p:cNvSpPr/>
          <p:nvPr/>
        </p:nvSpPr>
        <p:spPr>
          <a:xfrm rot="16200000">
            <a:off x="11060702" y="2333835"/>
            <a:ext cx="267460" cy="230569"/>
          </a:xfrm>
          <a:prstGeom prst="triangl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37" name="Rectangle 36">
            <a:extLst>
              <a:ext uri="{FF2B5EF4-FFF2-40B4-BE49-F238E27FC236}">
                <a16:creationId xmlns:a16="http://schemas.microsoft.com/office/drawing/2014/main" id="{59C4995C-A626-4F3F-AF33-0E8EDB668460}"/>
              </a:ext>
            </a:extLst>
          </p:cNvPr>
          <p:cNvSpPr/>
          <p:nvPr/>
        </p:nvSpPr>
        <p:spPr bwMode="gray">
          <a:xfrm>
            <a:off x="1" y="0"/>
            <a:ext cx="165462" cy="6858000"/>
          </a:xfrm>
          <a:prstGeom prst="rect">
            <a:avLst/>
          </a:prstGeom>
          <a:solidFill>
            <a:srgbClr val="00A3E0"/>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800" b="1" dirty="0">
              <a:solidFill>
                <a:schemeClr val="bg1"/>
              </a:solidFill>
              <a:latin typeface="+mj-lt"/>
              <a:cs typeface="Sakkal Majalla" panose="02000000000000000000" pitchFamily="2" charset="-78"/>
            </a:endParaRPr>
          </a:p>
        </p:txBody>
      </p:sp>
      <p:sp>
        <p:nvSpPr>
          <p:cNvPr id="38" name="Content Placeholder 3">
            <a:extLst>
              <a:ext uri="{FF2B5EF4-FFF2-40B4-BE49-F238E27FC236}">
                <a16:creationId xmlns:a16="http://schemas.microsoft.com/office/drawing/2014/main" id="{F8427542-CD15-484D-81F2-E71D46169F7B}"/>
              </a:ext>
            </a:extLst>
          </p:cNvPr>
          <p:cNvSpPr txBox="1">
            <a:spLocks/>
          </p:cNvSpPr>
          <p:nvPr/>
        </p:nvSpPr>
        <p:spPr>
          <a:xfrm>
            <a:off x="469900" y="1229730"/>
            <a:ext cx="10633527" cy="717268"/>
          </a:xfrm>
          <a:prstGeom prst="rect">
            <a:avLst/>
          </a:prstGeom>
        </p:spPr>
        <p:txBody>
          <a:bodyPr vert="horz" lIns="0" tIns="0" rIns="0" bIns="0" rtlCol="0">
            <a:noAutofit/>
          </a:bodyPr>
          <a:lstStyle>
            <a:lvl1pPr marL="0" indent="0" algn="l" defTabSz="1219170" rtl="0" eaLnBrk="1" latinLnBrk="0" hangingPunct="1">
              <a:lnSpc>
                <a:spcPct val="120000"/>
              </a:lnSpc>
              <a:spcBef>
                <a:spcPts val="0"/>
              </a:spcBef>
              <a:spcAft>
                <a:spcPts val="12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912813"/>
            <a:r>
              <a:rPr lang="en-GB" altLang="en-US" dirty="0">
                <a:latin typeface="Calibri" panose="020F0502020204030204" pitchFamily="34" charset="0"/>
                <a:ea typeface="Times New Roman" pitchFamily="18" charset="0"/>
                <a:cs typeface="Calibri" panose="020F0502020204030204" pitchFamily="34" charset="0"/>
              </a:rPr>
              <a:t>Our Middle East BCM practice has experienced practitioners and consultants certified in the business continuity field. We have successfully developed and evolved BCMS, implemented end-to-end projects, assessed readiness and maturity, and advised on BCM best practices.</a:t>
            </a:r>
          </a:p>
        </p:txBody>
      </p:sp>
      <p:pic>
        <p:nvPicPr>
          <p:cNvPr id="4" name="Picture 3">
            <a:extLst>
              <a:ext uri="{FF2B5EF4-FFF2-40B4-BE49-F238E27FC236}">
                <a16:creationId xmlns:a16="http://schemas.microsoft.com/office/drawing/2014/main" id="{8611C0A4-6FA8-1010-D73F-D4539E5A5943}"/>
              </a:ext>
            </a:extLst>
          </p:cNvPr>
          <p:cNvPicPr/>
          <p:nvPr/>
        </p:nvPicPr>
        <p:blipFill>
          <a:blip r:embed="rId2" cstate="email">
            <a:extLst>
              <a:ext uri="{28A0092B-C50C-407E-A947-70E740481C1C}">
                <a14:useLocalDpi xmlns:a14="http://schemas.microsoft.com/office/drawing/2010/main"/>
              </a:ext>
            </a:extLst>
          </a:blip>
          <a:stretch>
            <a:fillRect/>
          </a:stretch>
        </p:blipFill>
        <p:spPr>
          <a:xfrm>
            <a:off x="8278444" y="4831015"/>
            <a:ext cx="1125379" cy="699958"/>
          </a:xfrm>
          <a:prstGeom prst="rect">
            <a:avLst/>
          </a:prstGeom>
        </p:spPr>
      </p:pic>
      <p:pic>
        <p:nvPicPr>
          <p:cNvPr id="5" name="Picture 4" descr="http://www.heavyliftpfi.com/_Attachments/Gallery/Shared/Etihad%20Rail%20Logo.jpg">
            <a:extLst>
              <a:ext uri="{FF2B5EF4-FFF2-40B4-BE49-F238E27FC236}">
                <a16:creationId xmlns:a16="http://schemas.microsoft.com/office/drawing/2014/main" id="{A86E2D16-CBA8-08CC-D39A-2A7E46AD1C5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57202" y="3819839"/>
            <a:ext cx="1367862" cy="59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image001">
            <a:extLst>
              <a:ext uri="{FF2B5EF4-FFF2-40B4-BE49-F238E27FC236}">
                <a16:creationId xmlns:a16="http://schemas.microsoft.com/office/drawing/2014/main" id="{35E294E6-4056-2732-002F-7D39638D5F4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074855" y="2716927"/>
            <a:ext cx="1532556" cy="54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C:\Users\haammar\Desktop\Maaden Logo - Good.png">
            <a:extLst>
              <a:ext uri="{FF2B5EF4-FFF2-40B4-BE49-F238E27FC236}">
                <a16:creationId xmlns:a16="http://schemas.microsoft.com/office/drawing/2014/main" id="{1CF4078B-187B-2266-6A3A-0F3C2FBA855C}"/>
              </a:ext>
            </a:extLst>
          </p:cNvPr>
          <p:cNvPicPr/>
          <p:nvPr/>
        </p:nvPicPr>
        <p:blipFill>
          <a:blip r:embed="rId5" cstate="email">
            <a:extLst>
              <a:ext uri="{28A0092B-C50C-407E-A947-70E740481C1C}">
                <a14:useLocalDpi xmlns:a14="http://schemas.microsoft.com/office/drawing/2010/main"/>
              </a:ext>
            </a:extLst>
          </a:blip>
          <a:srcRect/>
          <a:stretch>
            <a:fillRect/>
          </a:stretch>
        </p:blipFill>
        <p:spPr bwMode="auto">
          <a:xfrm>
            <a:off x="8307122" y="5915182"/>
            <a:ext cx="1068023" cy="443248"/>
          </a:xfrm>
          <a:prstGeom prst="rect">
            <a:avLst/>
          </a:prstGeom>
          <a:noFill/>
          <a:ln w="9525">
            <a:noFill/>
            <a:miter lim="800000"/>
            <a:headEnd/>
            <a:tailEnd/>
          </a:ln>
        </p:spPr>
      </p:pic>
      <p:pic>
        <p:nvPicPr>
          <p:cNvPr id="11" name="Picture 10">
            <a:extLst>
              <a:ext uri="{FF2B5EF4-FFF2-40B4-BE49-F238E27FC236}">
                <a16:creationId xmlns:a16="http://schemas.microsoft.com/office/drawing/2014/main" id="{35D0045C-494D-5A1B-8F2C-18A4885584D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157004" y="1756412"/>
            <a:ext cx="1368258" cy="482934"/>
          </a:xfrm>
          <a:prstGeom prst="rect">
            <a:avLst/>
          </a:prstGeom>
        </p:spPr>
      </p:pic>
      <p:pic>
        <p:nvPicPr>
          <p:cNvPr id="12" name="Picture 11">
            <a:extLst>
              <a:ext uri="{FF2B5EF4-FFF2-40B4-BE49-F238E27FC236}">
                <a16:creationId xmlns:a16="http://schemas.microsoft.com/office/drawing/2014/main" id="{D848AE45-41AA-1251-EA6A-B8C56921391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45536" y="4795498"/>
            <a:ext cx="1462974" cy="770993"/>
          </a:xfrm>
          <a:prstGeom prst="rect">
            <a:avLst/>
          </a:prstGeom>
        </p:spPr>
      </p:pic>
      <p:pic>
        <p:nvPicPr>
          <p:cNvPr id="13" name="Picture 12">
            <a:extLst>
              <a:ext uri="{FF2B5EF4-FFF2-40B4-BE49-F238E27FC236}">
                <a16:creationId xmlns:a16="http://schemas.microsoft.com/office/drawing/2014/main" id="{AD082C20-A7EC-618D-9227-5E495A6381BE}"/>
              </a:ext>
            </a:extLst>
          </p:cNvPr>
          <p:cNvPicPr/>
          <p:nvPr/>
        </p:nvPicPr>
        <p:blipFill>
          <a:blip r:embed="rId8" cstate="email">
            <a:extLst>
              <a:ext uri="{28A0092B-C50C-407E-A947-70E740481C1C}">
                <a14:useLocalDpi xmlns:a14="http://schemas.microsoft.com/office/drawing/2010/main"/>
              </a:ext>
            </a:extLst>
          </a:blip>
          <a:stretch>
            <a:fillRect/>
          </a:stretch>
        </p:blipFill>
        <p:spPr>
          <a:xfrm>
            <a:off x="6839838" y="3994642"/>
            <a:ext cx="1074371" cy="244446"/>
          </a:xfrm>
          <a:prstGeom prst="rect">
            <a:avLst/>
          </a:prstGeom>
        </p:spPr>
      </p:pic>
      <p:pic>
        <p:nvPicPr>
          <p:cNvPr id="14" name="Picture 13">
            <a:extLst>
              <a:ext uri="{FF2B5EF4-FFF2-40B4-BE49-F238E27FC236}">
                <a16:creationId xmlns:a16="http://schemas.microsoft.com/office/drawing/2014/main" id="{2591A133-F4C5-233F-F7E9-B653E783B26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850279" y="2668146"/>
            <a:ext cx="1053489" cy="646854"/>
          </a:xfrm>
          <a:prstGeom prst="rect">
            <a:avLst/>
          </a:prstGeom>
        </p:spPr>
      </p:pic>
      <p:pic>
        <p:nvPicPr>
          <p:cNvPr id="15" name="Picture 14">
            <a:extLst>
              <a:ext uri="{FF2B5EF4-FFF2-40B4-BE49-F238E27FC236}">
                <a16:creationId xmlns:a16="http://schemas.microsoft.com/office/drawing/2014/main" id="{FA599F1E-6749-15BD-E0AB-BD1924C56D7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728815" y="5822919"/>
            <a:ext cx="1296417" cy="627774"/>
          </a:xfrm>
          <a:prstGeom prst="rect">
            <a:avLst/>
          </a:prstGeom>
        </p:spPr>
      </p:pic>
      <p:pic>
        <p:nvPicPr>
          <p:cNvPr id="16" name="Picture 15">
            <a:extLst>
              <a:ext uri="{FF2B5EF4-FFF2-40B4-BE49-F238E27FC236}">
                <a16:creationId xmlns:a16="http://schemas.microsoft.com/office/drawing/2014/main" id="{77722EF3-44CA-3EFD-91D6-2F5A4B339817}"/>
              </a:ext>
            </a:extLst>
          </p:cNvPr>
          <p:cNvPicPr/>
          <p:nvPr/>
        </p:nvPicPr>
        <p:blipFill>
          <a:blip r:embed="rId11" cstate="email">
            <a:extLst>
              <a:ext uri="{28A0092B-C50C-407E-A947-70E740481C1C}">
                <a14:useLocalDpi xmlns:a14="http://schemas.microsoft.com/office/drawing/2010/main"/>
              </a:ext>
            </a:extLst>
          </a:blip>
          <a:stretch>
            <a:fillRect/>
          </a:stretch>
        </p:blipFill>
        <p:spPr>
          <a:xfrm>
            <a:off x="6737700" y="1843409"/>
            <a:ext cx="1278646" cy="308940"/>
          </a:xfrm>
          <a:prstGeom prst="rect">
            <a:avLst/>
          </a:prstGeom>
        </p:spPr>
      </p:pic>
      <p:pic>
        <p:nvPicPr>
          <p:cNvPr id="17" name="Picture 16">
            <a:extLst>
              <a:ext uri="{FF2B5EF4-FFF2-40B4-BE49-F238E27FC236}">
                <a16:creationId xmlns:a16="http://schemas.microsoft.com/office/drawing/2014/main" id="{521F93D5-DFCD-CC2A-5911-0EC1B6602DE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018078" y="1869275"/>
            <a:ext cx="1216514" cy="438236"/>
          </a:xfrm>
          <a:prstGeom prst="rect">
            <a:avLst/>
          </a:prstGeom>
        </p:spPr>
      </p:pic>
      <p:pic>
        <p:nvPicPr>
          <p:cNvPr id="18" name="Picture 17">
            <a:extLst>
              <a:ext uri="{FF2B5EF4-FFF2-40B4-BE49-F238E27FC236}">
                <a16:creationId xmlns:a16="http://schemas.microsoft.com/office/drawing/2014/main" id="{D4CC4444-A3A2-8B16-4FE0-8B5DB9D1B4D5}"/>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550152" y="2544914"/>
            <a:ext cx="949336" cy="893319"/>
          </a:xfrm>
          <a:prstGeom prst="rect">
            <a:avLst/>
          </a:prstGeom>
        </p:spPr>
      </p:pic>
      <p:pic>
        <p:nvPicPr>
          <p:cNvPr id="19" name="Picture 18">
            <a:extLst>
              <a:ext uri="{FF2B5EF4-FFF2-40B4-BE49-F238E27FC236}">
                <a16:creationId xmlns:a16="http://schemas.microsoft.com/office/drawing/2014/main" id="{AF5BB014-1E74-392C-E64D-316070B1A3D7}"/>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365469" y="5835872"/>
            <a:ext cx="1318702" cy="601869"/>
          </a:xfrm>
          <a:prstGeom prst="rect">
            <a:avLst/>
          </a:prstGeom>
        </p:spPr>
      </p:pic>
      <p:pic>
        <p:nvPicPr>
          <p:cNvPr id="21" name="Picture 20">
            <a:extLst>
              <a:ext uri="{FF2B5EF4-FFF2-40B4-BE49-F238E27FC236}">
                <a16:creationId xmlns:a16="http://schemas.microsoft.com/office/drawing/2014/main" id="{2C175B71-4619-FAC1-CB39-3FD3FA4DD981}"/>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2340079" y="4894529"/>
            <a:ext cx="1643489" cy="572930"/>
          </a:xfrm>
          <a:prstGeom prst="rect">
            <a:avLst/>
          </a:prstGeom>
        </p:spPr>
      </p:pic>
      <p:pic>
        <p:nvPicPr>
          <p:cNvPr id="22" name="Picture 21">
            <a:extLst>
              <a:ext uri="{FF2B5EF4-FFF2-40B4-BE49-F238E27FC236}">
                <a16:creationId xmlns:a16="http://schemas.microsoft.com/office/drawing/2014/main" id="{274B82B4-2588-0085-9025-881FA2EE0E0C}"/>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595701" y="3856660"/>
            <a:ext cx="1132245" cy="520411"/>
          </a:xfrm>
          <a:prstGeom prst="rect">
            <a:avLst/>
          </a:prstGeom>
        </p:spPr>
      </p:pic>
      <p:pic>
        <p:nvPicPr>
          <p:cNvPr id="23" name="Picture 22" descr="Mubadala">
            <a:extLst>
              <a:ext uri="{FF2B5EF4-FFF2-40B4-BE49-F238E27FC236}">
                <a16:creationId xmlns:a16="http://schemas.microsoft.com/office/drawing/2014/main" id="{50DE159D-2DB5-5F97-52AE-1405755AF0F6}"/>
              </a:ext>
            </a:extLst>
          </p:cNvPr>
          <p:cNvPicPr/>
          <p:nvPr/>
        </p:nvPicPr>
        <p:blipFill>
          <a:blip r:embed="rId17" cstate="email">
            <a:extLst>
              <a:ext uri="{28A0092B-C50C-407E-A947-70E740481C1C}">
                <a14:useLocalDpi xmlns:a14="http://schemas.microsoft.com/office/drawing/2010/main"/>
              </a:ext>
            </a:extLst>
          </a:blip>
          <a:srcRect/>
          <a:stretch>
            <a:fillRect/>
          </a:stretch>
        </p:blipFill>
        <p:spPr bwMode="auto">
          <a:xfrm>
            <a:off x="2628870" y="2850857"/>
            <a:ext cx="1065907" cy="281433"/>
          </a:xfrm>
          <a:prstGeom prst="rect">
            <a:avLst/>
          </a:prstGeom>
          <a:noFill/>
          <a:ln w="9525">
            <a:noFill/>
            <a:miter lim="800000"/>
            <a:headEnd/>
            <a:tailEnd/>
          </a:ln>
        </p:spPr>
      </p:pic>
      <p:pic>
        <p:nvPicPr>
          <p:cNvPr id="24" name="Picture 23" descr="http://www.iranmall.ir/source/Arab%20Banks/rte_NCB%20logo.JPG">
            <a:extLst>
              <a:ext uri="{FF2B5EF4-FFF2-40B4-BE49-F238E27FC236}">
                <a16:creationId xmlns:a16="http://schemas.microsoft.com/office/drawing/2014/main" id="{2C994C42-CC54-9581-AD81-9B532F828015}"/>
              </a:ext>
            </a:extLst>
          </p:cNvPr>
          <p:cNvPicPr/>
          <p:nvPr/>
        </p:nvPicPr>
        <p:blipFill>
          <a:blip r:embed="rId18" cstate="email">
            <a:extLst>
              <a:ext uri="{28A0092B-C50C-407E-A947-70E740481C1C}">
                <a14:useLocalDpi xmlns:a14="http://schemas.microsoft.com/office/drawing/2010/main"/>
              </a:ext>
            </a:extLst>
          </a:blip>
          <a:srcRect/>
          <a:stretch>
            <a:fillRect/>
          </a:stretch>
        </p:blipFill>
        <p:spPr bwMode="auto">
          <a:xfrm>
            <a:off x="2539598" y="6005328"/>
            <a:ext cx="1244450" cy="262956"/>
          </a:xfrm>
          <a:prstGeom prst="rect">
            <a:avLst/>
          </a:prstGeom>
          <a:noFill/>
          <a:ln>
            <a:noFill/>
          </a:ln>
        </p:spPr>
      </p:pic>
      <p:pic>
        <p:nvPicPr>
          <p:cNvPr id="25" name="Picture 24" descr="Logo&#10;&#10;Description automatically generated">
            <a:extLst>
              <a:ext uri="{FF2B5EF4-FFF2-40B4-BE49-F238E27FC236}">
                <a16:creationId xmlns:a16="http://schemas.microsoft.com/office/drawing/2014/main" id="{449A5A03-4D4D-3CB1-1F00-9A4DCA322BE4}"/>
              </a:ext>
            </a:extLst>
          </p:cNvPr>
          <p:cNvPicPr/>
          <p:nvPr/>
        </p:nvPicPr>
        <p:blipFill rotWithShape="1">
          <a:blip r:embed="rId19" cstate="email">
            <a:extLst>
              <a:ext uri="{28A0092B-C50C-407E-A947-70E740481C1C}">
                <a14:useLocalDpi xmlns:a14="http://schemas.microsoft.com/office/drawing/2010/main"/>
              </a:ext>
            </a:extLst>
          </a:blip>
          <a:srcRect/>
          <a:stretch/>
        </p:blipFill>
        <p:spPr bwMode="auto">
          <a:xfrm>
            <a:off x="617654" y="5875496"/>
            <a:ext cx="1812844" cy="482934"/>
          </a:xfrm>
          <a:prstGeom prst="rect">
            <a:avLst/>
          </a:prstGeom>
          <a:ln>
            <a:noFill/>
          </a:ln>
          <a:extLst>
            <a:ext uri="{53640926-AAD7-44D8-BBD7-CCE9431645EC}">
              <a14:shadowObscured xmlns:a14="http://schemas.microsoft.com/office/drawing/2010/main"/>
            </a:ext>
          </a:extLst>
        </p:spPr>
      </p:pic>
      <p:pic>
        <p:nvPicPr>
          <p:cNvPr id="27" name="Picture 26">
            <a:extLst>
              <a:ext uri="{FF2B5EF4-FFF2-40B4-BE49-F238E27FC236}">
                <a16:creationId xmlns:a16="http://schemas.microsoft.com/office/drawing/2014/main" id="{992CF753-69AB-6CB4-9BB5-34014F8FD5BC}"/>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878859" y="4949227"/>
            <a:ext cx="1506068" cy="463535"/>
          </a:xfrm>
          <a:prstGeom prst="rect">
            <a:avLst/>
          </a:prstGeom>
        </p:spPr>
      </p:pic>
      <p:pic>
        <p:nvPicPr>
          <p:cNvPr id="28" name="Picture 27">
            <a:extLst>
              <a:ext uri="{FF2B5EF4-FFF2-40B4-BE49-F238E27FC236}">
                <a16:creationId xmlns:a16="http://schemas.microsoft.com/office/drawing/2014/main" id="{09F04204-8505-EBF0-7DCF-98F114A8732C}"/>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2533381" y="1859757"/>
            <a:ext cx="1326903" cy="457272"/>
          </a:xfrm>
          <a:prstGeom prst="rect">
            <a:avLst/>
          </a:prstGeom>
        </p:spPr>
      </p:pic>
      <p:pic>
        <p:nvPicPr>
          <p:cNvPr id="29" name="Picture 133207">
            <a:extLst>
              <a:ext uri="{FF2B5EF4-FFF2-40B4-BE49-F238E27FC236}">
                <a16:creationId xmlns:a16="http://schemas.microsoft.com/office/drawing/2014/main" id="{DD8D6C01-6FC8-7010-A5DE-439CDD1938E7}"/>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4065771" y="2751401"/>
            <a:ext cx="1132245" cy="48034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2D110E35-E0C1-2BA5-A5B2-F513D85A12C0}"/>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985866" y="5820016"/>
            <a:ext cx="1292054" cy="633581"/>
          </a:xfrm>
          <a:prstGeom prst="rect">
            <a:avLst/>
          </a:prstGeom>
        </p:spPr>
      </p:pic>
      <p:pic>
        <p:nvPicPr>
          <p:cNvPr id="31" name="Picture 30" descr="ENEC_HeaderLogoPNG.png">
            <a:extLst>
              <a:ext uri="{FF2B5EF4-FFF2-40B4-BE49-F238E27FC236}">
                <a16:creationId xmlns:a16="http://schemas.microsoft.com/office/drawing/2014/main" id="{5872B266-ED65-67B7-49F8-A2166C0A2041}"/>
              </a:ext>
            </a:extLst>
          </p:cNvPr>
          <p:cNvPicPr/>
          <p:nvPr/>
        </p:nvPicPr>
        <p:blipFill>
          <a:blip r:embed="rId24" cstate="email">
            <a:extLst>
              <a:ext uri="{28A0092B-C50C-407E-A947-70E740481C1C}">
                <a14:useLocalDpi xmlns:a14="http://schemas.microsoft.com/office/drawing/2010/main"/>
              </a:ext>
            </a:extLst>
          </a:blip>
          <a:srcRect/>
          <a:stretch>
            <a:fillRect/>
          </a:stretch>
        </p:blipFill>
        <p:spPr>
          <a:xfrm>
            <a:off x="10040079" y="4989015"/>
            <a:ext cx="594872" cy="383958"/>
          </a:xfrm>
          <a:prstGeom prst="rect">
            <a:avLst/>
          </a:prstGeom>
          <a:noFill/>
          <a:ln>
            <a:noFill/>
          </a:ln>
        </p:spPr>
      </p:pic>
      <p:pic>
        <p:nvPicPr>
          <p:cNvPr id="32" name="Picture 31">
            <a:extLst>
              <a:ext uri="{FF2B5EF4-FFF2-40B4-BE49-F238E27FC236}">
                <a16:creationId xmlns:a16="http://schemas.microsoft.com/office/drawing/2014/main" id="{DCEABE6D-493D-396B-D86A-9632B4F9B6E0}"/>
              </a:ext>
            </a:extLst>
          </p:cNvPr>
          <p:cNvPicPr/>
          <p:nvPr/>
        </p:nvPicPr>
        <p:blipFill>
          <a:blip r:embed="rId25" cstate="email">
            <a:extLst>
              <a:ext uri="{28A0092B-C50C-407E-A947-70E740481C1C}">
                <a14:useLocalDpi xmlns:a14="http://schemas.microsoft.com/office/drawing/2010/main"/>
              </a:ext>
            </a:extLst>
          </a:blip>
          <a:stretch>
            <a:fillRect/>
          </a:stretch>
        </p:blipFill>
        <p:spPr>
          <a:xfrm>
            <a:off x="9919944" y="3753671"/>
            <a:ext cx="835142" cy="726388"/>
          </a:xfrm>
          <a:prstGeom prst="rect">
            <a:avLst/>
          </a:prstGeom>
        </p:spPr>
      </p:pic>
      <p:pic>
        <p:nvPicPr>
          <p:cNvPr id="33" name="Picture 32" descr="C:\Users\haammar\AppData\Local\Microsoft\Windows\Temporary Internet Files\Content.Outlook\NVB6F3QA\CBK - LOGO.png">
            <a:extLst>
              <a:ext uri="{FF2B5EF4-FFF2-40B4-BE49-F238E27FC236}">
                <a16:creationId xmlns:a16="http://schemas.microsoft.com/office/drawing/2014/main" id="{198710D9-A00D-49F0-0717-0C6EF0AEA343}"/>
              </a:ext>
            </a:extLst>
          </p:cNvPr>
          <p:cNvPicPr/>
          <p:nvPr/>
        </p:nvPicPr>
        <p:blipFill>
          <a:blip r:embed="rId26" cstate="email">
            <a:extLst>
              <a:ext uri="{28A0092B-C50C-407E-A947-70E740481C1C}">
                <a14:useLocalDpi xmlns:a14="http://schemas.microsoft.com/office/drawing/2010/main"/>
              </a:ext>
            </a:extLst>
          </a:blip>
          <a:srcRect/>
          <a:stretch>
            <a:fillRect/>
          </a:stretch>
        </p:blipFill>
        <p:spPr bwMode="auto">
          <a:xfrm>
            <a:off x="9986427" y="2664659"/>
            <a:ext cx="702176" cy="653829"/>
          </a:xfrm>
          <a:prstGeom prst="rect">
            <a:avLst/>
          </a:prstGeom>
          <a:noFill/>
          <a:ln w="9525">
            <a:noFill/>
            <a:miter lim="800000"/>
            <a:headEnd/>
            <a:tailEnd/>
          </a:ln>
        </p:spPr>
      </p:pic>
      <p:graphicFrame>
        <p:nvGraphicFramePr>
          <p:cNvPr id="34" name="Object 33">
            <a:extLst>
              <a:ext uri="{FF2B5EF4-FFF2-40B4-BE49-F238E27FC236}">
                <a16:creationId xmlns:a16="http://schemas.microsoft.com/office/drawing/2014/main" id="{86B5DDD0-12B2-6831-7636-4C63C5064264}"/>
              </a:ext>
            </a:extLst>
          </p:cNvPr>
          <p:cNvGraphicFramePr>
            <a:graphicFrameLocks noChangeAspect="1"/>
          </p:cNvGraphicFramePr>
          <p:nvPr>
            <p:extLst>
              <p:ext uri="{D42A27DB-BD31-4B8C-83A1-F6EECF244321}">
                <p14:modId xmlns:p14="http://schemas.microsoft.com/office/powerpoint/2010/main" val="90507438"/>
              </p:ext>
            </p:extLst>
          </p:nvPr>
        </p:nvGraphicFramePr>
        <p:xfrm>
          <a:off x="10007106" y="6007405"/>
          <a:ext cx="660818" cy="258802"/>
        </p:xfrm>
        <a:graphic>
          <a:graphicData uri="http://schemas.openxmlformats.org/presentationml/2006/ole">
            <mc:AlternateContent xmlns:mc="http://schemas.openxmlformats.org/markup-compatibility/2006">
              <mc:Choice xmlns:v="urn:schemas-microsoft-com:vml" Requires="v">
                <p:oleObj name="Bitmap Image" r:id="rId27" imgW="1695687" imgH="733333" progId="Paint.Picture">
                  <p:embed/>
                </p:oleObj>
              </mc:Choice>
              <mc:Fallback>
                <p:oleObj name="Bitmap Image" r:id="rId27" imgW="1695687" imgH="733333" progId="Paint.Picture">
                  <p:embed/>
                  <p:pic>
                    <p:nvPicPr>
                      <p:cNvPr id="34" name="Object 33">
                        <a:extLst>
                          <a:ext uri="{FF2B5EF4-FFF2-40B4-BE49-F238E27FC236}">
                            <a16:creationId xmlns:a16="http://schemas.microsoft.com/office/drawing/2014/main" id="{86B5DDD0-12B2-6831-7636-4C63C5064264}"/>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007106" y="6007405"/>
                        <a:ext cx="660818" cy="258802"/>
                      </a:xfrm>
                      <a:prstGeom prst="rect">
                        <a:avLst/>
                      </a:prstGeom>
                      <a:noFill/>
                    </p:spPr>
                  </p:pic>
                </p:oleObj>
              </mc:Fallback>
            </mc:AlternateContent>
          </a:graphicData>
        </a:graphic>
      </p:graphicFrame>
      <p:pic>
        <p:nvPicPr>
          <p:cNvPr id="36" name="Picture 35">
            <a:extLst>
              <a:ext uri="{FF2B5EF4-FFF2-40B4-BE49-F238E27FC236}">
                <a16:creationId xmlns:a16="http://schemas.microsoft.com/office/drawing/2014/main" id="{758C51B1-0F16-C8E8-F8A9-C9330B3C3BC9}"/>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844675" y="4836004"/>
            <a:ext cx="1260472" cy="689981"/>
          </a:xfrm>
          <a:prstGeom prst="rect">
            <a:avLst/>
          </a:prstGeom>
        </p:spPr>
      </p:pic>
      <p:pic>
        <p:nvPicPr>
          <p:cNvPr id="40" name="Picture 39" descr="p2">
            <a:extLst>
              <a:ext uri="{FF2B5EF4-FFF2-40B4-BE49-F238E27FC236}">
                <a16:creationId xmlns:a16="http://schemas.microsoft.com/office/drawing/2014/main" id="{FA7BBCBF-C6FB-A8C3-E08D-ACB4F278AE0F}"/>
              </a:ext>
            </a:extLst>
          </p:cNvPr>
          <p:cNvPicPr/>
          <p:nvPr/>
        </p:nvPicPr>
        <p:blipFill rotWithShape="1">
          <a:blip r:embed="rId30" cstate="email">
            <a:extLst>
              <a:ext uri="{28A0092B-C50C-407E-A947-70E740481C1C}">
                <a14:useLocalDpi xmlns:a14="http://schemas.microsoft.com/office/drawing/2010/main"/>
              </a:ext>
            </a:extLst>
          </a:blip>
          <a:srcRect/>
          <a:stretch/>
        </p:blipFill>
        <p:spPr bwMode="auto">
          <a:xfrm>
            <a:off x="797182" y="2782344"/>
            <a:ext cx="1355459" cy="418459"/>
          </a:xfrm>
          <a:prstGeom prst="rect">
            <a:avLst/>
          </a:prstGeom>
          <a:noFill/>
          <a:ln>
            <a:noFill/>
          </a:ln>
        </p:spPr>
      </p:pic>
      <p:pic>
        <p:nvPicPr>
          <p:cNvPr id="45" name="Picture 44">
            <a:extLst>
              <a:ext uri="{FF2B5EF4-FFF2-40B4-BE49-F238E27FC236}">
                <a16:creationId xmlns:a16="http://schemas.microsoft.com/office/drawing/2014/main" id="{74ECD4E7-DAF8-8A76-3F04-9ABF67B4C1E5}"/>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9679953" y="1882858"/>
            <a:ext cx="1008650" cy="230043"/>
          </a:xfrm>
          <a:prstGeom prst="rect">
            <a:avLst/>
          </a:prstGeom>
        </p:spPr>
      </p:pic>
      <p:pic>
        <p:nvPicPr>
          <p:cNvPr id="47" name="Picture 46" descr="Text&#10;&#10;Description automatically generated">
            <a:extLst>
              <a:ext uri="{FF2B5EF4-FFF2-40B4-BE49-F238E27FC236}">
                <a16:creationId xmlns:a16="http://schemas.microsoft.com/office/drawing/2014/main" id="{6C18897F-BE64-FB0F-2F08-2CF71D117E41}"/>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5490267" y="4991943"/>
            <a:ext cx="1068309" cy="381030"/>
          </a:xfrm>
          <a:prstGeom prst="rect">
            <a:avLst/>
          </a:prstGeom>
        </p:spPr>
      </p:pic>
      <p:pic>
        <p:nvPicPr>
          <p:cNvPr id="60" name="Picture 59" descr="A logo with a arch and text&#10;&#10;Description automatically generated">
            <a:extLst>
              <a:ext uri="{FF2B5EF4-FFF2-40B4-BE49-F238E27FC236}">
                <a16:creationId xmlns:a16="http://schemas.microsoft.com/office/drawing/2014/main" id="{F5375A31-B8E6-FF24-630A-0A9032E6083A}"/>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550152" y="1638885"/>
            <a:ext cx="881731" cy="881731"/>
          </a:xfrm>
          <a:prstGeom prst="rect">
            <a:avLst/>
          </a:prstGeom>
        </p:spPr>
      </p:pic>
      <p:pic>
        <p:nvPicPr>
          <p:cNvPr id="65" name="Picture 64">
            <a:extLst>
              <a:ext uri="{FF2B5EF4-FFF2-40B4-BE49-F238E27FC236}">
                <a16:creationId xmlns:a16="http://schemas.microsoft.com/office/drawing/2014/main" id="{9DABD9A2-B8C2-6AEB-B182-F04EADEB7114}"/>
              </a:ext>
            </a:extLst>
          </p:cNvPr>
          <p:cNvPicPr>
            <a:picLocks noChangeAspect="1"/>
          </p:cNvPicPr>
          <p:nvPr/>
        </p:nvPicPr>
        <p:blipFill rotWithShape="1">
          <a:blip r:embed="rId34"/>
          <a:srcRect t="26688" b="25999"/>
          <a:stretch/>
        </p:blipFill>
        <p:spPr>
          <a:xfrm>
            <a:off x="755265" y="3799812"/>
            <a:ext cx="1356818" cy="641938"/>
          </a:xfrm>
          <a:prstGeom prst="rect">
            <a:avLst/>
          </a:prstGeom>
        </p:spPr>
      </p:pic>
      <p:sp>
        <p:nvSpPr>
          <p:cNvPr id="70" name="Text Placeholder 6">
            <a:extLst>
              <a:ext uri="{FF2B5EF4-FFF2-40B4-BE49-F238E27FC236}">
                <a16:creationId xmlns:a16="http://schemas.microsoft.com/office/drawing/2014/main" id="{1213E9BD-65C7-9C1B-745A-3C017BA76B62}"/>
              </a:ext>
            </a:extLst>
          </p:cNvPr>
          <p:cNvSpPr>
            <a:spLocks noGrp="1"/>
          </p:cNvSpPr>
          <p:nvPr>
            <p:ph type="body" sz="quarter" idx="13"/>
          </p:nvPr>
        </p:nvSpPr>
        <p:spPr>
          <a:xfrm>
            <a:off x="522373" y="761804"/>
            <a:ext cx="11147258" cy="750193"/>
          </a:xfrm>
        </p:spPr>
        <p:txBody>
          <a:bodyPr/>
          <a:lstStyle/>
          <a:p>
            <a:pPr>
              <a:lnSpc>
                <a:spcPct val="120000"/>
              </a:lnSpc>
            </a:pPr>
            <a:r>
              <a:rPr lang="en-US" dirty="0">
                <a:solidFill>
                  <a:srgbClr val="00A3E0"/>
                </a:solidFill>
                <a:cs typeface="Calibri" panose="020F0502020204030204" pitchFamily="34" charset="0"/>
              </a:rPr>
              <a:t>Our BCM Credentials</a:t>
            </a:r>
          </a:p>
        </p:txBody>
      </p:sp>
      <p:sp>
        <p:nvSpPr>
          <p:cNvPr id="71" name="Title 1">
            <a:extLst>
              <a:ext uri="{FF2B5EF4-FFF2-40B4-BE49-F238E27FC236}">
                <a16:creationId xmlns:a16="http://schemas.microsoft.com/office/drawing/2014/main" id="{3B8BE541-3E5B-20EF-8913-9D3B7C5AAA99}"/>
              </a:ext>
            </a:extLst>
          </p:cNvPr>
          <p:cNvSpPr>
            <a:spLocks noGrp="1"/>
          </p:cNvSpPr>
          <p:nvPr>
            <p:ph type="title"/>
          </p:nvPr>
        </p:nvSpPr>
        <p:spPr>
          <a:xfrm>
            <a:off x="522373" y="430820"/>
            <a:ext cx="11147258" cy="330986"/>
          </a:xfrm>
        </p:spPr>
        <p:txBody>
          <a:bodyPr/>
          <a:lstStyle/>
          <a:p>
            <a:r>
              <a:rPr lang="en-US" sz="2382" dirty="0">
                <a:solidFill>
                  <a:prstClr val="black"/>
                </a:solidFill>
                <a:cs typeface="Calibri" panose="020F0502020204030204" pitchFamily="34" charset="0"/>
              </a:rPr>
              <a:t>Our Capabilities</a:t>
            </a:r>
          </a:p>
        </p:txBody>
      </p:sp>
      <p:pic>
        <p:nvPicPr>
          <p:cNvPr id="7" name="Picture 6">
            <a:extLst>
              <a:ext uri="{FF2B5EF4-FFF2-40B4-BE49-F238E27FC236}">
                <a16:creationId xmlns:a16="http://schemas.microsoft.com/office/drawing/2014/main" id="{CF7D6B45-9082-201B-3846-9801C9689EF6}"/>
              </a:ext>
            </a:extLst>
          </p:cNvPr>
          <p:cNvPicPr>
            <a:picLocks noChangeAspect="1"/>
          </p:cNvPicPr>
          <p:nvPr/>
        </p:nvPicPr>
        <p:blipFill>
          <a:blip r:embed="rId35" cstate="email">
            <a:extLst>
              <a:ext uri="{BEBA8EAE-BF5A-486C-A8C5-ECC9F3942E4B}">
                <a14:imgProps xmlns:a14="http://schemas.microsoft.com/office/drawing/2010/main">
                  <a14:imgLayer r:embed="rId36">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692562" y="1847107"/>
            <a:ext cx="1492825" cy="433134"/>
          </a:xfrm>
          <a:prstGeom prst="rect">
            <a:avLst/>
          </a:prstGeom>
        </p:spPr>
      </p:pic>
      <p:pic>
        <p:nvPicPr>
          <p:cNvPr id="8" name="Picture 7">
            <a:extLst>
              <a:ext uri="{FF2B5EF4-FFF2-40B4-BE49-F238E27FC236}">
                <a16:creationId xmlns:a16="http://schemas.microsoft.com/office/drawing/2014/main" id="{39AEAA5C-94DB-01F5-F56A-0B60C41D0923}"/>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5319337" y="3899883"/>
            <a:ext cx="1209304" cy="438235"/>
          </a:xfrm>
          <a:prstGeom prst="rect">
            <a:avLst/>
          </a:prstGeom>
        </p:spPr>
      </p:pic>
      <p:pic>
        <p:nvPicPr>
          <p:cNvPr id="9" name="Picture 6" descr="C:\Users\Khaled\Desktop\Saudi Payments\Stationary\PPT Template\JPG\PPT-09.png">
            <a:extLst>
              <a:ext uri="{FF2B5EF4-FFF2-40B4-BE49-F238E27FC236}">
                <a16:creationId xmlns:a16="http://schemas.microsoft.com/office/drawing/2014/main" id="{CA88D1AA-E8DF-3910-4477-8ED563FCF0E5}"/>
              </a:ext>
            </a:extLst>
          </p:cNvPr>
          <p:cNvPicPr>
            <a:picLocks noChangeAspect="1" noChangeArrowheads="1"/>
          </p:cNvPicPr>
          <p:nvPr/>
        </p:nvPicPr>
        <p:blipFill>
          <a:blip r:embed="rId38" cstate="email">
            <a:extLst>
              <a:ext uri="{28A0092B-C50C-407E-A947-70E740481C1C}">
                <a14:useLocalDpi xmlns:a14="http://schemas.microsoft.com/office/drawing/2010/main"/>
              </a:ext>
            </a:extLst>
          </a:blip>
          <a:srcRect/>
          <a:stretch>
            <a:fillRect/>
          </a:stretch>
        </p:blipFill>
        <p:spPr bwMode="auto">
          <a:xfrm>
            <a:off x="3966052" y="3853894"/>
            <a:ext cx="898675" cy="530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935078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riangle 28">
            <a:extLst>
              <a:ext uri="{FF2B5EF4-FFF2-40B4-BE49-F238E27FC236}">
                <a16:creationId xmlns:a16="http://schemas.microsoft.com/office/drawing/2014/main" id="{6A5A58E5-E087-46A6-916B-7781463C1FB4}"/>
              </a:ext>
            </a:extLst>
          </p:cNvPr>
          <p:cNvSpPr/>
          <p:nvPr/>
        </p:nvSpPr>
        <p:spPr>
          <a:xfrm rot="16200000">
            <a:off x="11060702" y="2333835"/>
            <a:ext cx="267460" cy="230569"/>
          </a:xfrm>
          <a:prstGeom prst="triangl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32" name="Rectangle 31">
            <a:extLst>
              <a:ext uri="{FF2B5EF4-FFF2-40B4-BE49-F238E27FC236}">
                <a16:creationId xmlns:a16="http://schemas.microsoft.com/office/drawing/2014/main" id="{3002330A-4AB9-43DE-8840-A071295F6B11}"/>
              </a:ext>
            </a:extLst>
          </p:cNvPr>
          <p:cNvSpPr/>
          <p:nvPr/>
        </p:nvSpPr>
        <p:spPr bwMode="gray">
          <a:xfrm>
            <a:off x="1" y="0"/>
            <a:ext cx="165462" cy="6858000"/>
          </a:xfrm>
          <a:prstGeom prst="rect">
            <a:avLst/>
          </a:prstGeom>
          <a:solidFill>
            <a:srgbClr val="00A3E0"/>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800" b="1" dirty="0">
              <a:solidFill>
                <a:schemeClr val="bg1"/>
              </a:solidFill>
              <a:latin typeface="+mj-lt"/>
              <a:cs typeface="Sakkal Majalla" panose="02000000000000000000" pitchFamily="2" charset="-78"/>
            </a:endParaRPr>
          </a:p>
        </p:txBody>
      </p:sp>
      <p:sp>
        <p:nvSpPr>
          <p:cNvPr id="34" name="Text Placeholder 6">
            <a:extLst>
              <a:ext uri="{FF2B5EF4-FFF2-40B4-BE49-F238E27FC236}">
                <a16:creationId xmlns:a16="http://schemas.microsoft.com/office/drawing/2014/main" id="{3767BF78-74CA-D5B2-B42F-CE977B823566}"/>
              </a:ext>
            </a:extLst>
          </p:cNvPr>
          <p:cNvSpPr>
            <a:spLocks noGrp="1"/>
          </p:cNvSpPr>
          <p:nvPr>
            <p:ph type="body" sz="quarter" idx="13"/>
          </p:nvPr>
        </p:nvSpPr>
        <p:spPr>
          <a:xfrm>
            <a:off x="522373" y="761804"/>
            <a:ext cx="11147258" cy="750193"/>
          </a:xfrm>
        </p:spPr>
        <p:txBody>
          <a:bodyPr/>
          <a:lstStyle/>
          <a:p>
            <a:pPr>
              <a:lnSpc>
                <a:spcPct val="120000"/>
              </a:lnSpc>
            </a:pPr>
            <a:r>
              <a:rPr lang="en-US" dirty="0">
                <a:solidFill>
                  <a:srgbClr val="00A3E0"/>
                </a:solidFill>
                <a:cs typeface="Calibri" panose="020F0502020204030204" pitchFamily="34" charset="0"/>
              </a:rPr>
              <a:t>BCM Credentials within </a:t>
            </a:r>
            <a:r>
              <a:rPr lang="en-US">
                <a:solidFill>
                  <a:srgbClr val="00A3E0"/>
                </a:solidFill>
                <a:cs typeface="Calibri" panose="020F0502020204030204" pitchFamily="34" charset="0"/>
              </a:rPr>
              <a:t>stc Group</a:t>
            </a:r>
            <a:endParaRPr lang="en-US" dirty="0">
              <a:solidFill>
                <a:srgbClr val="00A3E0"/>
              </a:solidFill>
              <a:cs typeface="Calibri" panose="020F0502020204030204" pitchFamily="34" charset="0"/>
            </a:endParaRPr>
          </a:p>
        </p:txBody>
      </p:sp>
      <p:sp>
        <p:nvSpPr>
          <p:cNvPr id="35" name="Title 1">
            <a:extLst>
              <a:ext uri="{FF2B5EF4-FFF2-40B4-BE49-F238E27FC236}">
                <a16:creationId xmlns:a16="http://schemas.microsoft.com/office/drawing/2014/main" id="{61FD2ED3-CAF2-3336-4890-7F860027CE13}"/>
              </a:ext>
            </a:extLst>
          </p:cNvPr>
          <p:cNvSpPr>
            <a:spLocks noGrp="1"/>
          </p:cNvSpPr>
          <p:nvPr>
            <p:ph type="title"/>
          </p:nvPr>
        </p:nvSpPr>
        <p:spPr>
          <a:xfrm>
            <a:off x="522373" y="430820"/>
            <a:ext cx="11147258" cy="330986"/>
          </a:xfrm>
        </p:spPr>
        <p:txBody>
          <a:bodyPr/>
          <a:lstStyle/>
          <a:p>
            <a:r>
              <a:rPr lang="en-US" sz="2382" dirty="0">
                <a:solidFill>
                  <a:prstClr val="black"/>
                </a:solidFill>
                <a:cs typeface="Calibri" panose="020F0502020204030204" pitchFamily="34" charset="0"/>
              </a:rPr>
              <a:t>Our Capabilities</a:t>
            </a:r>
          </a:p>
        </p:txBody>
      </p:sp>
      <p:grpSp>
        <p:nvGrpSpPr>
          <p:cNvPr id="4" name="Group 3">
            <a:extLst>
              <a:ext uri="{FF2B5EF4-FFF2-40B4-BE49-F238E27FC236}">
                <a16:creationId xmlns:a16="http://schemas.microsoft.com/office/drawing/2014/main" id="{58C69C41-87CD-07E3-2E84-2C796CF480CD}"/>
              </a:ext>
            </a:extLst>
          </p:cNvPr>
          <p:cNvGrpSpPr/>
          <p:nvPr/>
        </p:nvGrpSpPr>
        <p:grpSpPr>
          <a:xfrm>
            <a:off x="522369" y="1265474"/>
            <a:ext cx="10390345" cy="5239548"/>
            <a:chOff x="405263" y="886614"/>
            <a:chExt cx="11429380" cy="5763504"/>
          </a:xfrm>
        </p:grpSpPr>
        <p:sp>
          <p:nvSpPr>
            <p:cNvPr id="22" name="Rectangle: Top Corners Rounded 59">
              <a:extLst>
                <a:ext uri="{FF2B5EF4-FFF2-40B4-BE49-F238E27FC236}">
                  <a16:creationId xmlns:a16="http://schemas.microsoft.com/office/drawing/2014/main" id="{471743D5-FF36-CD95-461D-5ACA4C6C9A4F}"/>
                </a:ext>
              </a:extLst>
            </p:cNvPr>
            <p:cNvSpPr/>
            <p:nvPr/>
          </p:nvSpPr>
          <p:spPr bwMode="gray">
            <a:xfrm rot="5400000">
              <a:off x="-522151" y="1981432"/>
              <a:ext cx="5722375" cy="3614997"/>
            </a:xfrm>
            <a:prstGeom prst="round2SameRect">
              <a:avLst/>
            </a:prstGeom>
            <a:solidFill>
              <a:srgbClr val="062F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Rectangle: Top Corners Rounded 60">
              <a:extLst>
                <a:ext uri="{FF2B5EF4-FFF2-40B4-BE49-F238E27FC236}">
                  <a16:creationId xmlns:a16="http://schemas.microsoft.com/office/drawing/2014/main" id="{42C38ABD-9DF1-25BB-FE5C-0D655087618B}"/>
                </a:ext>
              </a:extLst>
            </p:cNvPr>
            <p:cNvSpPr/>
            <p:nvPr/>
          </p:nvSpPr>
          <p:spPr bwMode="gray">
            <a:xfrm rot="5400000">
              <a:off x="-648426" y="1981432"/>
              <a:ext cx="5722375" cy="3614997"/>
            </a:xfrm>
            <a:prstGeom prst="round2SameRect">
              <a:avLst/>
            </a:prstGeom>
            <a:solidFill>
              <a:schemeClr val="bg1"/>
            </a:solidFill>
            <a:ln w="19050" algn="ctr">
              <a:solidFill>
                <a:srgbClr val="062F87"/>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81918A9E-0335-DE40-C754-C2E947B56E60}"/>
                </a:ext>
              </a:extLst>
            </p:cNvPr>
            <p:cNvSpPr txBox="1"/>
            <p:nvPr/>
          </p:nvSpPr>
          <p:spPr>
            <a:xfrm>
              <a:off x="455290" y="2215665"/>
              <a:ext cx="3528000" cy="4393306"/>
            </a:xfrm>
            <a:prstGeom prst="rect">
              <a:avLst/>
            </a:prstGeom>
            <a:noFill/>
          </p:spPr>
          <p:txBody>
            <a:bodyPr wrap="square" lIns="0" tIns="0" rIns="0" bIns="0" rtlCol="0">
              <a:spAutoFit/>
            </a:bodyPr>
            <a:lstStyle/>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Client</a:t>
              </a:r>
            </a:p>
            <a:p>
              <a:pPr defTabSz="914400">
                <a:spcBef>
                  <a:spcPts val="150"/>
                </a:spcBef>
                <a:spcAft>
                  <a:spcPts val="150"/>
                </a:spcAft>
                <a:defRPr/>
              </a:pPr>
              <a:r>
                <a:rPr lang="en-US" sz="1200" b="1" dirty="0">
                  <a:solidFill>
                    <a:prstClr val="black"/>
                  </a:solidFill>
                  <a:latin typeface="Calibri" panose="020F0502020204030204" pitchFamily="34" charset="0"/>
                  <a:cs typeface="Calibri" panose="020F0502020204030204" pitchFamily="34" charset="0"/>
                </a:rPr>
                <a:t>solutions by stc</a:t>
              </a:r>
            </a:p>
            <a:p>
              <a:pPr>
                <a:spcBef>
                  <a:spcPts val="150"/>
                </a:spcBef>
                <a:spcAft>
                  <a:spcPts val="150"/>
                </a:spcAft>
              </a:pPr>
              <a:r>
                <a:rPr lang="en-US" sz="1050" dirty="0">
                  <a:latin typeface="Calibri" panose="020F0502020204030204" pitchFamily="34" charset="0"/>
                  <a:cs typeface="Calibri" panose="020F0502020204030204" pitchFamily="34" charset="0"/>
                </a:rPr>
                <a:t>Deloitte was engaged by STC Solutions to implement a holistic BCM Program and integrating it with the existing Enterprise Risk Management framework..</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Services Provided</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Establishing BCM governance policy and procedures </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Performing Threat Risk Assessment and Business Impact Analysis for the entire organization identifying the time-critical services, business processes and their respective recovery requirements</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Developed Business Continuity Plans and Recovery Strategies that will support solutions in recovering their time critical services and operations in a timely manner. </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Developed Crisis Management and Crisis Communication Plans to assist the Senior Management address any adverse situation </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Impact Delivered</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Conducted several trainings and tabletop exercises for BCPs and Crisis Management Plan</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Based on the BCMS developed and implemented by Deloitte, STC Solutions obtained ISO 22301 Certification in 2020</a:t>
              </a:r>
              <a:r>
                <a:rPr lang="en-US" sz="1050" dirty="0">
                  <a:latin typeface="Calibri" panose="020F0502020204030204" pitchFamily="34" charset="0"/>
                  <a:cs typeface="Calibri" panose="020F0502020204030204" pitchFamily="34" charset="0"/>
                </a:rPr>
                <a:t>.</a:t>
              </a:r>
            </a:p>
          </p:txBody>
        </p:sp>
        <p:sp>
          <p:nvSpPr>
            <p:cNvPr id="33" name="Rectangle: Top Corners Rounded 59">
              <a:extLst>
                <a:ext uri="{FF2B5EF4-FFF2-40B4-BE49-F238E27FC236}">
                  <a16:creationId xmlns:a16="http://schemas.microsoft.com/office/drawing/2014/main" id="{8AB00C79-BDE7-ECEF-C373-47DDC51C16F2}"/>
                </a:ext>
              </a:extLst>
            </p:cNvPr>
            <p:cNvSpPr/>
            <p:nvPr/>
          </p:nvSpPr>
          <p:spPr bwMode="gray">
            <a:xfrm rot="5400000">
              <a:off x="3321903" y="1944361"/>
              <a:ext cx="5722375" cy="3614997"/>
            </a:xfrm>
            <a:prstGeom prst="round2SameRect">
              <a:avLst/>
            </a:prstGeom>
            <a:solidFill>
              <a:srgbClr val="0076A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Rectangle: Top Corners Rounded 60">
              <a:extLst>
                <a:ext uri="{FF2B5EF4-FFF2-40B4-BE49-F238E27FC236}">
                  <a16:creationId xmlns:a16="http://schemas.microsoft.com/office/drawing/2014/main" id="{67AA6F7A-3D19-554C-313F-ABE044CE2FAF}"/>
                </a:ext>
              </a:extLst>
            </p:cNvPr>
            <p:cNvSpPr/>
            <p:nvPr/>
          </p:nvSpPr>
          <p:spPr bwMode="gray">
            <a:xfrm rot="5400000">
              <a:off x="3195628" y="1944361"/>
              <a:ext cx="5722375" cy="3614997"/>
            </a:xfrm>
            <a:prstGeom prst="round2SameRect">
              <a:avLst/>
            </a:prstGeom>
            <a:solidFill>
              <a:schemeClr val="bg1"/>
            </a:solidFill>
            <a:ln w="19050" algn="ctr">
              <a:solidFill>
                <a:srgbClr val="0076A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Rectangle: Top Corners Rounded 59">
              <a:extLst>
                <a:ext uri="{FF2B5EF4-FFF2-40B4-BE49-F238E27FC236}">
                  <a16:creationId xmlns:a16="http://schemas.microsoft.com/office/drawing/2014/main" id="{D51B3BBC-1F33-604F-46D5-91A2BE017FD1}"/>
                </a:ext>
              </a:extLst>
            </p:cNvPr>
            <p:cNvSpPr/>
            <p:nvPr/>
          </p:nvSpPr>
          <p:spPr bwMode="gray">
            <a:xfrm rot="5400000">
              <a:off x="7165957" y="1940303"/>
              <a:ext cx="5722375" cy="3614997"/>
            </a:xfrm>
            <a:prstGeom prst="round2SameRect">
              <a:avLst/>
            </a:prstGeom>
            <a:solidFill>
              <a:srgbClr val="0076A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Rectangle: Top Corners Rounded 60">
              <a:extLst>
                <a:ext uri="{FF2B5EF4-FFF2-40B4-BE49-F238E27FC236}">
                  <a16:creationId xmlns:a16="http://schemas.microsoft.com/office/drawing/2014/main" id="{4181D3FA-5833-7D0F-A8DF-774CD51D92A9}"/>
                </a:ext>
              </a:extLst>
            </p:cNvPr>
            <p:cNvSpPr/>
            <p:nvPr/>
          </p:nvSpPr>
          <p:spPr bwMode="gray">
            <a:xfrm rot="5400000">
              <a:off x="7039682" y="1940303"/>
              <a:ext cx="5722375" cy="3614997"/>
            </a:xfrm>
            <a:prstGeom prst="round2SameRect">
              <a:avLst/>
            </a:prstGeom>
            <a:solidFill>
              <a:schemeClr val="bg1"/>
            </a:solidFill>
            <a:ln w="19050" algn="ctr">
              <a:solidFill>
                <a:srgbClr val="00ABAB"/>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E7C68A15-C41C-FE79-43AA-FEB0071A6A44}"/>
                </a:ext>
              </a:extLst>
            </p:cNvPr>
            <p:cNvSpPr txBox="1"/>
            <p:nvPr/>
          </p:nvSpPr>
          <p:spPr>
            <a:xfrm>
              <a:off x="4292815" y="2192243"/>
              <a:ext cx="3528000" cy="4159139"/>
            </a:xfrm>
            <a:prstGeom prst="rect">
              <a:avLst/>
            </a:prstGeom>
            <a:noFill/>
          </p:spPr>
          <p:txBody>
            <a:bodyPr wrap="square" lIns="0" tIns="0" rIns="0" bIns="0" rtlCol="0">
              <a:spAutoFit/>
            </a:bodyPr>
            <a:lstStyle/>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Client</a:t>
              </a:r>
            </a:p>
            <a:p>
              <a:pPr>
                <a:spcBef>
                  <a:spcPts val="150"/>
                </a:spcBef>
                <a:spcAft>
                  <a:spcPts val="150"/>
                </a:spcAft>
              </a:pPr>
              <a:r>
                <a:rPr lang="en-US" sz="1200" b="1" dirty="0">
                  <a:solidFill>
                    <a:prstClr val="black"/>
                  </a:solidFill>
                  <a:latin typeface="Calibri" panose="020F0502020204030204" pitchFamily="34" charset="0"/>
                  <a:cs typeface="Calibri" panose="020F0502020204030204" pitchFamily="34" charset="0"/>
                </a:rPr>
                <a:t>channels by stc</a:t>
              </a:r>
            </a:p>
            <a:p>
              <a:pPr>
                <a:spcBef>
                  <a:spcPts val="150"/>
                </a:spcBef>
                <a:spcAft>
                  <a:spcPts val="150"/>
                </a:spcAft>
              </a:pPr>
              <a:r>
                <a:rPr lang="en-US" sz="1050" dirty="0">
                  <a:solidFill>
                    <a:prstClr val="black"/>
                  </a:solidFill>
                  <a:latin typeface="Calibri" panose="020F0502020204030204" pitchFamily="34" charset="0"/>
                  <a:cs typeface="Calibri" panose="020F0502020204030204" pitchFamily="34" charset="0"/>
                </a:rPr>
                <a:t>Deloitte was engaged by STC Channels to review and update channels‘ existing BCM program.</a:t>
              </a:r>
              <a:endParaRPr lang="en-US" sz="1050" dirty="0">
                <a:latin typeface="Calibri" panose="020F0502020204030204" pitchFamily="34" charset="0"/>
                <a:cs typeface="Calibri" panose="020F0502020204030204" pitchFamily="34" charset="0"/>
              </a:endParaRP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Services Provided</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Review and enhance the overall BCM Program governance and framework</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Conduct Business Impact Analysis and Threat Risk Assessment for the organization’s departments and services, identifying critical services and products, associated processes and their recovery requirements</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Develop recovery strategies to support recovering critical services and the associated processes within the recovery timeframes, and documented the continuity plans</a:t>
              </a: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Developed Crisis Management and Crisis Communication Plans to assist the Senior Management address any adverse situation </a:t>
              </a:r>
              <a:r>
                <a:rPr lang="en-US" sz="1050" dirty="0">
                  <a:latin typeface="Calibri" panose="020F0502020204030204" pitchFamily="34" charset="0"/>
                  <a:cs typeface="Calibri" panose="020F0502020204030204" pitchFamily="34" charset="0"/>
                </a:rPr>
                <a:t>.</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Impact Delivered</a:t>
              </a:r>
              <a:endParaRPr lang="en-US" sz="1050" dirty="0">
                <a:latin typeface="Calibri" panose="020F0502020204030204" pitchFamily="34" charset="0"/>
                <a:cs typeface="Calibri" panose="020F0502020204030204" pitchFamily="34" charset="0"/>
              </a:endParaRPr>
            </a:p>
            <a:p>
              <a:pPr marL="114300" indent="-114300" defTabSz="914400">
                <a:lnSpc>
                  <a:spcPct val="90000"/>
                </a:lnSpc>
                <a:spcBef>
                  <a:spcPts val="150"/>
                </a:spcBef>
                <a:spcAft>
                  <a:spcPts val="150"/>
                </a:spcAft>
                <a:buFont typeface="Arial" panose="020B0604020202020204" pitchFamily="34" charset="0"/>
                <a:buChar char="•"/>
                <a:defRPr/>
              </a:pPr>
              <a:r>
                <a:rPr lang="en-US" sz="1050" dirty="0">
                  <a:solidFill>
                    <a:prstClr val="black"/>
                  </a:solidFill>
                  <a:latin typeface="Calibri" panose="020F0502020204030204" pitchFamily="34" charset="0"/>
                  <a:cs typeface="Calibri" panose="020F0502020204030204" pitchFamily="34" charset="0"/>
                </a:rPr>
                <a:t>Conducted several trainings and tabletop exercises for BCPs and Crisis Management Plan, enabling Channels enhance its preparedness for disruptive incidents</a:t>
              </a:r>
              <a:r>
                <a:rPr lang="en-US" sz="1050" dirty="0">
                  <a:latin typeface="Calibri" panose="020F0502020204030204" pitchFamily="34" charset="0"/>
                  <a:cs typeface="Calibri" panose="020F0502020204030204" pitchFamily="34" charset="0"/>
                </a:rPr>
                <a:t>.</a:t>
              </a:r>
            </a:p>
          </p:txBody>
        </p:sp>
        <p:sp>
          <p:nvSpPr>
            <p:cNvPr id="41" name="TextBox 40">
              <a:extLst>
                <a:ext uri="{FF2B5EF4-FFF2-40B4-BE49-F238E27FC236}">
                  <a16:creationId xmlns:a16="http://schemas.microsoft.com/office/drawing/2014/main" id="{96278088-5F20-65D1-0786-5558782B9903}"/>
                </a:ext>
              </a:extLst>
            </p:cNvPr>
            <p:cNvSpPr txBox="1"/>
            <p:nvPr/>
          </p:nvSpPr>
          <p:spPr>
            <a:xfrm>
              <a:off x="8138880" y="2210781"/>
              <a:ext cx="3528000" cy="3902967"/>
            </a:xfrm>
            <a:prstGeom prst="rect">
              <a:avLst/>
            </a:prstGeom>
            <a:noFill/>
          </p:spPr>
          <p:txBody>
            <a:bodyPr wrap="square" lIns="0" tIns="0" rIns="0" bIns="0" rtlCol="0">
              <a:spAutoFit/>
            </a:bodyPr>
            <a:lstStyle/>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Client</a:t>
              </a:r>
            </a:p>
            <a:p>
              <a:pPr>
                <a:spcBef>
                  <a:spcPts val="150"/>
                </a:spcBef>
                <a:spcAft>
                  <a:spcPts val="150"/>
                </a:spcAft>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tc Pay</a:t>
              </a:r>
            </a:p>
            <a:p>
              <a:pPr marL="0" marR="0" lvl="0" indent="0" algn="l" defTabSz="914400" rtl="0" eaLnBrk="1" fontAlgn="auto" latinLnBrk="0" hangingPunct="1">
                <a:lnSpc>
                  <a:spcPct val="100000"/>
                </a:lnSpc>
                <a:spcBef>
                  <a:spcPts val="15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loitte was engaged by stc Pay to establish develop its business continuity and disaster recovery capabilities in line with ISO 22301 and SAMA BCM Framework requirements.</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Services Provided</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velop BCM Policy, Governance and manual setting establishing the base for BCMS.</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nduct Business Impact Analysis and Threat Risk Assessment for all in-scope departments and locations</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lang="en-US" sz="1050" dirty="0">
                  <a:solidFill>
                    <a:prstClr val="black"/>
                  </a:solidFill>
                  <a:latin typeface="Calibri" panose="020F0502020204030204" pitchFamily="34" charset="0"/>
                  <a:cs typeface="Calibri" panose="020F0502020204030204" pitchFamily="34" charset="0"/>
                </a:rPr>
                <a:t>Identify suitable recovery strategies, develop business continuity and disaster recovery plans</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velop incident and crisis management framework, </a:t>
              </a:r>
              <a:r>
                <a:rPr lang="en-US" sz="1050" dirty="0">
                  <a:solidFill>
                    <a:prstClr val="black"/>
                  </a:solidFill>
                  <a:latin typeface="Calibri" panose="020F0502020204030204" pitchFamily="34" charset="0"/>
                  <a:cs typeface="Calibri" panose="020F0502020204030204" pitchFamily="34" charset="0"/>
                </a:rPr>
                <a:t>crisis management plan and crisis communication plan.</a:t>
              </a:r>
            </a:p>
            <a:p>
              <a:pPr>
                <a:spcBef>
                  <a:spcPts val="150"/>
                </a:spcBef>
                <a:spcAft>
                  <a:spcPts val="150"/>
                </a:spcAft>
              </a:pPr>
              <a:r>
                <a:rPr lang="en-US" sz="1050" b="1" dirty="0">
                  <a:solidFill>
                    <a:srgbClr val="04759A"/>
                  </a:solidFill>
                  <a:latin typeface="Calibri" panose="020F0502020204030204" pitchFamily="34" charset="0"/>
                  <a:cs typeface="Calibri" panose="020F0502020204030204" pitchFamily="34" charset="0"/>
                </a:rPr>
                <a:t>Impact Delivered</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nducted </a:t>
              </a:r>
              <a:r>
                <a:rPr lang="en-US" sz="1050" dirty="0">
                  <a:solidFill>
                    <a:prstClr val="black"/>
                  </a:solidFill>
                  <a:latin typeface="Calibri" panose="020F0502020204030204" pitchFamily="34" charset="0"/>
                  <a:cs typeface="Calibri" panose="020F0502020204030204" pitchFamily="34" charset="0"/>
                </a:rPr>
                <a:t>trainings and tabletop exercises for BCPs and CMP.</a:t>
              </a:r>
            </a:p>
            <a:p>
              <a:pPr marL="114300" marR="0" lvl="0" indent="-114300" algn="l" defTabSz="914400" rtl="0" eaLnBrk="1" fontAlgn="auto" latinLnBrk="0" hangingPunct="1">
                <a:lnSpc>
                  <a:spcPct val="90000"/>
                </a:lnSpc>
                <a:spcBef>
                  <a:spcPts val="150"/>
                </a:spcBef>
                <a:spcAft>
                  <a:spcPts val="15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abled stc Pay to achieve compliance against ISO 22301 and SAMA BCM Framework requirements.</a:t>
              </a:r>
            </a:p>
          </p:txBody>
        </p:sp>
        <p:pic>
          <p:nvPicPr>
            <p:cNvPr id="42" name="Picture 41">
              <a:extLst>
                <a:ext uri="{FF2B5EF4-FFF2-40B4-BE49-F238E27FC236}">
                  <a16:creationId xmlns:a16="http://schemas.microsoft.com/office/drawing/2014/main" id="{4ADF7ACF-275D-5B68-58B1-0581AAD1D97F}"/>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4334104" y="971325"/>
              <a:ext cx="3190578" cy="1188720"/>
            </a:xfrm>
            <a:prstGeom prst="rect">
              <a:avLst/>
            </a:prstGeom>
          </p:spPr>
        </p:pic>
        <p:pic>
          <p:nvPicPr>
            <p:cNvPr id="43" name="Picture 42">
              <a:extLst>
                <a:ext uri="{FF2B5EF4-FFF2-40B4-BE49-F238E27FC236}">
                  <a16:creationId xmlns:a16="http://schemas.microsoft.com/office/drawing/2014/main" id="{40795709-2F44-8010-02D8-8DECF2A8EFD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8184600" y="972021"/>
              <a:ext cx="3172248" cy="1188720"/>
            </a:xfrm>
            <a:prstGeom prst="rect">
              <a:avLst/>
            </a:prstGeom>
          </p:spPr>
        </p:pic>
        <p:pic>
          <p:nvPicPr>
            <p:cNvPr id="44" name="Picture 43">
              <a:extLst>
                <a:ext uri="{FF2B5EF4-FFF2-40B4-BE49-F238E27FC236}">
                  <a16:creationId xmlns:a16="http://schemas.microsoft.com/office/drawing/2014/main" id="{4D085D8D-F1DC-8A5D-6156-D7EFE445328C}"/>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488039" y="1064265"/>
              <a:ext cx="3257805" cy="1132851"/>
            </a:xfrm>
            <a:prstGeom prst="rect">
              <a:avLst/>
            </a:prstGeom>
          </p:spPr>
        </p:pic>
      </p:grpSp>
    </p:spTree>
    <p:extLst>
      <p:ext uri="{BB962C8B-B14F-4D97-AF65-F5344CB8AC3E}">
        <p14:creationId xmlns:p14="http://schemas.microsoft.com/office/powerpoint/2010/main" val="181487729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CB68BC3-E7A0-4C53-BA11-96950D91667A}"/>
              </a:ext>
            </a:extLst>
          </p:cNvPr>
          <p:cNvSpPr/>
          <p:nvPr/>
        </p:nvSpPr>
        <p:spPr>
          <a:xfrm>
            <a:off x="469901" y="1154449"/>
            <a:ext cx="1997076" cy="5273106"/>
          </a:xfrm>
          <a:prstGeom prst="rect">
            <a:avLst/>
          </a:prstGeom>
          <a:noFill/>
          <a:ln w="31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F580AA2B-BA32-464B-85E2-F159D143FBAC}"/>
              </a:ext>
            </a:extLst>
          </p:cNvPr>
          <p:cNvSpPr/>
          <p:nvPr/>
        </p:nvSpPr>
        <p:spPr>
          <a:xfrm>
            <a:off x="469901" y="1154450"/>
            <a:ext cx="1995654" cy="258071"/>
          </a:xfrm>
          <a:prstGeom prst="rect">
            <a:avLst/>
          </a:prstGeom>
          <a:solidFill>
            <a:schemeClr val="accent4">
              <a:lumMod val="50000"/>
            </a:schemeClr>
          </a:solidFill>
          <a:ln w="31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defTabSz="829544"/>
            <a:r>
              <a:rPr lang="en-US" sz="800" b="1" dirty="0">
                <a:solidFill>
                  <a:schemeClr val="bg1"/>
                </a:solidFill>
                <a:latin typeface="Calibri" panose="020F0502020204030204" pitchFamily="34" charset="0"/>
                <a:ea typeface="Verdana" panose="020B0604030504040204" pitchFamily="34" charset="0"/>
                <a:cs typeface="Calibri" panose="020F0502020204030204" pitchFamily="34" charset="0"/>
              </a:rPr>
              <a:t>Royal Commission for Al Ula</a:t>
            </a:r>
          </a:p>
        </p:txBody>
      </p:sp>
      <p:sp>
        <p:nvSpPr>
          <p:cNvPr id="7" name="Rectangle 6">
            <a:extLst>
              <a:ext uri="{FF2B5EF4-FFF2-40B4-BE49-F238E27FC236}">
                <a16:creationId xmlns:a16="http://schemas.microsoft.com/office/drawing/2014/main" id="{5A818B28-13B9-4E00-A43E-E1DCD08B4DB9}"/>
              </a:ext>
            </a:extLst>
          </p:cNvPr>
          <p:cNvSpPr/>
          <p:nvPr/>
        </p:nvSpPr>
        <p:spPr>
          <a:xfrm>
            <a:off x="469901" y="2189392"/>
            <a:ext cx="1995654" cy="337995"/>
          </a:xfrm>
          <a:prstGeom prst="rect">
            <a:avLst/>
          </a:prstGeom>
          <a:solidFill>
            <a:schemeClr val="accent4">
              <a:lumMod val="50000"/>
            </a:schemeClr>
          </a:solidFill>
          <a:ln w="31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8" name="Rectangle 7">
            <a:extLst>
              <a:ext uri="{FF2B5EF4-FFF2-40B4-BE49-F238E27FC236}">
                <a16:creationId xmlns:a16="http://schemas.microsoft.com/office/drawing/2014/main" id="{AF495501-C290-40A1-886B-6C62942B60DE}"/>
              </a:ext>
            </a:extLst>
          </p:cNvPr>
          <p:cNvSpPr/>
          <p:nvPr/>
        </p:nvSpPr>
        <p:spPr>
          <a:xfrm>
            <a:off x="4737021" y="1154449"/>
            <a:ext cx="1997076" cy="5273106"/>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9426F387-92DA-40D0-8666-0E584D5525B5}"/>
              </a:ext>
            </a:extLst>
          </p:cNvPr>
          <p:cNvSpPr/>
          <p:nvPr/>
        </p:nvSpPr>
        <p:spPr>
          <a:xfrm>
            <a:off x="4737020" y="1154450"/>
            <a:ext cx="1995654" cy="258071"/>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defTabSz="829544"/>
            <a:r>
              <a:rPr lang="en-US" sz="800" b="1" dirty="0">
                <a:solidFill>
                  <a:schemeClr val="bg1"/>
                </a:solidFill>
                <a:latin typeface="Calibri" panose="020F0502020204030204" pitchFamily="34" charset="0"/>
                <a:ea typeface="Verdana" panose="020B0604030504040204" pitchFamily="34" charset="0"/>
                <a:cs typeface="Calibri" panose="020F0502020204030204" pitchFamily="34" charset="0"/>
              </a:rPr>
              <a:t>ROSHN Real Estate Company</a:t>
            </a:r>
          </a:p>
        </p:txBody>
      </p:sp>
      <p:sp>
        <p:nvSpPr>
          <p:cNvPr id="10" name="Rectangle 9">
            <a:extLst>
              <a:ext uri="{FF2B5EF4-FFF2-40B4-BE49-F238E27FC236}">
                <a16:creationId xmlns:a16="http://schemas.microsoft.com/office/drawing/2014/main" id="{C39A1125-1F03-465B-9865-DB3B82FFE596}"/>
              </a:ext>
            </a:extLst>
          </p:cNvPr>
          <p:cNvSpPr/>
          <p:nvPr/>
        </p:nvSpPr>
        <p:spPr>
          <a:xfrm>
            <a:off x="4737020" y="2189392"/>
            <a:ext cx="1995654" cy="337995"/>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11" name="Rectangle 10">
            <a:extLst>
              <a:ext uri="{FF2B5EF4-FFF2-40B4-BE49-F238E27FC236}">
                <a16:creationId xmlns:a16="http://schemas.microsoft.com/office/drawing/2014/main" id="{6193227C-282F-4CFC-9BBE-CFB71A6911AF}"/>
              </a:ext>
            </a:extLst>
          </p:cNvPr>
          <p:cNvSpPr/>
          <p:nvPr/>
        </p:nvSpPr>
        <p:spPr>
          <a:xfrm>
            <a:off x="6870320" y="1154449"/>
            <a:ext cx="1997076" cy="5273106"/>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06542068-5830-404A-B5FB-39499292F8CE}"/>
              </a:ext>
            </a:extLst>
          </p:cNvPr>
          <p:cNvSpPr/>
          <p:nvPr/>
        </p:nvSpPr>
        <p:spPr>
          <a:xfrm>
            <a:off x="6870320" y="1154450"/>
            <a:ext cx="1995654" cy="258071"/>
          </a:xfrm>
          <a:prstGeom prst="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prstClr val="white"/>
                </a:solidFill>
                <a:latin typeface="Calibri" panose="020F0502020204030204" pitchFamily="34" charset="0"/>
                <a:ea typeface="Open Sans Light" panose="020B0306030504020204" pitchFamily="34" charset="0"/>
                <a:cs typeface="Calibri" panose="020F0502020204030204" pitchFamily="34" charset="0"/>
              </a:rPr>
              <a:t>Ministry of Commerce</a:t>
            </a:r>
          </a:p>
        </p:txBody>
      </p:sp>
      <p:sp>
        <p:nvSpPr>
          <p:cNvPr id="13" name="Rectangle 12">
            <a:extLst>
              <a:ext uri="{FF2B5EF4-FFF2-40B4-BE49-F238E27FC236}">
                <a16:creationId xmlns:a16="http://schemas.microsoft.com/office/drawing/2014/main" id="{23914EF6-5EDA-43D6-A7B5-41683ADB2BEB}"/>
              </a:ext>
            </a:extLst>
          </p:cNvPr>
          <p:cNvSpPr/>
          <p:nvPr/>
        </p:nvSpPr>
        <p:spPr>
          <a:xfrm>
            <a:off x="6870320" y="2189392"/>
            <a:ext cx="1995654" cy="337995"/>
          </a:xfrm>
          <a:prstGeom prst="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14" name="Rectangle 13">
            <a:extLst>
              <a:ext uri="{FF2B5EF4-FFF2-40B4-BE49-F238E27FC236}">
                <a16:creationId xmlns:a16="http://schemas.microsoft.com/office/drawing/2014/main" id="{947E2328-ED5B-436F-A242-1B29ABC31356}"/>
              </a:ext>
            </a:extLst>
          </p:cNvPr>
          <p:cNvSpPr/>
          <p:nvPr/>
        </p:nvSpPr>
        <p:spPr>
          <a:xfrm>
            <a:off x="537756" y="2551062"/>
            <a:ext cx="1937362" cy="867803"/>
          </a:xfrm>
          <a:prstGeom prst="rect">
            <a:avLst/>
          </a:prstGeom>
        </p:spPr>
        <p:txBody>
          <a:bodyPr wrap="square" lIns="72695" tIns="36352" rIns="72695" bIns="36352">
            <a:spAutoFit/>
          </a:bodyPr>
          <a:lstStyle/>
          <a:p>
            <a:pPr marL="155539" indent="-155539">
              <a:buFont typeface="Arial" panose="020B0604020202020204" pitchFamily="34" charset="0"/>
              <a:buChar char="•"/>
            </a:pPr>
            <a:endParaRPr lang="en-US" sz="816" b="1" dirty="0">
              <a:latin typeface="Calibri" panose="020F0502020204030204" pitchFamily="34" charset="0"/>
              <a:cs typeface="Calibri" panose="020F0502020204030204" pitchFamily="34" charset="0"/>
            </a:endParaRPr>
          </a:p>
          <a:p>
            <a:pPr marL="155539" indent="-155539">
              <a:buFont typeface="Arial" panose="020B0604020202020204" pitchFamily="34" charset="0"/>
              <a:buChar char="•"/>
            </a:pPr>
            <a:endParaRPr lang="en-US" sz="816" b="1" dirty="0">
              <a:latin typeface="Calibri" panose="020F0502020204030204" pitchFamily="34" charset="0"/>
              <a:cs typeface="Calibri" panose="020F0502020204030204" pitchFamily="34" charset="0"/>
            </a:endParaRPr>
          </a:p>
          <a:p>
            <a:pPr defTabSz="829544">
              <a:spcBef>
                <a:spcPts val="272"/>
              </a:spcBef>
            </a:pPr>
            <a:endParaRPr lang="en-US" sz="816" dirty="0">
              <a:latin typeface="Calibri" panose="020F0502020204030204" pitchFamily="34" charset="0"/>
              <a:ea typeface="Verdana" panose="020B0604030504040204" pitchFamily="34" charset="0"/>
              <a:cs typeface="Calibri" panose="020F0502020204030204" pitchFamily="34" charset="0"/>
            </a:endParaRPr>
          </a:p>
          <a:p>
            <a:pPr marL="155539" indent="-155539" defTabSz="829544">
              <a:spcBef>
                <a:spcPts val="272"/>
              </a:spcBef>
              <a:buFont typeface="Arial" panose="020B0604020202020204" pitchFamily="34" charset="0"/>
              <a:buChar char="•"/>
            </a:pPr>
            <a:endParaRPr lang="en-US" sz="816" dirty="0">
              <a:latin typeface="Calibri" panose="020F0502020204030204" pitchFamily="34" charset="0"/>
              <a:ea typeface="Verdana" panose="020B0604030504040204" pitchFamily="34" charset="0"/>
              <a:cs typeface="Calibri" panose="020F0502020204030204" pitchFamily="34" charset="0"/>
            </a:endParaRPr>
          </a:p>
          <a:p>
            <a:pPr defTabSz="829544">
              <a:spcBef>
                <a:spcPts val="272"/>
              </a:spcBef>
            </a:pPr>
            <a:endParaRPr lang="en-US" sz="816" dirty="0">
              <a:latin typeface="Calibri" panose="020F0502020204030204" pitchFamily="34" charset="0"/>
              <a:ea typeface="Verdana" panose="020B060403050404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BCF0F7EE-CE91-41A1-9DB4-6DDCDF095DA8}"/>
              </a:ext>
            </a:extLst>
          </p:cNvPr>
          <p:cNvSpPr/>
          <p:nvPr/>
        </p:nvSpPr>
        <p:spPr>
          <a:xfrm>
            <a:off x="4738646" y="2527387"/>
            <a:ext cx="2041933" cy="3416320"/>
          </a:xfrm>
          <a:prstGeom prst="rect">
            <a:avLst/>
          </a:prstGeom>
        </p:spPr>
        <p:txBody>
          <a:bodyPr wrap="square">
            <a:spAutoFit/>
          </a:bodyPr>
          <a:lstStyle/>
          <a:p>
            <a:pPr algn="just">
              <a:defRPr/>
            </a:pPr>
            <a:r>
              <a:rPr lang="en-US" sz="900" dirty="0">
                <a:latin typeface="Calibri" panose="020F0502020204030204" pitchFamily="34" charset="0"/>
                <a:cs typeface="Calibri" panose="020F0502020204030204" pitchFamily="34" charset="0"/>
              </a:rPr>
              <a:t>ROSHN is a real estate entity established under the Public Investment Fund (PIF). </a:t>
            </a:r>
          </a:p>
          <a:p>
            <a:pPr algn="just">
              <a:defRPr/>
            </a:pPr>
            <a:r>
              <a:rPr lang="en-US" sz="900" dirty="0">
                <a:latin typeface="Calibri" panose="020F0502020204030204" pitchFamily="34" charset="0"/>
                <a:cs typeface="Calibri" panose="020F0502020204030204" pitchFamily="34" charset="0"/>
              </a:rPr>
              <a:t>ROSH partnered with Deloitte to implement a robust BCMS in light of ROSHN’s mission and vision to make long term investments in the future of cities across Saudi Arabia by developing great communities with best-in-class homes and to be the most trusted community developer in Saudi Arabia. The engagement was completed over a period of 8 months, with below key outcomes:</a:t>
            </a:r>
          </a:p>
          <a:p>
            <a:pPr marL="171450" indent="-171450" algn="just">
              <a:buFont typeface="Arial" panose="020B0604020202020204" pitchFamily="34" charset="0"/>
              <a:buChar char="•"/>
              <a:defRPr/>
            </a:pPr>
            <a:r>
              <a:rPr lang="en-US" sz="900" dirty="0">
                <a:latin typeface="Calibri" panose="020F0502020204030204" pitchFamily="34" charset="0"/>
                <a:cs typeface="Calibri" panose="020F0502020204030204" pitchFamily="34" charset="0"/>
              </a:rPr>
              <a:t>A Business Continuity Management System which is aligned with the ISO 22301:2019 standards and is reflective of ROSHN’s culture and operations.</a:t>
            </a:r>
          </a:p>
          <a:p>
            <a:pPr marL="171450" indent="-171450" algn="just">
              <a:buFont typeface="Arial" panose="020B0604020202020204" pitchFamily="34" charset="0"/>
              <a:buChar char="•"/>
              <a:defRPr/>
            </a:pPr>
            <a:r>
              <a:rPr lang="en-US" sz="900" dirty="0">
                <a:latin typeface="Calibri" panose="020F0502020204030204" pitchFamily="34" charset="0"/>
                <a:cs typeface="Calibri" panose="020F0502020204030204" pitchFamily="34" charset="0"/>
              </a:rPr>
              <a:t>Trained, skilled professionals who understand the importance of resilience, and are confident and competent to complete their assigned roles in the BCMS.</a:t>
            </a:r>
          </a:p>
        </p:txBody>
      </p:sp>
      <p:sp>
        <p:nvSpPr>
          <p:cNvPr id="16" name="Rectangle 15">
            <a:extLst>
              <a:ext uri="{FF2B5EF4-FFF2-40B4-BE49-F238E27FC236}">
                <a16:creationId xmlns:a16="http://schemas.microsoft.com/office/drawing/2014/main" id="{C6C4505B-AFE8-45BC-B2F0-E104A66769F8}"/>
              </a:ext>
            </a:extLst>
          </p:cNvPr>
          <p:cNvSpPr/>
          <p:nvPr/>
        </p:nvSpPr>
        <p:spPr>
          <a:xfrm>
            <a:off x="471323" y="2544183"/>
            <a:ext cx="2003163" cy="2308324"/>
          </a:xfrm>
          <a:prstGeom prst="rect">
            <a:avLst/>
          </a:prstGeom>
        </p:spPr>
        <p:txBody>
          <a:bodyPr wrap="square">
            <a:spAutoFit/>
          </a:bodyPr>
          <a:lstStyle/>
          <a:p>
            <a:pPr algn="just"/>
            <a:r>
              <a:rPr lang="en-US" sz="900" dirty="0">
                <a:latin typeface="Calibri" panose="020F0502020204030204" pitchFamily="34" charset="0"/>
                <a:cs typeface="Calibri" panose="020F0502020204030204" pitchFamily="34" charset="0"/>
              </a:rPr>
              <a:t>Establishment and operation of Governance, Risk and Compliance (GRC). Due to its vast experience in GRC, its qualified team and strong relationships, Deloitte has recently completed a mega project for the Royal Commission for AlUla (RCU). Deloitte is responsible for the establishment of the GRC function based on the build-operate-transfer model over an 18-month period. The scope of work covered the development of the enterprise risk, enterprise resilience, governance, ethics and compliance departments part of the GRC division.</a:t>
            </a:r>
          </a:p>
        </p:txBody>
      </p:sp>
      <p:sp>
        <p:nvSpPr>
          <p:cNvPr id="18" name="Rectangle 17">
            <a:extLst>
              <a:ext uri="{FF2B5EF4-FFF2-40B4-BE49-F238E27FC236}">
                <a16:creationId xmlns:a16="http://schemas.microsoft.com/office/drawing/2014/main" id="{F5E59F12-4251-4D6A-A82A-7D25B6D8F4D7}"/>
              </a:ext>
            </a:extLst>
          </p:cNvPr>
          <p:cNvSpPr/>
          <p:nvPr/>
        </p:nvSpPr>
        <p:spPr>
          <a:xfrm>
            <a:off x="2603548" y="1154449"/>
            <a:ext cx="1997076" cy="5273106"/>
          </a:xfrm>
          <a:prstGeom prst="rect">
            <a:avLst/>
          </a:prstGeom>
          <a:no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BF2012A2-78E6-4D8E-B33F-A1FCC871F003}"/>
              </a:ext>
            </a:extLst>
          </p:cNvPr>
          <p:cNvSpPr/>
          <p:nvPr/>
        </p:nvSpPr>
        <p:spPr>
          <a:xfrm>
            <a:off x="2603547" y="1154450"/>
            <a:ext cx="1995654" cy="258071"/>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GB" sz="800" b="1" dirty="0">
                <a:solidFill>
                  <a:prstClr val="white"/>
                </a:solidFill>
                <a:latin typeface="Calibri" panose="020F0502020204030204" pitchFamily="34" charset="0"/>
                <a:ea typeface="Open Sans Light" panose="020B0306030504020204" pitchFamily="34" charset="0"/>
                <a:cs typeface="Calibri" panose="020F0502020204030204" pitchFamily="34" charset="0"/>
              </a:rPr>
              <a:t>Uptown Jeddah Company</a:t>
            </a:r>
          </a:p>
        </p:txBody>
      </p:sp>
      <p:sp>
        <p:nvSpPr>
          <p:cNvPr id="20" name="Rectangle 19">
            <a:extLst>
              <a:ext uri="{FF2B5EF4-FFF2-40B4-BE49-F238E27FC236}">
                <a16:creationId xmlns:a16="http://schemas.microsoft.com/office/drawing/2014/main" id="{518C893E-1F76-436B-95A6-AC342B817547}"/>
              </a:ext>
            </a:extLst>
          </p:cNvPr>
          <p:cNvSpPr/>
          <p:nvPr/>
        </p:nvSpPr>
        <p:spPr>
          <a:xfrm>
            <a:off x="2603547" y="2189392"/>
            <a:ext cx="1995654" cy="337995"/>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21" name="Rectangle 20">
            <a:extLst>
              <a:ext uri="{FF2B5EF4-FFF2-40B4-BE49-F238E27FC236}">
                <a16:creationId xmlns:a16="http://schemas.microsoft.com/office/drawing/2014/main" id="{B6BF4979-8B4C-43E8-B3AE-CB045BDF237A}"/>
              </a:ext>
            </a:extLst>
          </p:cNvPr>
          <p:cNvSpPr/>
          <p:nvPr/>
        </p:nvSpPr>
        <p:spPr>
          <a:xfrm>
            <a:off x="2609287" y="2527387"/>
            <a:ext cx="1989914" cy="3970318"/>
          </a:xfrm>
          <a:prstGeom prst="rect">
            <a:avLst/>
          </a:prstGeom>
        </p:spPr>
        <p:txBody>
          <a:bodyPr wrap="square">
            <a:spAutoFit/>
          </a:bodyPr>
          <a:lstStyle/>
          <a:p>
            <a:pPr algn="just">
              <a:defRPr/>
            </a:pPr>
            <a:r>
              <a:rPr lang="en-US" sz="900" dirty="0">
                <a:latin typeface="Calibri" panose="020F0502020204030204" pitchFamily="34" charset="0"/>
                <a:cs typeface="Calibri" panose="020F0502020204030204" pitchFamily="34" charset="0"/>
              </a:rPr>
              <a:t>Uptown Jeddah Company engaged Deloitte &amp; Touche Advisory Saudi Limited to Establish the Business Continuity Management Function and implement  an end-to-end Business Continuity Management System for the Company. The project had a timeline of 10 Months. </a:t>
            </a:r>
          </a:p>
          <a:p>
            <a:pPr algn="just">
              <a:defRPr/>
            </a:pPr>
            <a:r>
              <a:rPr lang="en-US" sz="900" dirty="0">
                <a:latin typeface="Calibri" panose="020F0502020204030204" pitchFamily="34" charset="0"/>
                <a:cs typeface="Calibri" panose="020F0502020204030204" pitchFamily="34" charset="0"/>
              </a:rPr>
              <a:t>The scope of work covered the establishment of the function develop the policy and operating model, in addition to BCM Framework and manual procedures. Also as part of the scope performing Threat Risk Assessment and Business Impact Analysis for the whole entity. As a result of this analysis, Deloitte has delivered an updated Business Continuity Plans and Recovery Strategies that are will support Uptown Jeddah Company in recovering their time critical services and operations in a timely manner. </a:t>
            </a:r>
          </a:p>
          <a:p>
            <a:pPr algn="just">
              <a:defRPr/>
            </a:pPr>
            <a:r>
              <a:rPr lang="en-US" sz="900" dirty="0">
                <a:latin typeface="Calibri" panose="020F0502020204030204" pitchFamily="34" charset="0"/>
                <a:cs typeface="Calibri" panose="020F0502020204030204" pitchFamily="34" charset="0"/>
              </a:rPr>
              <a:t>As part of the scope Deloitte developed the Incident Response and Crisis Management framework and related plans.</a:t>
            </a:r>
          </a:p>
          <a:p>
            <a:pPr algn="just">
              <a:defRPr/>
            </a:pPr>
            <a:endParaRPr lang="en-US" sz="900" dirty="0">
              <a:latin typeface="Calibri" panose="020F0502020204030204" pitchFamily="34" charset="0"/>
              <a:cs typeface="Calibri" panose="020F0502020204030204" pitchFamily="34" charset="0"/>
            </a:endParaRPr>
          </a:p>
        </p:txBody>
      </p:sp>
      <p:pic>
        <p:nvPicPr>
          <p:cNvPr id="24" name="Picture 23">
            <a:extLst>
              <a:ext uri="{FF2B5EF4-FFF2-40B4-BE49-F238E27FC236}">
                <a16:creationId xmlns:a16="http://schemas.microsoft.com/office/drawing/2014/main" id="{7B7D23B0-D7E0-442A-BB5C-8029E5B8654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5895" t="6330" r="17755" b="8419"/>
          <a:stretch/>
        </p:blipFill>
        <p:spPr>
          <a:xfrm>
            <a:off x="7483154" y="1459608"/>
            <a:ext cx="767098" cy="696198"/>
          </a:xfrm>
          <a:prstGeom prst="rect">
            <a:avLst/>
          </a:prstGeom>
        </p:spPr>
      </p:pic>
      <p:sp>
        <p:nvSpPr>
          <p:cNvPr id="25" name="Rectangle 24">
            <a:extLst>
              <a:ext uri="{FF2B5EF4-FFF2-40B4-BE49-F238E27FC236}">
                <a16:creationId xmlns:a16="http://schemas.microsoft.com/office/drawing/2014/main" id="{B39B2CD6-7CAA-4152-A0B2-4931EDF41DC4}"/>
              </a:ext>
            </a:extLst>
          </p:cNvPr>
          <p:cNvSpPr/>
          <p:nvPr/>
        </p:nvSpPr>
        <p:spPr>
          <a:xfrm>
            <a:off x="6867641" y="2542117"/>
            <a:ext cx="2011118" cy="2453166"/>
          </a:xfrm>
          <a:prstGeom prst="rect">
            <a:avLst/>
          </a:prstGeom>
        </p:spPr>
        <p:txBody>
          <a:bodyPr wrap="square">
            <a:spAutoFit/>
          </a:bodyPr>
          <a:lstStyle/>
          <a:p>
            <a:pPr algn="just">
              <a:defRPr/>
            </a:pPr>
            <a:r>
              <a:rPr lang="en-US" sz="900" dirty="0">
                <a:latin typeface="Calibri" panose="020F0502020204030204" pitchFamily="34" charset="0"/>
                <a:cs typeface="Calibri" panose="020F0502020204030204" pitchFamily="34" charset="0"/>
              </a:rPr>
              <a:t>Deloitte &amp; Touche Advisory Saudi Limited led the development and implementation efforts for a comprehensive Business Continuity Management program for MC for a period of </a:t>
            </a:r>
            <a:r>
              <a:rPr lang="en-US" sz="900" b="1" dirty="0">
                <a:latin typeface="Calibri" panose="020F0502020204030204" pitchFamily="34" charset="0"/>
                <a:cs typeface="Calibri" panose="020F0502020204030204" pitchFamily="34" charset="0"/>
              </a:rPr>
              <a:t>10 Months</a:t>
            </a:r>
            <a:r>
              <a:rPr lang="en-US" sz="900" dirty="0">
                <a:latin typeface="Calibri" panose="020F0502020204030204" pitchFamily="34" charset="0"/>
                <a:cs typeface="Calibri" panose="020F0502020204030204" pitchFamily="34" charset="0"/>
              </a:rPr>
              <a:t>. The project comprised of establishing BCM Governance Policies and Procedures as well as conducting organization-wide Business Impact Analysis, IT Disaster Recovery Assessment and Threat Risk Assessment outlining the recovery time and recovery point objectives for the MCs critical services and processes. Moreover, a number of exercises (Tabletop and Simulation) have been conducted to evaluate MC’s crisis preparedness.</a:t>
            </a:r>
          </a:p>
        </p:txBody>
      </p:sp>
      <p:sp>
        <p:nvSpPr>
          <p:cNvPr id="26" name="Rectangle 25">
            <a:extLst>
              <a:ext uri="{FF2B5EF4-FFF2-40B4-BE49-F238E27FC236}">
                <a16:creationId xmlns:a16="http://schemas.microsoft.com/office/drawing/2014/main" id="{35486FDC-3BC4-4121-B81E-116015A3D9BF}"/>
              </a:ext>
            </a:extLst>
          </p:cNvPr>
          <p:cNvSpPr/>
          <p:nvPr/>
        </p:nvSpPr>
        <p:spPr>
          <a:xfrm>
            <a:off x="9002197" y="1146638"/>
            <a:ext cx="1997076" cy="5273106"/>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4EF18C66-F89F-48F3-B118-6885B7F66618}"/>
              </a:ext>
            </a:extLst>
          </p:cNvPr>
          <p:cNvSpPr/>
          <p:nvPr/>
        </p:nvSpPr>
        <p:spPr>
          <a:xfrm>
            <a:off x="9002197" y="1146639"/>
            <a:ext cx="1995654" cy="265882"/>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prstClr val="white"/>
                </a:solidFill>
                <a:latin typeface="Calibri" panose="020F0502020204030204" pitchFamily="34" charset="0"/>
                <a:ea typeface="Open Sans Light" panose="020B0306030504020204" pitchFamily="34" charset="0"/>
                <a:cs typeface="Calibri" panose="020F0502020204030204" pitchFamily="34" charset="0"/>
              </a:rPr>
              <a:t>Ministry of Transport and Logistical Services</a:t>
            </a:r>
          </a:p>
        </p:txBody>
      </p:sp>
      <p:sp>
        <p:nvSpPr>
          <p:cNvPr id="28" name="Rectangle 27">
            <a:extLst>
              <a:ext uri="{FF2B5EF4-FFF2-40B4-BE49-F238E27FC236}">
                <a16:creationId xmlns:a16="http://schemas.microsoft.com/office/drawing/2014/main" id="{9F090627-519D-4CAE-9FA3-AF0FF16FFE92}"/>
              </a:ext>
            </a:extLst>
          </p:cNvPr>
          <p:cNvSpPr/>
          <p:nvPr/>
        </p:nvSpPr>
        <p:spPr>
          <a:xfrm>
            <a:off x="9002197" y="2181581"/>
            <a:ext cx="1995654" cy="337995"/>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29" name="Rectangle 28">
            <a:extLst>
              <a:ext uri="{FF2B5EF4-FFF2-40B4-BE49-F238E27FC236}">
                <a16:creationId xmlns:a16="http://schemas.microsoft.com/office/drawing/2014/main" id="{622CF946-3CE0-4A64-B3C2-2FAC843C8935}"/>
              </a:ext>
            </a:extLst>
          </p:cNvPr>
          <p:cNvSpPr/>
          <p:nvPr/>
        </p:nvSpPr>
        <p:spPr>
          <a:xfrm>
            <a:off x="9007738" y="2536372"/>
            <a:ext cx="2003163" cy="3831818"/>
          </a:xfrm>
          <a:prstGeom prst="rect">
            <a:avLst/>
          </a:prstGeom>
        </p:spPr>
        <p:txBody>
          <a:bodyPr wrap="square">
            <a:spAutoFit/>
          </a:bodyPr>
          <a:lstStyle/>
          <a:p>
            <a:pPr algn="just">
              <a:defRPr/>
            </a:pPr>
            <a:r>
              <a:rPr lang="en-US" sz="900" dirty="0">
                <a:latin typeface="Calibri" panose="020F0502020204030204" pitchFamily="34" charset="0"/>
                <a:cs typeface="Calibri" panose="020F0502020204030204" pitchFamily="34" charset="0"/>
              </a:rPr>
              <a:t>Establishment of the Risk Management (RM) and Business Continuity Management (BCM) functions. The project comprised of establishing BCM Governance via the development of Policies, Frameworks, Structures, and Procedures. Deloitte is also responsible of conducting organization-wide Business Impact Analysis and Threat Risk Assessment outlining the recovery time and recovery point objectives for critical services and processes. Moreover, the project scope also includes the identification of best-fit of recovery strategies / solutions, development of Business Continuity Plans (BCPs) including Crisis Management, conducting exercises, and spreading awareness / conducting training workshops. Last but not least, throughout this journey Deloitte supported the establishment of Guidelines dedicated for RM and BCM which are planned to be utilized throughout the sector in-order to support the increase in maturity.</a:t>
            </a:r>
          </a:p>
        </p:txBody>
      </p:sp>
      <p:sp>
        <p:nvSpPr>
          <p:cNvPr id="31" name="Triangle 28">
            <a:extLst>
              <a:ext uri="{FF2B5EF4-FFF2-40B4-BE49-F238E27FC236}">
                <a16:creationId xmlns:a16="http://schemas.microsoft.com/office/drawing/2014/main" id="{6A5A58E5-E087-46A6-916B-7781463C1FB4}"/>
              </a:ext>
            </a:extLst>
          </p:cNvPr>
          <p:cNvSpPr/>
          <p:nvPr/>
        </p:nvSpPr>
        <p:spPr>
          <a:xfrm rot="16200000">
            <a:off x="11060702" y="2333835"/>
            <a:ext cx="267460" cy="230569"/>
          </a:xfrm>
          <a:prstGeom prst="triangl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32" name="Rectangle 31">
            <a:extLst>
              <a:ext uri="{FF2B5EF4-FFF2-40B4-BE49-F238E27FC236}">
                <a16:creationId xmlns:a16="http://schemas.microsoft.com/office/drawing/2014/main" id="{3002330A-4AB9-43DE-8840-A071295F6B11}"/>
              </a:ext>
            </a:extLst>
          </p:cNvPr>
          <p:cNvSpPr/>
          <p:nvPr/>
        </p:nvSpPr>
        <p:spPr bwMode="gray">
          <a:xfrm>
            <a:off x="1" y="0"/>
            <a:ext cx="165462" cy="6858000"/>
          </a:xfrm>
          <a:prstGeom prst="rect">
            <a:avLst/>
          </a:prstGeom>
          <a:solidFill>
            <a:srgbClr val="00A3E0"/>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800" b="1" dirty="0">
              <a:solidFill>
                <a:schemeClr val="bg1"/>
              </a:solidFill>
              <a:latin typeface="+mj-lt"/>
              <a:cs typeface="Sakkal Majalla" panose="02000000000000000000" pitchFamily="2" charset="-78"/>
            </a:endParaRPr>
          </a:p>
        </p:txBody>
      </p:sp>
      <p:pic>
        <p:nvPicPr>
          <p:cNvPr id="3" name="Picture 2">
            <a:extLst>
              <a:ext uri="{FF2B5EF4-FFF2-40B4-BE49-F238E27FC236}">
                <a16:creationId xmlns:a16="http://schemas.microsoft.com/office/drawing/2014/main" id="{2B2FF783-3A5B-B68D-2AF6-D6EF76E3061C}"/>
              </a:ext>
            </a:extLst>
          </p:cNvPr>
          <p:cNvPicPr>
            <a:picLocks noChangeAspect="1"/>
          </p:cNvPicPr>
          <p:nvPr/>
        </p:nvPicPr>
        <p:blipFill rotWithShape="1">
          <a:blip r:embed="rId3"/>
          <a:srcRect t="26688" b="25999"/>
          <a:stretch/>
        </p:blipFill>
        <p:spPr>
          <a:xfrm>
            <a:off x="5049920" y="1486592"/>
            <a:ext cx="1356818" cy="641938"/>
          </a:xfrm>
          <a:prstGeom prst="rect">
            <a:avLst/>
          </a:prstGeom>
        </p:spPr>
      </p:pic>
      <p:pic>
        <p:nvPicPr>
          <p:cNvPr id="17" name="Picture 16">
            <a:extLst>
              <a:ext uri="{FF2B5EF4-FFF2-40B4-BE49-F238E27FC236}">
                <a16:creationId xmlns:a16="http://schemas.microsoft.com/office/drawing/2014/main" id="{10F35BB6-C0B1-3ED1-CFEA-78BFEA1D4D21}"/>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550837" y="1621233"/>
            <a:ext cx="1819850" cy="425390"/>
          </a:xfrm>
          <a:prstGeom prst="rect">
            <a:avLst/>
          </a:prstGeom>
        </p:spPr>
      </p:pic>
      <p:pic>
        <p:nvPicPr>
          <p:cNvPr id="38" name="Picture 37">
            <a:extLst>
              <a:ext uri="{FF2B5EF4-FFF2-40B4-BE49-F238E27FC236}">
                <a16:creationId xmlns:a16="http://schemas.microsoft.com/office/drawing/2014/main" id="{BA994893-8D6A-FE03-60CF-F2E0C8FBCC1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101310" y="1533139"/>
            <a:ext cx="1001379" cy="552225"/>
          </a:xfrm>
          <a:prstGeom prst="rect">
            <a:avLst/>
          </a:prstGeom>
        </p:spPr>
      </p:pic>
      <p:pic>
        <p:nvPicPr>
          <p:cNvPr id="2" name="Picture 1" descr="Logo&#10;&#10;Description automatically generated">
            <a:extLst>
              <a:ext uri="{FF2B5EF4-FFF2-40B4-BE49-F238E27FC236}">
                <a16:creationId xmlns:a16="http://schemas.microsoft.com/office/drawing/2014/main" id="{AB9639EB-D341-620F-1C3A-FC1D1E73078B}"/>
              </a:ext>
            </a:extLst>
          </p:cNvPr>
          <p:cNvPicPr/>
          <p:nvPr/>
        </p:nvPicPr>
        <p:blipFill rotWithShape="1">
          <a:blip r:embed="rId6" cstate="email">
            <a:extLst>
              <a:ext uri="{28A0092B-C50C-407E-A947-70E740481C1C}">
                <a14:useLocalDpi xmlns:a14="http://schemas.microsoft.com/office/drawing/2010/main"/>
              </a:ext>
            </a:extLst>
          </a:blip>
          <a:srcRect/>
          <a:stretch/>
        </p:blipFill>
        <p:spPr bwMode="auto">
          <a:xfrm>
            <a:off x="9143065" y="1535493"/>
            <a:ext cx="1759910" cy="511130"/>
          </a:xfrm>
          <a:prstGeom prst="rect">
            <a:avLst/>
          </a:prstGeom>
          <a:ln>
            <a:noFill/>
          </a:ln>
          <a:extLst>
            <a:ext uri="{53640926-AAD7-44D8-BBD7-CCE9431645EC}">
              <a14:shadowObscured xmlns:a14="http://schemas.microsoft.com/office/drawing/2010/main"/>
            </a:ext>
          </a:extLst>
        </p:spPr>
      </p:pic>
      <p:sp>
        <p:nvSpPr>
          <p:cNvPr id="34" name="Text Placeholder 6">
            <a:extLst>
              <a:ext uri="{FF2B5EF4-FFF2-40B4-BE49-F238E27FC236}">
                <a16:creationId xmlns:a16="http://schemas.microsoft.com/office/drawing/2014/main" id="{3767BF78-74CA-D5B2-B42F-CE977B823566}"/>
              </a:ext>
            </a:extLst>
          </p:cNvPr>
          <p:cNvSpPr>
            <a:spLocks noGrp="1"/>
          </p:cNvSpPr>
          <p:nvPr>
            <p:ph type="body" sz="quarter" idx="13"/>
          </p:nvPr>
        </p:nvSpPr>
        <p:spPr>
          <a:xfrm>
            <a:off x="522373" y="761804"/>
            <a:ext cx="11147258" cy="750193"/>
          </a:xfrm>
        </p:spPr>
        <p:txBody>
          <a:bodyPr/>
          <a:lstStyle/>
          <a:p>
            <a:pPr>
              <a:lnSpc>
                <a:spcPct val="120000"/>
              </a:lnSpc>
            </a:pPr>
            <a:r>
              <a:rPr lang="en-US" dirty="0">
                <a:solidFill>
                  <a:srgbClr val="00A3E0"/>
                </a:solidFill>
                <a:cs typeface="Calibri" panose="020F0502020204030204" pitchFamily="34" charset="0"/>
              </a:rPr>
              <a:t>Selected BCM Credentials</a:t>
            </a:r>
          </a:p>
        </p:txBody>
      </p:sp>
      <p:sp>
        <p:nvSpPr>
          <p:cNvPr id="35" name="Title 1">
            <a:extLst>
              <a:ext uri="{FF2B5EF4-FFF2-40B4-BE49-F238E27FC236}">
                <a16:creationId xmlns:a16="http://schemas.microsoft.com/office/drawing/2014/main" id="{61FD2ED3-CAF2-3336-4890-7F860027CE13}"/>
              </a:ext>
            </a:extLst>
          </p:cNvPr>
          <p:cNvSpPr>
            <a:spLocks noGrp="1"/>
          </p:cNvSpPr>
          <p:nvPr>
            <p:ph type="title"/>
          </p:nvPr>
        </p:nvSpPr>
        <p:spPr>
          <a:xfrm>
            <a:off x="522373" y="430820"/>
            <a:ext cx="11147258" cy="330986"/>
          </a:xfrm>
        </p:spPr>
        <p:txBody>
          <a:bodyPr/>
          <a:lstStyle/>
          <a:p>
            <a:r>
              <a:rPr lang="en-US" sz="2382" dirty="0">
                <a:solidFill>
                  <a:prstClr val="black"/>
                </a:solidFill>
                <a:cs typeface="Calibri" panose="020F0502020204030204" pitchFamily="34" charset="0"/>
              </a:rPr>
              <a:t>Our Capabilities</a:t>
            </a:r>
          </a:p>
        </p:txBody>
      </p:sp>
    </p:spTree>
    <p:extLst>
      <p:ext uri="{BB962C8B-B14F-4D97-AF65-F5344CB8AC3E}">
        <p14:creationId xmlns:p14="http://schemas.microsoft.com/office/powerpoint/2010/main" val="25160110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CB68BC3-E7A0-4C53-BA11-96950D91667A}"/>
              </a:ext>
            </a:extLst>
          </p:cNvPr>
          <p:cNvSpPr/>
          <p:nvPr/>
        </p:nvSpPr>
        <p:spPr>
          <a:xfrm>
            <a:off x="469901" y="1154449"/>
            <a:ext cx="1997076" cy="5273106"/>
          </a:xfrm>
          <a:prstGeom prst="rect">
            <a:avLst/>
          </a:prstGeom>
          <a:noFill/>
          <a:ln w="31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F580AA2B-BA32-464B-85E2-F159D143FBAC}"/>
              </a:ext>
            </a:extLst>
          </p:cNvPr>
          <p:cNvSpPr/>
          <p:nvPr/>
        </p:nvSpPr>
        <p:spPr>
          <a:xfrm>
            <a:off x="469901" y="1154450"/>
            <a:ext cx="1995654" cy="258071"/>
          </a:xfrm>
          <a:prstGeom prst="rect">
            <a:avLst/>
          </a:prstGeom>
          <a:solidFill>
            <a:schemeClr val="accent4">
              <a:lumMod val="50000"/>
            </a:schemeClr>
          </a:solidFill>
          <a:ln w="31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GB" sz="800" b="1" dirty="0">
                <a:solidFill>
                  <a:prstClr val="white"/>
                </a:solidFill>
                <a:latin typeface="Calibri" panose="020F0502020204030204" pitchFamily="34" charset="0"/>
                <a:ea typeface="Open Sans Light" panose="020B0306030504020204" pitchFamily="34" charset="0"/>
                <a:cs typeface="Calibri" panose="020F0502020204030204" pitchFamily="34" charset="0"/>
              </a:rPr>
              <a:t>Saudi Arabian Monetary Authority (SAMA)</a:t>
            </a:r>
          </a:p>
        </p:txBody>
      </p:sp>
      <p:sp>
        <p:nvSpPr>
          <p:cNvPr id="7" name="Rectangle 6">
            <a:extLst>
              <a:ext uri="{FF2B5EF4-FFF2-40B4-BE49-F238E27FC236}">
                <a16:creationId xmlns:a16="http://schemas.microsoft.com/office/drawing/2014/main" id="{5A818B28-13B9-4E00-A43E-E1DCD08B4DB9}"/>
              </a:ext>
            </a:extLst>
          </p:cNvPr>
          <p:cNvSpPr/>
          <p:nvPr/>
        </p:nvSpPr>
        <p:spPr>
          <a:xfrm>
            <a:off x="469901" y="2189392"/>
            <a:ext cx="1995654" cy="337995"/>
          </a:xfrm>
          <a:prstGeom prst="rect">
            <a:avLst/>
          </a:prstGeom>
          <a:solidFill>
            <a:schemeClr val="accent4">
              <a:lumMod val="50000"/>
            </a:schemeClr>
          </a:solidFill>
          <a:ln w="31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8" name="Rectangle 7">
            <a:extLst>
              <a:ext uri="{FF2B5EF4-FFF2-40B4-BE49-F238E27FC236}">
                <a16:creationId xmlns:a16="http://schemas.microsoft.com/office/drawing/2014/main" id="{AF495501-C290-40A1-886B-6C62942B60DE}"/>
              </a:ext>
            </a:extLst>
          </p:cNvPr>
          <p:cNvSpPr/>
          <p:nvPr/>
        </p:nvSpPr>
        <p:spPr>
          <a:xfrm>
            <a:off x="4737021" y="1154449"/>
            <a:ext cx="1997076" cy="5273106"/>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9426F387-92DA-40D0-8666-0E584D5525B5}"/>
              </a:ext>
            </a:extLst>
          </p:cNvPr>
          <p:cNvSpPr/>
          <p:nvPr/>
        </p:nvSpPr>
        <p:spPr>
          <a:xfrm>
            <a:off x="4737020" y="1154450"/>
            <a:ext cx="1995654" cy="258071"/>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defTabSz="829544"/>
            <a:r>
              <a:rPr lang="en-US" sz="800" b="1" dirty="0">
                <a:solidFill>
                  <a:schemeClr val="bg1"/>
                </a:solidFill>
                <a:latin typeface="Calibri" panose="020F0502020204030204" pitchFamily="34" charset="0"/>
                <a:ea typeface="Verdana" panose="020B0604030504040204" pitchFamily="34" charset="0"/>
                <a:cs typeface="Calibri" panose="020F0502020204030204" pitchFamily="34" charset="0"/>
              </a:rPr>
              <a:t>Ma’aden</a:t>
            </a:r>
          </a:p>
        </p:txBody>
      </p:sp>
      <p:sp>
        <p:nvSpPr>
          <p:cNvPr id="10" name="Rectangle 9">
            <a:extLst>
              <a:ext uri="{FF2B5EF4-FFF2-40B4-BE49-F238E27FC236}">
                <a16:creationId xmlns:a16="http://schemas.microsoft.com/office/drawing/2014/main" id="{C39A1125-1F03-465B-9865-DB3B82FFE596}"/>
              </a:ext>
            </a:extLst>
          </p:cNvPr>
          <p:cNvSpPr/>
          <p:nvPr/>
        </p:nvSpPr>
        <p:spPr>
          <a:xfrm>
            <a:off x="4737020" y="2189392"/>
            <a:ext cx="1995654" cy="337995"/>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11" name="Rectangle 10">
            <a:extLst>
              <a:ext uri="{FF2B5EF4-FFF2-40B4-BE49-F238E27FC236}">
                <a16:creationId xmlns:a16="http://schemas.microsoft.com/office/drawing/2014/main" id="{6193227C-282F-4CFC-9BBE-CFB71A6911AF}"/>
              </a:ext>
            </a:extLst>
          </p:cNvPr>
          <p:cNvSpPr/>
          <p:nvPr/>
        </p:nvSpPr>
        <p:spPr>
          <a:xfrm>
            <a:off x="6870320" y="1154449"/>
            <a:ext cx="1997076" cy="5273106"/>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06542068-5830-404A-B5FB-39499292F8CE}"/>
              </a:ext>
            </a:extLst>
          </p:cNvPr>
          <p:cNvSpPr/>
          <p:nvPr/>
        </p:nvSpPr>
        <p:spPr>
          <a:xfrm>
            <a:off x="6870320" y="1154450"/>
            <a:ext cx="1995654" cy="258071"/>
          </a:xfrm>
          <a:prstGeom prst="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GB" sz="800" b="1" dirty="0">
                <a:solidFill>
                  <a:prstClr val="white"/>
                </a:solidFill>
                <a:latin typeface="Calibri" panose="020F0502020204030204" pitchFamily="34" charset="0"/>
                <a:ea typeface="Open Sans Light" panose="020B0306030504020204" pitchFamily="34" charset="0"/>
                <a:cs typeface="Calibri" panose="020F0502020204030204" pitchFamily="34" charset="0"/>
              </a:rPr>
              <a:t>Al Rajhi Bank</a:t>
            </a:r>
          </a:p>
        </p:txBody>
      </p:sp>
      <p:sp>
        <p:nvSpPr>
          <p:cNvPr id="13" name="Rectangle 12">
            <a:extLst>
              <a:ext uri="{FF2B5EF4-FFF2-40B4-BE49-F238E27FC236}">
                <a16:creationId xmlns:a16="http://schemas.microsoft.com/office/drawing/2014/main" id="{23914EF6-5EDA-43D6-A7B5-41683ADB2BEB}"/>
              </a:ext>
            </a:extLst>
          </p:cNvPr>
          <p:cNvSpPr/>
          <p:nvPr/>
        </p:nvSpPr>
        <p:spPr>
          <a:xfrm>
            <a:off x="6870320" y="2189392"/>
            <a:ext cx="1995654" cy="337995"/>
          </a:xfrm>
          <a:prstGeom prst="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14" name="Rectangle 13">
            <a:extLst>
              <a:ext uri="{FF2B5EF4-FFF2-40B4-BE49-F238E27FC236}">
                <a16:creationId xmlns:a16="http://schemas.microsoft.com/office/drawing/2014/main" id="{947E2328-ED5B-436F-A242-1B29ABC31356}"/>
              </a:ext>
            </a:extLst>
          </p:cNvPr>
          <p:cNvSpPr/>
          <p:nvPr/>
        </p:nvSpPr>
        <p:spPr>
          <a:xfrm>
            <a:off x="537756" y="2551062"/>
            <a:ext cx="1937362" cy="867803"/>
          </a:xfrm>
          <a:prstGeom prst="rect">
            <a:avLst/>
          </a:prstGeom>
        </p:spPr>
        <p:txBody>
          <a:bodyPr wrap="square" lIns="72695" tIns="36352" rIns="72695" bIns="36352">
            <a:spAutoFit/>
          </a:bodyPr>
          <a:lstStyle/>
          <a:p>
            <a:pPr marL="155539" indent="-155539">
              <a:buFont typeface="Arial" panose="020B0604020202020204" pitchFamily="34" charset="0"/>
              <a:buChar char="•"/>
            </a:pPr>
            <a:endParaRPr lang="en-US" sz="816" b="1" dirty="0">
              <a:latin typeface="Calibri" panose="020F0502020204030204" pitchFamily="34" charset="0"/>
              <a:cs typeface="Calibri" panose="020F0502020204030204" pitchFamily="34" charset="0"/>
            </a:endParaRPr>
          </a:p>
          <a:p>
            <a:pPr marL="155539" indent="-155539">
              <a:buFont typeface="Arial" panose="020B0604020202020204" pitchFamily="34" charset="0"/>
              <a:buChar char="•"/>
            </a:pPr>
            <a:endParaRPr lang="en-US" sz="816" b="1" dirty="0">
              <a:latin typeface="Calibri" panose="020F0502020204030204" pitchFamily="34" charset="0"/>
              <a:cs typeface="Calibri" panose="020F0502020204030204" pitchFamily="34" charset="0"/>
            </a:endParaRPr>
          </a:p>
          <a:p>
            <a:pPr defTabSz="829544">
              <a:spcBef>
                <a:spcPts val="272"/>
              </a:spcBef>
            </a:pPr>
            <a:endParaRPr lang="en-US" sz="816" dirty="0">
              <a:latin typeface="Calibri" panose="020F0502020204030204" pitchFamily="34" charset="0"/>
              <a:ea typeface="Verdana" panose="020B0604030504040204" pitchFamily="34" charset="0"/>
              <a:cs typeface="Calibri" panose="020F0502020204030204" pitchFamily="34" charset="0"/>
            </a:endParaRPr>
          </a:p>
          <a:p>
            <a:pPr marL="155539" indent="-155539" defTabSz="829544">
              <a:spcBef>
                <a:spcPts val="272"/>
              </a:spcBef>
              <a:buFont typeface="Arial" panose="020B0604020202020204" pitchFamily="34" charset="0"/>
              <a:buChar char="•"/>
            </a:pPr>
            <a:endParaRPr lang="en-US" sz="816" dirty="0">
              <a:latin typeface="Calibri" panose="020F0502020204030204" pitchFamily="34" charset="0"/>
              <a:ea typeface="Verdana" panose="020B0604030504040204" pitchFamily="34" charset="0"/>
              <a:cs typeface="Calibri" panose="020F0502020204030204" pitchFamily="34" charset="0"/>
            </a:endParaRPr>
          </a:p>
          <a:p>
            <a:pPr defTabSz="829544">
              <a:spcBef>
                <a:spcPts val="272"/>
              </a:spcBef>
            </a:pPr>
            <a:endParaRPr lang="en-US" sz="816" dirty="0">
              <a:latin typeface="Calibri" panose="020F0502020204030204" pitchFamily="34" charset="0"/>
              <a:ea typeface="Verdana" panose="020B060403050404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BCF0F7EE-CE91-41A1-9DB4-6DDCDF095DA8}"/>
              </a:ext>
            </a:extLst>
          </p:cNvPr>
          <p:cNvSpPr/>
          <p:nvPr/>
        </p:nvSpPr>
        <p:spPr>
          <a:xfrm>
            <a:off x="4738646" y="2527387"/>
            <a:ext cx="2041933" cy="3277820"/>
          </a:xfrm>
          <a:prstGeom prst="rect">
            <a:avLst/>
          </a:prstGeom>
        </p:spPr>
        <p:txBody>
          <a:bodyPr wrap="square">
            <a:spAutoFit/>
          </a:bodyPr>
          <a:lstStyle/>
          <a:p>
            <a:pPr algn="just">
              <a:defRPr/>
            </a:pPr>
            <a:r>
              <a:rPr lang="en-US" sz="900" dirty="0">
                <a:latin typeface="Calibri" panose="020F0502020204030204" pitchFamily="34" charset="0"/>
                <a:cs typeface="Calibri" panose="020F0502020204030204" pitchFamily="34" charset="0"/>
              </a:rPr>
              <a:t>Deloitte &amp; Touche M.E. is currently working with Ma’aden to assess and revamp its crisis management capabilities. The project requires updating the relevant plans and procedures and conducting trainings and exercises for middle management and senior management.</a:t>
            </a:r>
          </a:p>
          <a:p>
            <a:pPr algn="just">
              <a:defRPr/>
            </a:pPr>
            <a:endParaRPr lang="en-US" sz="900" dirty="0">
              <a:latin typeface="Calibri" panose="020F0502020204030204" pitchFamily="34" charset="0"/>
              <a:cs typeface="Calibri" panose="020F0502020204030204" pitchFamily="34" charset="0"/>
            </a:endParaRPr>
          </a:p>
          <a:p>
            <a:pPr algn="just">
              <a:defRPr/>
            </a:pPr>
            <a:r>
              <a:rPr lang="en-US" sz="900" dirty="0">
                <a:latin typeface="Calibri" panose="020F0502020204030204" pitchFamily="34" charset="0"/>
                <a:cs typeface="Calibri" panose="020F0502020204030204" pitchFamily="34" charset="0"/>
              </a:rPr>
              <a:t>Deloitte was also involved in implementation of end-to-end Business Continuity Management System for Ma’aden Corporate and all of its business units and affiliate companies including a review of its emergency response procedures for its mines and sites. MA’ADEN engaged Deloitte to assist in the development of the enterprise wide Enterprise Risk Management (ERM) Program and the BCM Program concurrently. The Project lasted 2 years and covered the entire units and sites in scope.</a:t>
            </a:r>
          </a:p>
        </p:txBody>
      </p:sp>
      <p:sp>
        <p:nvSpPr>
          <p:cNvPr id="16" name="Rectangle 15">
            <a:extLst>
              <a:ext uri="{FF2B5EF4-FFF2-40B4-BE49-F238E27FC236}">
                <a16:creationId xmlns:a16="http://schemas.microsoft.com/office/drawing/2014/main" id="{C6C4505B-AFE8-45BC-B2F0-E104A66769F8}"/>
              </a:ext>
            </a:extLst>
          </p:cNvPr>
          <p:cNvSpPr/>
          <p:nvPr/>
        </p:nvSpPr>
        <p:spPr>
          <a:xfrm>
            <a:off x="471323" y="2544183"/>
            <a:ext cx="2003163" cy="3693319"/>
          </a:xfrm>
          <a:prstGeom prst="rect">
            <a:avLst/>
          </a:prstGeom>
        </p:spPr>
        <p:txBody>
          <a:bodyPr wrap="square">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Deloitte was engaged to develop Business Continuity Development Program for SAMA Head Office, all branches and Committees across the Kingdom. In line with the understanding of the vision and requirements of SAMA, Deloitte built on its realization of the scale and criticality of such an important initiative by investing </a:t>
            </a:r>
            <a:r>
              <a:rPr kumimoji="0" lang="en-US" sz="900" b="1"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24 months</a:t>
            </a:r>
            <a:r>
              <a:rPr kumimoji="0" lang="en-US" sz="9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 of extensive efforts of hands-on involvement to develop an end-to-end BCMS. The dedicated team steered the development of the program in its initial stages by assessing and understanding existing resilience capabilities of the organization, only to be followed with a multi-month in-depth BIA of the entire organization (including the Headquarters in Riyadh as well as the authority’s ten branches across the kingdom) to derive the authority’s time-critical processes and identify recovery requirements needed to support the recovery of such processes. </a:t>
            </a:r>
          </a:p>
        </p:txBody>
      </p:sp>
      <p:sp>
        <p:nvSpPr>
          <p:cNvPr id="18" name="Rectangle 17">
            <a:extLst>
              <a:ext uri="{FF2B5EF4-FFF2-40B4-BE49-F238E27FC236}">
                <a16:creationId xmlns:a16="http://schemas.microsoft.com/office/drawing/2014/main" id="{F5E59F12-4251-4D6A-A82A-7D25B6D8F4D7}"/>
              </a:ext>
            </a:extLst>
          </p:cNvPr>
          <p:cNvSpPr/>
          <p:nvPr/>
        </p:nvSpPr>
        <p:spPr>
          <a:xfrm>
            <a:off x="2603548" y="1154449"/>
            <a:ext cx="1997076" cy="5273106"/>
          </a:xfrm>
          <a:prstGeom prst="rect">
            <a:avLst/>
          </a:prstGeom>
          <a:no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BF2012A2-78E6-4D8E-B33F-A1FCC871F003}"/>
              </a:ext>
            </a:extLst>
          </p:cNvPr>
          <p:cNvSpPr/>
          <p:nvPr/>
        </p:nvSpPr>
        <p:spPr>
          <a:xfrm>
            <a:off x="2603547" y="1154450"/>
            <a:ext cx="1995654" cy="258071"/>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GB" sz="800" b="1" dirty="0">
                <a:solidFill>
                  <a:prstClr val="white"/>
                </a:solidFill>
                <a:latin typeface="Calibri" panose="020F0502020204030204" pitchFamily="34" charset="0"/>
                <a:ea typeface="Open Sans Light" panose="020B0306030504020204" pitchFamily="34" charset="0"/>
                <a:cs typeface="Calibri" panose="020F0502020204030204" pitchFamily="34" charset="0"/>
              </a:rPr>
              <a:t>Saudi Payments (SADAD)</a:t>
            </a:r>
          </a:p>
        </p:txBody>
      </p:sp>
      <p:sp>
        <p:nvSpPr>
          <p:cNvPr id="20" name="Rectangle 19">
            <a:extLst>
              <a:ext uri="{FF2B5EF4-FFF2-40B4-BE49-F238E27FC236}">
                <a16:creationId xmlns:a16="http://schemas.microsoft.com/office/drawing/2014/main" id="{518C893E-1F76-436B-95A6-AC342B817547}"/>
              </a:ext>
            </a:extLst>
          </p:cNvPr>
          <p:cNvSpPr/>
          <p:nvPr/>
        </p:nvSpPr>
        <p:spPr>
          <a:xfrm>
            <a:off x="2603547" y="2189392"/>
            <a:ext cx="1995654" cy="337995"/>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21" name="Rectangle 20">
            <a:extLst>
              <a:ext uri="{FF2B5EF4-FFF2-40B4-BE49-F238E27FC236}">
                <a16:creationId xmlns:a16="http://schemas.microsoft.com/office/drawing/2014/main" id="{B6BF4979-8B4C-43E8-B3AE-CB045BDF237A}"/>
              </a:ext>
            </a:extLst>
          </p:cNvPr>
          <p:cNvSpPr/>
          <p:nvPr/>
        </p:nvSpPr>
        <p:spPr>
          <a:xfrm>
            <a:off x="2609287" y="2527387"/>
            <a:ext cx="1989914" cy="3693319"/>
          </a:xfrm>
          <a:prstGeom prst="rect">
            <a:avLst/>
          </a:prstGeom>
        </p:spPr>
        <p:txBody>
          <a:bodyPr wrap="square">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Saudi Payments was established by the Saudi Central Bank (SAMA) to be the national Payment Infrastructure provider for the Kingdom of Saudi Arabia (KSA), with the mandate to operate and manage all payment systems in KSA (i.e. mada, SARIE, IPS, SADAD and Esal).</a:t>
            </a:r>
          </a:p>
          <a:p>
            <a:pPr marL="0" marR="0" lvl="0" indent="0" algn="just"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Deloitte was appointed by SAMA to establish, manage and operate the Governance, Risk and Compliance function of Saudi Payments for </a:t>
            </a:r>
            <a:r>
              <a:rPr kumimoji="0" lang="en-US" sz="900" b="1"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2 years</a:t>
            </a:r>
            <a:r>
              <a:rPr kumimoji="0" lang="en-US" sz="9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 This included management and maintenance of Business Continuity Management, Enterprise Risk Management, Information Security Governance, Fraud Risk Management and Compliance Management.</a:t>
            </a:r>
          </a:p>
          <a:p>
            <a:pPr marL="0" marR="0" lvl="0" indent="0" algn="just" defTabSz="1219170" rtl="0" eaLnBrk="1" fontAlgn="auto" latinLnBrk="0" hangingPunct="1">
              <a:lnSpc>
                <a:spcPct val="100000"/>
              </a:lnSpc>
              <a:spcBef>
                <a:spcPts val="0"/>
              </a:spcBef>
              <a:spcAft>
                <a:spcPts val="0"/>
              </a:spcAft>
              <a:buClrTx/>
              <a:buSzTx/>
              <a:buFontTx/>
              <a:buNone/>
              <a:tabLst/>
              <a:defRPr/>
            </a:pPr>
            <a:endParaRPr lang="en-US" sz="900" dirty="0">
              <a:solidFill>
                <a:prstClr val="black"/>
              </a:solidFill>
              <a:latin typeface="Calibri"/>
              <a:cs typeface="Calibri" panose="020F0502020204030204" pitchFamily="34" charset="0"/>
            </a:endParaRPr>
          </a:p>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As part of the BCM Department, Deloitte successfully achieved Maturity Level 4 against SAMA BCM Framework and was able to maintain ISO 22301 certification through 2 successful surveillance audits.</a:t>
            </a:r>
          </a:p>
        </p:txBody>
      </p:sp>
      <p:pic>
        <p:nvPicPr>
          <p:cNvPr id="22" name="Picture 6" descr="C:\Users\Khaled\Desktop\Saudi Payments\Stationary\PPT Template\JPG\PPT-09.png">
            <a:extLst>
              <a:ext uri="{FF2B5EF4-FFF2-40B4-BE49-F238E27FC236}">
                <a16:creationId xmlns:a16="http://schemas.microsoft.com/office/drawing/2014/main" id="{D1516AF6-19FA-4D61-A6E7-6BC2AC14E56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4396" y="1476911"/>
            <a:ext cx="974346" cy="65215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p2">
            <a:extLst>
              <a:ext uri="{FF2B5EF4-FFF2-40B4-BE49-F238E27FC236}">
                <a16:creationId xmlns:a16="http://schemas.microsoft.com/office/drawing/2014/main" id="{5E8EA75A-4597-49BB-B023-5C4113164F9E}"/>
              </a:ext>
            </a:extLst>
          </p:cNvPr>
          <p:cNvPicPr/>
          <p:nvPr/>
        </p:nvPicPr>
        <p:blipFill rotWithShape="1">
          <a:blip r:embed="rId3" cstate="print">
            <a:extLst>
              <a:ext uri="{28A0092B-C50C-407E-A947-70E740481C1C}">
                <a14:useLocalDpi xmlns:a14="http://schemas.microsoft.com/office/drawing/2010/main" val="0"/>
              </a:ext>
            </a:extLst>
          </a:blip>
          <a:srcRect r="59164"/>
          <a:stretch/>
        </p:blipFill>
        <p:spPr bwMode="auto">
          <a:xfrm>
            <a:off x="574805" y="1513554"/>
            <a:ext cx="1793889" cy="574801"/>
          </a:xfrm>
          <a:prstGeom prst="rect">
            <a:avLst/>
          </a:prstGeom>
          <a:noFill/>
          <a:ln>
            <a:noFill/>
          </a:ln>
        </p:spPr>
      </p:pic>
      <p:sp>
        <p:nvSpPr>
          <p:cNvPr id="25" name="Rectangle 24">
            <a:extLst>
              <a:ext uri="{FF2B5EF4-FFF2-40B4-BE49-F238E27FC236}">
                <a16:creationId xmlns:a16="http://schemas.microsoft.com/office/drawing/2014/main" id="{B39B2CD6-7CAA-4152-A0B2-4931EDF41DC4}"/>
              </a:ext>
            </a:extLst>
          </p:cNvPr>
          <p:cNvSpPr/>
          <p:nvPr/>
        </p:nvSpPr>
        <p:spPr>
          <a:xfrm>
            <a:off x="6867641" y="2542117"/>
            <a:ext cx="2011118" cy="3416320"/>
          </a:xfrm>
          <a:prstGeom prst="rect">
            <a:avLst/>
          </a:prstGeom>
        </p:spPr>
        <p:txBody>
          <a:bodyPr wrap="square">
            <a:spAutoFit/>
          </a:bodyPr>
          <a:lstStyle/>
          <a:p>
            <a:pPr algn="just">
              <a:defRPr/>
            </a:pPr>
            <a:r>
              <a:rPr lang="en-US" sz="900" dirty="0">
                <a:latin typeface="Calibri" panose="020F0502020204030204" pitchFamily="34" charset="0"/>
                <a:cs typeface="Calibri" panose="020F0502020204030204" pitchFamily="34" charset="0"/>
              </a:rPr>
              <a:t>Deloitte &amp; Touche Advisory Saudi Limited led the update and enhancements efforts for a comprehensive Business Continuity Management program for ARB for a period of 9 Months. The project comprised of establishing BCM Governance Policies and Procedures as well as conducting organization-wide Business Impact Analysis, Threat Risk Assessment outlining the recovery time and recovery point objectives for ARB’s critical services and processes. Moreover, a number of exercises have been conducted to evaluate ARB’s crisis preparedness.</a:t>
            </a:r>
          </a:p>
          <a:p>
            <a:pPr algn="just">
              <a:defRPr/>
            </a:pPr>
            <a:endParaRPr lang="en-US" sz="900" dirty="0">
              <a:latin typeface="Calibri" panose="020F0502020204030204" pitchFamily="34" charset="0"/>
              <a:cs typeface="Calibri" panose="020F0502020204030204" pitchFamily="34" charset="0"/>
            </a:endParaRPr>
          </a:p>
          <a:p>
            <a:pPr algn="just">
              <a:defRPr/>
            </a:pPr>
            <a:r>
              <a:rPr lang="en-US" sz="900" dirty="0">
                <a:latin typeface="Calibri" panose="020F0502020204030204" pitchFamily="34" charset="0"/>
                <a:cs typeface="Calibri" panose="020F0502020204030204" pitchFamily="34" charset="0"/>
              </a:rPr>
              <a:t>Furthermore, Deloitte conducted an organizational resilience maturity assessment for ARB and developed a road map entailing the initiatives to be undertaken by the various ARB stakeholders to optimize their resilience capabilities.</a:t>
            </a:r>
          </a:p>
        </p:txBody>
      </p:sp>
      <p:sp>
        <p:nvSpPr>
          <p:cNvPr id="26" name="Rectangle 25">
            <a:extLst>
              <a:ext uri="{FF2B5EF4-FFF2-40B4-BE49-F238E27FC236}">
                <a16:creationId xmlns:a16="http://schemas.microsoft.com/office/drawing/2014/main" id="{35486FDC-3BC4-4121-B81E-116015A3D9BF}"/>
              </a:ext>
            </a:extLst>
          </p:cNvPr>
          <p:cNvSpPr/>
          <p:nvPr/>
        </p:nvSpPr>
        <p:spPr>
          <a:xfrm>
            <a:off x="9002197" y="1146638"/>
            <a:ext cx="1997076" cy="5273106"/>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endParaRPr lang="en-GB" sz="796" dirty="0">
              <a:solidFill>
                <a:prstClr val="white"/>
              </a:solidFill>
              <a:latin typeface="Calibri" panose="020F0502020204030204" pitchFamily="34" charset="0"/>
              <a:ea typeface="Open Sans Light" panose="020B030603050402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4EF18C66-F89F-48F3-B118-6885B7F66618}"/>
              </a:ext>
            </a:extLst>
          </p:cNvPr>
          <p:cNvSpPr/>
          <p:nvPr/>
        </p:nvSpPr>
        <p:spPr>
          <a:xfrm>
            <a:off x="9002197" y="1146639"/>
            <a:ext cx="1995654" cy="265882"/>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GB" sz="800" b="1" dirty="0">
                <a:solidFill>
                  <a:prstClr val="white"/>
                </a:solidFill>
                <a:latin typeface="Calibri" panose="020F0502020204030204" pitchFamily="34" charset="0"/>
                <a:ea typeface="Open Sans Light" panose="020B0306030504020204" pitchFamily="34" charset="0"/>
                <a:cs typeface="Calibri" panose="020F0502020204030204" pitchFamily="34" charset="0"/>
              </a:rPr>
              <a:t>Tadawul</a:t>
            </a:r>
          </a:p>
        </p:txBody>
      </p:sp>
      <p:sp>
        <p:nvSpPr>
          <p:cNvPr id="28" name="Rectangle 27">
            <a:extLst>
              <a:ext uri="{FF2B5EF4-FFF2-40B4-BE49-F238E27FC236}">
                <a16:creationId xmlns:a16="http://schemas.microsoft.com/office/drawing/2014/main" id="{9F090627-519D-4CAE-9FA3-AF0FF16FFE92}"/>
              </a:ext>
            </a:extLst>
          </p:cNvPr>
          <p:cNvSpPr/>
          <p:nvPr/>
        </p:nvSpPr>
        <p:spPr>
          <a:xfrm>
            <a:off x="9002197" y="2181581"/>
            <a:ext cx="1995654" cy="337995"/>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695" tIns="36352" rIns="72695" bIns="36352" rtlCol="0" anchor="ctr"/>
          <a:lstStyle/>
          <a:p>
            <a:pPr algn="ctr"/>
            <a:r>
              <a:rPr lang="en-US" sz="800" b="1" dirty="0">
                <a:solidFill>
                  <a:srgbClr val="FFFFFF"/>
                </a:solidFill>
                <a:latin typeface="Calibri" panose="020F0502020204030204" pitchFamily="34" charset="0"/>
                <a:ea typeface="Open Sans Light" panose="020B0306030504020204" pitchFamily="34" charset="0"/>
                <a:cs typeface="Calibri" panose="020F0502020204030204" pitchFamily="34" charset="0"/>
              </a:rPr>
              <a:t>Project  Details</a:t>
            </a:r>
          </a:p>
        </p:txBody>
      </p:sp>
      <p:sp>
        <p:nvSpPr>
          <p:cNvPr id="31" name="Triangle 28">
            <a:extLst>
              <a:ext uri="{FF2B5EF4-FFF2-40B4-BE49-F238E27FC236}">
                <a16:creationId xmlns:a16="http://schemas.microsoft.com/office/drawing/2014/main" id="{6A5A58E5-E087-46A6-916B-7781463C1FB4}"/>
              </a:ext>
            </a:extLst>
          </p:cNvPr>
          <p:cNvSpPr/>
          <p:nvPr/>
        </p:nvSpPr>
        <p:spPr>
          <a:xfrm rot="16200000">
            <a:off x="11060702" y="2333835"/>
            <a:ext cx="267460" cy="230569"/>
          </a:xfrm>
          <a:prstGeom prst="triangl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32" name="Rectangle 31">
            <a:extLst>
              <a:ext uri="{FF2B5EF4-FFF2-40B4-BE49-F238E27FC236}">
                <a16:creationId xmlns:a16="http://schemas.microsoft.com/office/drawing/2014/main" id="{3002330A-4AB9-43DE-8840-A071295F6B11}"/>
              </a:ext>
            </a:extLst>
          </p:cNvPr>
          <p:cNvSpPr/>
          <p:nvPr/>
        </p:nvSpPr>
        <p:spPr bwMode="gray">
          <a:xfrm>
            <a:off x="1" y="0"/>
            <a:ext cx="165462" cy="6858000"/>
          </a:xfrm>
          <a:prstGeom prst="rect">
            <a:avLst/>
          </a:prstGeom>
          <a:solidFill>
            <a:srgbClr val="00A3E0"/>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800" b="1" dirty="0">
              <a:solidFill>
                <a:schemeClr val="bg1"/>
              </a:solidFill>
              <a:latin typeface="+mj-lt"/>
              <a:cs typeface="Sakkal Majalla" panose="02000000000000000000" pitchFamily="2" charset="-78"/>
            </a:endParaRPr>
          </a:p>
        </p:txBody>
      </p:sp>
      <p:pic>
        <p:nvPicPr>
          <p:cNvPr id="17" name="Picture 16" descr="C:\Users\haammar\Desktop\Maaden Logo - Good.png">
            <a:extLst>
              <a:ext uri="{FF2B5EF4-FFF2-40B4-BE49-F238E27FC236}">
                <a16:creationId xmlns:a16="http://schemas.microsoft.com/office/drawing/2014/main" id="{59598787-02F2-F435-FAC7-259F684288F1}"/>
              </a:ext>
            </a:extLst>
          </p:cNvPr>
          <p:cNvPicPr/>
          <p:nvPr/>
        </p:nvPicPr>
        <p:blipFill>
          <a:blip r:embed="rId4" cstate="print"/>
          <a:srcRect/>
          <a:stretch>
            <a:fillRect/>
          </a:stretch>
        </p:blipFill>
        <p:spPr bwMode="auto">
          <a:xfrm>
            <a:off x="5052064" y="1500131"/>
            <a:ext cx="1387146" cy="645602"/>
          </a:xfrm>
          <a:prstGeom prst="rect">
            <a:avLst/>
          </a:prstGeom>
          <a:noFill/>
          <a:ln w="9525">
            <a:noFill/>
            <a:miter lim="800000"/>
            <a:headEnd/>
            <a:tailEnd/>
          </a:ln>
        </p:spPr>
      </p:pic>
      <p:pic>
        <p:nvPicPr>
          <p:cNvPr id="2" name="Picture 1">
            <a:extLst>
              <a:ext uri="{FF2B5EF4-FFF2-40B4-BE49-F238E27FC236}">
                <a16:creationId xmlns:a16="http://schemas.microsoft.com/office/drawing/2014/main" id="{7C672F1C-02A3-8A53-6617-5867EDB6F675}"/>
              </a:ext>
            </a:extLst>
          </p:cNvPr>
          <p:cNvPicPr>
            <a:picLocks noChangeAspect="1"/>
          </p:cNvPicPr>
          <p:nvPr/>
        </p:nvPicPr>
        <p:blipFill>
          <a:blip r:embed="rId5"/>
          <a:stretch>
            <a:fillRect/>
          </a:stretch>
        </p:blipFill>
        <p:spPr>
          <a:xfrm>
            <a:off x="7192937" y="1562182"/>
            <a:ext cx="1348998" cy="445326"/>
          </a:xfrm>
          <a:prstGeom prst="rect">
            <a:avLst/>
          </a:prstGeom>
        </p:spPr>
      </p:pic>
      <p:sp>
        <p:nvSpPr>
          <p:cNvPr id="35" name="Text Placeholder 6">
            <a:extLst>
              <a:ext uri="{FF2B5EF4-FFF2-40B4-BE49-F238E27FC236}">
                <a16:creationId xmlns:a16="http://schemas.microsoft.com/office/drawing/2014/main" id="{096DB2D7-0AD7-72AC-1BD3-1D7B0807BA03}"/>
              </a:ext>
            </a:extLst>
          </p:cNvPr>
          <p:cNvSpPr>
            <a:spLocks noGrp="1"/>
          </p:cNvSpPr>
          <p:nvPr>
            <p:ph type="body" sz="quarter" idx="13"/>
          </p:nvPr>
        </p:nvSpPr>
        <p:spPr>
          <a:xfrm>
            <a:off x="522373" y="761804"/>
            <a:ext cx="11147258" cy="750193"/>
          </a:xfrm>
        </p:spPr>
        <p:txBody>
          <a:bodyPr/>
          <a:lstStyle/>
          <a:p>
            <a:pPr>
              <a:lnSpc>
                <a:spcPct val="120000"/>
              </a:lnSpc>
            </a:pPr>
            <a:r>
              <a:rPr lang="en-US" dirty="0">
                <a:solidFill>
                  <a:srgbClr val="00A3E0"/>
                </a:solidFill>
                <a:cs typeface="Calibri" panose="020F0502020204030204" pitchFamily="34" charset="0"/>
              </a:rPr>
              <a:t>Selected BCM Credentials</a:t>
            </a:r>
          </a:p>
        </p:txBody>
      </p:sp>
      <p:sp>
        <p:nvSpPr>
          <p:cNvPr id="36" name="Title 1">
            <a:extLst>
              <a:ext uri="{FF2B5EF4-FFF2-40B4-BE49-F238E27FC236}">
                <a16:creationId xmlns:a16="http://schemas.microsoft.com/office/drawing/2014/main" id="{7E7A04F5-586E-3D6C-E85A-13A886BAB8ED}"/>
              </a:ext>
            </a:extLst>
          </p:cNvPr>
          <p:cNvSpPr>
            <a:spLocks noGrp="1"/>
          </p:cNvSpPr>
          <p:nvPr>
            <p:ph type="title"/>
          </p:nvPr>
        </p:nvSpPr>
        <p:spPr>
          <a:xfrm>
            <a:off x="522373" y="430820"/>
            <a:ext cx="11147258" cy="330986"/>
          </a:xfrm>
        </p:spPr>
        <p:txBody>
          <a:bodyPr/>
          <a:lstStyle/>
          <a:p>
            <a:r>
              <a:rPr lang="en-US" sz="2382" dirty="0">
                <a:solidFill>
                  <a:prstClr val="black"/>
                </a:solidFill>
                <a:cs typeface="Calibri" panose="020F0502020204030204" pitchFamily="34" charset="0"/>
              </a:rPr>
              <a:t>Our Capabilities</a:t>
            </a:r>
          </a:p>
        </p:txBody>
      </p:sp>
      <p:sp>
        <p:nvSpPr>
          <p:cNvPr id="3" name="Rectangle 2">
            <a:extLst>
              <a:ext uri="{FF2B5EF4-FFF2-40B4-BE49-F238E27FC236}">
                <a16:creationId xmlns:a16="http://schemas.microsoft.com/office/drawing/2014/main" id="{515B8183-8352-4EDD-41CF-CE7DA8F65E1E}"/>
              </a:ext>
            </a:extLst>
          </p:cNvPr>
          <p:cNvSpPr/>
          <p:nvPr/>
        </p:nvSpPr>
        <p:spPr>
          <a:xfrm>
            <a:off x="9007738" y="2536372"/>
            <a:ext cx="2003163" cy="2453166"/>
          </a:xfrm>
          <a:prstGeom prst="rect">
            <a:avLst/>
          </a:prstGeom>
        </p:spPr>
        <p:txBody>
          <a:bodyPr wrap="square">
            <a:spAutoFit/>
          </a:bodyPr>
          <a:lstStyle/>
          <a:p>
            <a:pPr algn="just">
              <a:defRPr/>
            </a:pPr>
            <a:r>
              <a:rPr lang="en-US" sz="900" dirty="0">
                <a:latin typeface="Calibri" panose="020F0502020204030204" pitchFamily="34" charset="0"/>
                <a:cs typeface="Calibri" panose="020F0502020204030204" pitchFamily="34" charset="0"/>
              </a:rPr>
              <a:t>Tadawul has Business Continuity (BC) arrangements in place and was striving to ensure its BC program is enhanced and up to date. </a:t>
            </a:r>
          </a:p>
          <a:p>
            <a:pPr algn="just">
              <a:defRPr/>
            </a:pPr>
            <a:endParaRPr lang="en-US" sz="900" dirty="0">
              <a:latin typeface="Calibri" panose="020F0502020204030204" pitchFamily="34" charset="0"/>
              <a:cs typeface="Calibri" panose="020F0502020204030204" pitchFamily="34" charset="0"/>
            </a:endParaRPr>
          </a:p>
          <a:p>
            <a:pPr algn="just">
              <a:defRPr/>
            </a:pPr>
            <a:r>
              <a:rPr lang="en-US" sz="900" dirty="0">
                <a:latin typeface="Calibri" panose="020F0502020204030204" pitchFamily="34" charset="0"/>
                <a:cs typeface="Calibri" panose="020F0502020204030204" pitchFamily="34" charset="0"/>
              </a:rPr>
              <a:t>To achieve this, Tadawul sought the services of Deloitte to provide expert advice and assistance to enable the Risk Management Division (RMD) undertake an update cycle of Tadawul’s BC program with the aim of raising the quality and maturity to the program further (including initiation of expanding the scope of the program to the Subsidiary), and also focusing on building exercising and testing capability.</a:t>
            </a:r>
          </a:p>
        </p:txBody>
      </p:sp>
      <p:pic>
        <p:nvPicPr>
          <p:cNvPr id="4" name="Picture 3">
            <a:extLst>
              <a:ext uri="{FF2B5EF4-FFF2-40B4-BE49-F238E27FC236}">
                <a16:creationId xmlns:a16="http://schemas.microsoft.com/office/drawing/2014/main" id="{EDA93DBD-6626-4BA5-4CE2-9A2AA7FB38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48709" y="1461748"/>
            <a:ext cx="1231033" cy="662795"/>
          </a:xfrm>
          <a:prstGeom prst="rect">
            <a:avLst/>
          </a:prstGeom>
        </p:spPr>
      </p:pic>
    </p:spTree>
    <p:extLst>
      <p:ext uri="{BB962C8B-B14F-4D97-AF65-F5344CB8AC3E}">
        <p14:creationId xmlns:p14="http://schemas.microsoft.com/office/powerpoint/2010/main" val="222534660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riangle 28">
            <a:extLst>
              <a:ext uri="{FF2B5EF4-FFF2-40B4-BE49-F238E27FC236}">
                <a16:creationId xmlns:a16="http://schemas.microsoft.com/office/drawing/2014/main" id="{6A5A58E5-E087-46A6-916B-7781463C1FB4}"/>
              </a:ext>
            </a:extLst>
          </p:cNvPr>
          <p:cNvSpPr/>
          <p:nvPr/>
        </p:nvSpPr>
        <p:spPr>
          <a:xfrm rot="16200000">
            <a:off x="11060702" y="2333835"/>
            <a:ext cx="267460" cy="230569"/>
          </a:xfrm>
          <a:prstGeom prst="triangl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32" name="Rectangle 31">
            <a:extLst>
              <a:ext uri="{FF2B5EF4-FFF2-40B4-BE49-F238E27FC236}">
                <a16:creationId xmlns:a16="http://schemas.microsoft.com/office/drawing/2014/main" id="{3002330A-4AB9-43DE-8840-A071295F6B11}"/>
              </a:ext>
            </a:extLst>
          </p:cNvPr>
          <p:cNvSpPr/>
          <p:nvPr/>
        </p:nvSpPr>
        <p:spPr bwMode="gray">
          <a:xfrm>
            <a:off x="1" y="0"/>
            <a:ext cx="165462" cy="6858000"/>
          </a:xfrm>
          <a:prstGeom prst="rect">
            <a:avLst/>
          </a:prstGeom>
          <a:solidFill>
            <a:srgbClr val="00A3E0"/>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800" b="1" dirty="0">
              <a:solidFill>
                <a:schemeClr val="bg1"/>
              </a:solidFill>
              <a:latin typeface="+mj-lt"/>
              <a:cs typeface="Sakkal Majalla" panose="02000000000000000000" pitchFamily="2" charset="-78"/>
            </a:endParaRPr>
          </a:p>
        </p:txBody>
      </p:sp>
      <p:grpSp>
        <p:nvGrpSpPr>
          <p:cNvPr id="24" name="Group 23">
            <a:extLst>
              <a:ext uri="{FF2B5EF4-FFF2-40B4-BE49-F238E27FC236}">
                <a16:creationId xmlns:a16="http://schemas.microsoft.com/office/drawing/2014/main" id="{A2B81E8A-EC0D-D728-736B-A2D26D850E59}"/>
              </a:ext>
            </a:extLst>
          </p:cNvPr>
          <p:cNvGrpSpPr/>
          <p:nvPr/>
        </p:nvGrpSpPr>
        <p:grpSpPr>
          <a:xfrm>
            <a:off x="476786" y="1493961"/>
            <a:ext cx="10450138" cy="3066737"/>
            <a:chOff x="498818" y="1577145"/>
            <a:chExt cx="10450138" cy="3066737"/>
          </a:xfrm>
        </p:grpSpPr>
        <p:grpSp>
          <p:nvGrpSpPr>
            <p:cNvPr id="30" name="Group 29">
              <a:extLst>
                <a:ext uri="{FF2B5EF4-FFF2-40B4-BE49-F238E27FC236}">
                  <a16:creationId xmlns:a16="http://schemas.microsoft.com/office/drawing/2014/main" id="{7E1E8516-2254-2201-8EFC-74D3B773AF58}"/>
                </a:ext>
              </a:extLst>
            </p:cNvPr>
            <p:cNvGrpSpPr/>
            <p:nvPr/>
          </p:nvGrpSpPr>
          <p:grpSpPr>
            <a:xfrm>
              <a:off x="498818" y="1577145"/>
              <a:ext cx="1699681" cy="2876038"/>
              <a:chOff x="498819" y="1577147"/>
              <a:chExt cx="1371600" cy="2320891"/>
            </a:xfrm>
          </p:grpSpPr>
          <p:sp>
            <p:nvSpPr>
              <p:cNvPr id="46" name="TextBox 17">
                <a:extLst>
                  <a:ext uri="{FF2B5EF4-FFF2-40B4-BE49-F238E27FC236}">
                    <a16:creationId xmlns:a16="http://schemas.microsoft.com/office/drawing/2014/main" id="{E59FF59E-35AE-98C8-567F-10A828F462BB}"/>
                  </a:ext>
                </a:extLst>
              </p:cNvPr>
              <p:cNvSpPr txBox="1"/>
              <p:nvPr/>
            </p:nvSpPr>
            <p:spPr>
              <a:xfrm>
                <a:off x="498819" y="3497928"/>
                <a:ext cx="1371600" cy="400110"/>
              </a:xfrm>
              <a:prstGeom prst="rect">
                <a:avLst/>
              </a:prstGeom>
              <a:noFill/>
            </p:spPr>
            <p:txBody>
              <a:bodyPr wrap="square" lIns="0" rIns="0" rtlCol="0" anchor="ctr">
                <a:spAutoFit/>
              </a:bodyPr>
              <a:lstStyle>
                <a:defPPr>
                  <a:defRPr lang="en-US"/>
                </a:defPPr>
                <a:lvl1pPr marR="0" lvl="0" indent="0" algn="ctr" defTabSz="93583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Light" panose="020F0302020204030204" pitchFamily="34" charset="0"/>
                    <a:cs typeface="Calibri Light" panose="020F0302020204030204" pitchFamily="34" charset="0"/>
                  </a:defRPr>
                </a:lvl1pPr>
                <a:lvl2pPr marL="467915" defTabSz="935830">
                  <a:defRPr sz="1900"/>
                </a:lvl2pPr>
                <a:lvl3pPr marL="935830" defTabSz="935830">
                  <a:defRPr sz="1900"/>
                </a:lvl3pPr>
                <a:lvl4pPr marL="1403745" defTabSz="935830">
                  <a:defRPr sz="1900"/>
                </a:lvl4pPr>
                <a:lvl5pPr marL="1871660" defTabSz="935830">
                  <a:defRPr sz="1900"/>
                </a:lvl5pPr>
                <a:lvl6pPr marL="2339575" defTabSz="935830">
                  <a:defRPr sz="1900"/>
                </a:lvl6pPr>
                <a:lvl7pPr marL="2807490" defTabSz="935830">
                  <a:defRPr sz="1900"/>
                </a:lvl7pPr>
                <a:lvl8pPr marL="3275404" defTabSz="935830">
                  <a:defRPr sz="1900"/>
                </a:lvl8pPr>
                <a:lvl9pPr marL="3743319" defTabSz="935830">
                  <a:defRPr sz="1900"/>
                </a:lvl9pPr>
              </a:lstStyle>
              <a:p>
                <a:pPr marL="0" marR="0" lvl="0" indent="0" algn="ctr" defTabSz="93583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Calibri "/>
                  </a:rPr>
                  <a:t>Deloitte’s Global Resilience Report</a:t>
                </a:r>
              </a:p>
            </p:txBody>
          </p:sp>
          <p:pic>
            <p:nvPicPr>
              <p:cNvPr id="47" name="Picture 46">
                <a:extLst>
                  <a:ext uri="{FF2B5EF4-FFF2-40B4-BE49-F238E27FC236}">
                    <a16:creationId xmlns:a16="http://schemas.microsoft.com/office/drawing/2014/main" id="{1C43BB36-8100-2C68-E4D7-A730888F9C4E}"/>
                  </a:ext>
                </a:extLst>
              </p:cNvPr>
              <p:cNvPicPr>
                <a:picLocks/>
              </p:cNvPicPr>
              <p:nvPr/>
            </p:nvPicPr>
            <p:blipFill>
              <a:blip r:embed="rId2" cstate="email">
                <a:extLst>
                  <a:ext uri="{28A0092B-C50C-407E-A947-70E740481C1C}">
                    <a14:useLocalDpi xmlns:a14="http://schemas.microsoft.com/office/drawing/2010/main"/>
                  </a:ext>
                </a:extLst>
              </a:blip>
              <a:stretch>
                <a:fillRect/>
              </a:stretch>
            </p:blipFill>
            <p:spPr>
              <a:xfrm>
                <a:off x="498819" y="1577147"/>
                <a:ext cx="1371600" cy="1828800"/>
              </a:xfrm>
              <a:prstGeom prst="rect">
                <a:avLst/>
              </a:prstGeom>
              <a:ln w="19050">
                <a:solidFill>
                  <a:schemeClr val="accent2"/>
                </a:solidFill>
              </a:ln>
            </p:spPr>
          </p:pic>
        </p:grpSp>
        <p:grpSp>
          <p:nvGrpSpPr>
            <p:cNvPr id="33" name="Group 32">
              <a:extLst>
                <a:ext uri="{FF2B5EF4-FFF2-40B4-BE49-F238E27FC236}">
                  <a16:creationId xmlns:a16="http://schemas.microsoft.com/office/drawing/2014/main" id="{17EDBFD2-E200-EEB5-EC83-E79CE96C2B64}"/>
                </a:ext>
              </a:extLst>
            </p:cNvPr>
            <p:cNvGrpSpPr/>
            <p:nvPr/>
          </p:nvGrpSpPr>
          <p:grpSpPr>
            <a:xfrm>
              <a:off x="2686432" y="1577145"/>
              <a:ext cx="1699681" cy="2876038"/>
              <a:chOff x="2921822" y="1577147"/>
              <a:chExt cx="1371600" cy="2320891"/>
            </a:xfrm>
          </p:grpSpPr>
          <p:pic>
            <p:nvPicPr>
              <p:cNvPr id="44" name="Picture 43">
                <a:extLst>
                  <a:ext uri="{FF2B5EF4-FFF2-40B4-BE49-F238E27FC236}">
                    <a16:creationId xmlns:a16="http://schemas.microsoft.com/office/drawing/2014/main" id="{07033B93-2D0E-99CB-457B-3F6B37306FA8}"/>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2921822" y="1577147"/>
                <a:ext cx="1371600" cy="1828800"/>
              </a:xfrm>
              <a:prstGeom prst="rect">
                <a:avLst/>
              </a:prstGeom>
              <a:ln w="19050">
                <a:solidFill>
                  <a:schemeClr val="accent2"/>
                </a:solidFill>
              </a:ln>
            </p:spPr>
          </p:pic>
          <p:sp>
            <p:nvSpPr>
              <p:cNvPr id="45" name="TextBox 17">
                <a:extLst>
                  <a:ext uri="{FF2B5EF4-FFF2-40B4-BE49-F238E27FC236}">
                    <a16:creationId xmlns:a16="http://schemas.microsoft.com/office/drawing/2014/main" id="{EA0C4521-4D58-9DDC-2271-56B163BF27CB}"/>
                  </a:ext>
                </a:extLst>
              </p:cNvPr>
              <p:cNvSpPr txBox="1"/>
              <p:nvPr/>
            </p:nvSpPr>
            <p:spPr>
              <a:xfrm>
                <a:off x="2921822" y="3497928"/>
                <a:ext cx="1371600" cy="400110"/>
              </a:xfrm>
              <a:prstGeom prst="rect">
                <a:avLst/>
              </a:prstGeom>
              <a:noFill/>
            </p:spPr>
            <p:txBody>
              <a:bodyPr wrap="square" lIns="0" rIns="0" rtlCol="0" anchor="ctr">
                <a:spAutoFit/>
              </a:bodyPr>
              <a:lstStyle>
                <a:defPPr>
                  <a:defRPr lang="en-US"/>
                </a:defPPr>
                <a:lvl1pPr marR="0" lvl="0" indent="0" algn="ctr" defTabSz="93583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Light" panose="020F0302020204030204" pitchFamily="34" charset="0"/>
                    <a:cs typeface="Calibri Light" panose="020F0302020204030204" pitchFamily="34" charset="0"/>
                  </a:defRPr>
                </a:lvl1pPr>
                <a:lvl2pPr marL="467915" defTabSz="935830">
                  <a:defRPr sz="1900"/>
                </a:lvl2pPr>
                <a:lvl3pPr marL="935830" defTabSz="935830">
                  <a:defRPr sz="1900"/>
                </a:lvl3pPr>
                <a:lvl4pPr marL="1403745" defTabSz="935830">
                  <a:defRPr sz="1900"/>
                </a:lvl4pPr>
                <a:lvl5pPr marL="1871660" defTabSz="935830">
                  <a:defRPr sz="1900"/>
                </a:lvl5pPr>
                <a:lvl6pPr marL="2339575" defTabSz="935830">
                  <a:defRPr sz="1900"/>
                </a:lvl6pPr>
                <a:lvl7pPr marL="2807490" defTabSz="935830">
                  <a:defRPr sz="1900"/>
                </a:lvl7pPr>
                <a:lvl8pPr marL="3275404" defTabSz="935830">
                  <a:defRPr sz="1900"/>
                </a:lvl8pPr>
                <a:lvl9pPr marL="3743319" defTabSz="935830">
                  <a:defRPr sz="1900"/>
                </a:lvl9pPr>
              </a:lstStyle>
              <a:p>
                <a:pPr marL="0" marR="0" lvl="0" indent="0" algn="ctr" defTabSz="93583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Calibri "/>
                  </a:rPr>
                  <a:t>Building Operational Resilience and Agility</a:t>
                </a:r>
              </a:p>
            </p:txBody>
          </p:sp>
        </p:grpSp>
        <p:grpSp>
          <p:nvGrpSpPr>
            <p:cNvPr id="35" name="Group 34">
              <a:extLst>
                <a:ext uri="{FF2B5EF4-FFF2-40B4-BE49-F238E27FC236}">
                  <a16:creationId xmlns:a16="http://schemas.microsoft.com/office/drawing/2014/main" id="{41CFE4C8-0901-1DB4-37B0-B91D0D115214}"/>
                </a:ext>
              </a:extLst>
            </p:cNvPr>
            <p:cNvGrpSpPr/>
            <p:nvPr/>
          </p:nvGrpSpPr>
          <p:grpSpPr>
            <a:xfrm>
              <a:off x="9249275" y="1577145"/>
              <a:ext cx="1699681" cy="2971387"/>
              <a:chOff x="9577356" y="1577147"/>
              <a:chExt cx="1371600" cy="2397835"/>
            </a:xfrm>
          </p:grpSpPr>
          <p:pic>
            <p:nvPicPr>
              <p:cNvPr id="42" name="Picture 41">
                <a:extLst>
                  <a:ext uri="{FF2B5EF4-FFF2-40B4-BE49-F238E27FC236}">
                    <a16:creationId xmlns:a16="http://schemas.microsoft.com/office/drawing/2014/main" id="{97D41261-31EA-FFDF-7540-002D7472492C}"/>
                  </a:ext>
                </a:extLst>
              </p:cNvPr>
              <p:cNvPicPr>
                <a:picLocks/>
              </p:cNvPicPr>
              <p:nvPr/>
            </p:nvPicPr>
            <p:blipFill>
              <a:blip r:embed="rId4" cstate="email">
                <a:extLst>
                  <a:ext uri="{28A0092B-C50C-407E-A947-70E740481C1C}">
                    <a14:useLocalDpi xmlns:a14="http://schemas.microsoft.com/office/drawing/2010/main"/>
                  </a:ext>
                </a:extLst>
              </a:blip>
              <a:stretch>
                <a:fillRect/>
              </a:stretch>
            </p:blipFill>
            <p:spPr>
              <a:xfrm>
                <a:off x="9577356" y="1577147"/>
                <a:ext cx="1371600" cy="1828800"/>
              </a:xfrm>
              <a:prstGeom prst="rect">
                <a:avLst/>
              </a:prstGeom>
              <a:ln w="19050">
                <a:solidFill>
                  <a:schemeClr val="accent2"/>
                </a:solidFill>
              </a:ln>
            </p:spPr>
          </p:pic>
          <p:sp>
            <p:nvSpPr>
              <p:cNvPr id="43" name="TextBox 17">
                <a:extLst>
                  <a:ext uri="{FF2B5EF4-FFF2-40B4-BE49-F238E27FC236}">
                    <a16:creationId xmlns:a16="http://schemas.microsoft.com/office/drawing/2014/main" id="{84443991-3EBC-A416-CC17-84ADA88302BD}"/>
                  </a:ext>
                </a:extLst>
              </p:cNvPr>
              <p:cNvSpPr txBox="1"/>
              <p:nvPr/>
            </p:nvSpPr>
            <p:spPr>
              <a:xfrm>
                <a:off x="9577356" y="3420984"/>
                <a:ext cx="1371600" cy="553998"/>
              </a:xfrm>
              <a:prstGeom prst="rect">
                <a:avLst/>
              </a:prstGeom>
              <a:noFill/>
            </p:spPr>
            <p:txBody>
              <a:bodyPr wrap="square" lIns="0" rIns="0" rtlCol="0" anchor="ctr">
                <a:spAutoFit/>
              </a:bodyPr>
              <a:lstStyle>
                <a:defPPr>
                  <a:defRPr lang="en-US"/>
                </a:defPPr>
                <a:lvl1pPr marR="0" lvl="0" indent="0" algn="ctr" defTabSz="93583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Light" panose="020F0302020204030204" pitchFamily="34" charset="0"/>
                    <a:cs typeface="Calibri Light" panose="020F0302020204030204" pitchFamily="34" charset="0"/>
                  </a:defRPr>
                </a:lvl1pPr>
                <a:lvl2pPr marL="467915" defTabSz="935830">
                  <a:defRPr sz="1900"/>
                </a:lvl2pPr>
                <a:lvl3pPr marL="935830" defTabSz="935830">
                  <a:defRPr sz="1900"/>
                </a:lvl3pPr>
                <a:lvl4pPr marL="1403745" defTabSz="935830">
                  <a:defRPr sz="1900"/>
                </a:lvl4pPr>
                <a:lvl5pPr marL="1871660" defTabSz="935830">
                  <a:defRPr sz="1900"/>
                </a:lvl5pPr>
                <a:lvl6pPr marL="2339575" defTabSz="935830">
                  <a:defRPr sz="1900"/>
                </a:lvl6pPr>
                <a:lvl7pPr marL="2807490" defTabSz="935830">
                  <a:defRPr sz="1900"/>
                </a:lvl7pPr>
                <a:lvl8pPr marL="3275404" defTabSz="935830">
                  <a:defRPr sz="1900"/>
                </a:lvl8pPr>
                <a:lvl9pPr marL="3743319" defTabSz="935830">
                  <a:defRPr sz="1900"/>
                </a:lvl9pPr>
              </a:lstStyle>
              <a:p>
                <a:pPr marL="0" marR="0" lvl="0" indent="0" algn="ctr" defTabSz="93583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Calibri "/>
                  </a:rPr>
                  <a:t>Communicating the Value of Cybersecurity to Boards and Leadership</a:t>
                </a:r>
              </a:p>
            </p:txBody>
          </p:sp>
        </p:grpSp>
        <p:grpSp>
          <p:nvGrpSpPr>
            <p:cNvPr id="36" name="Group 35">
              <a:extLst>
                <a:ext uri="{FF2B5EF4-FFF2-40B4-BE49-F238E27FC236}">
                  <a16:creationId xmlns:a16="http://schemas.microsoft.com/office/drawing/2014/main" id="{A3FD248C-EFEA-D6B6-C1B8-C63FFCCB49F0}"/>
                </a:ext>
              </a:extLst>
            </p:cNvPr>
            <p:cNvGrpSpPr/>
            <p:nvPr/>
          </p:nvGrpSpPr>
          <p:grpSpPr>
            <a:xfrm>
              <a:off x="4874046" y="1577145"/>
              <a:ext cx="1699681" cy="2971387"/>
              <a:chOff x="5263740" y="1577147"/>
              <a:chExt cx="1371600" cy="2397835"/>
            </a:xfrm>
          </p:grpSpPr>
          <p:pic>
            <p:nvPicPr>
              <p:cNvPr id="40" name="Picture 39">
                <a:extLst>
                  <a:ext uri="{FF2B5EF4-FFF2-40B4-BE49-F238E27FC236}">
                    <a16:creationId xmlns:a16="http://schemas.microsoft.com/office/drawing/2014/main" id="{7285B36C-4097-310E-422D-8EBBD5600A93}"/>
                  </a:ext>
                </a:extLst>
              </p:cNvPr>
              <p:cNvPicPr>
                <a:picLocks/>
              </p:cNvPicPr>
              <p:nvPr/>
            </p:nvPicPr>
            <p:blipFill>
              <a:blip r:embed="rId5" cstate="email">
                <a:extLst>
                  <a:ext uri="{28A0092B-C50C-407E-A947-70E740481C1C}">
                    <a14:useLocalDpi xmlns:a14="http://schemas.microsoft.com/office/drawing/2010/main"/>
                  </a:ext>
                </a:extLst>
              </a:blip>
              <a:stretch>
                <a:fillRect/>
              </a:stretch>
            </p:blipFill>
            <p:spPr>
              <a:xfrm>
                <a:off x="5263740" y="1577147"/>
                <a:ext cx="1371600" cy="1828800"/>
              </a:xfrm>
              <a:prstGeom prst="rect">
                <a:avLst/>
              </a:prstGeom>
              <a:ln w="19050">
                <a:solidFill>
                  <a:schemeClr val="accent2"/>
                </a:solidFill>
              </a:ln>
            </p:spPr>
          </p:pic>
          <p:sp>
            <p:nvSpPr>
              <p:cNvPr id="41" name="TextBox 17">
                <a:extLst>
                  <a:ext uri="{FF2B5EF4-FFF2-40B4-BE49-F238E27FC236}">
                    <a16:creationId xmlns:a16="http://schemas.microsoft.com/office/drawing/2014/main" id="{22480984-466C-FC41-E510-7F55047D9193}"/>
                  </a:ext>
                </a:extLst>
              </p:cNvPr>
              <p:cNvSpPr txBox="1"/>
              <p:nvPr/>
            </p:nvSpPr>
            <p:spPr>
              <a:xfrm>
                <a:off x="5263740" y="3420984"/>
                <a:ext cx="1371600" cy="553998"/>
              </a:xfrm>
              <a:prstGeom prst="rect">
                <a:avLst/>
              </a:prstGeom>
              <a:noFill/>
            </p:spPr>
            <p:txBody>
              <a:bodyPr wrap="square" lIns="0" rIns="0" rtlCol="0" anchor="ctr">
                <a:spAutoFit/>
              </a:bodyPr>
              <a:lstStyle>
                <a:defPPr>
                  <a:defRPr lang="en-US"/>
                </a:defPPr>
                <a:lvl1pPr marR="0" lvl="0" indent="0" algn="ctr" defTabSz="93583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Light" panose="020F0302020204030204" pitchFamily="34" charset="0"/>
                    <a:cs typeface="Calibri Light" panose="020F0302020204030204" pitchFamily="34" charset="0"/>
                  </a:defRPr>
                </a:lvl1pPr>
                <a:lvl2pPr marL="467915" defTabSz="935830">
                  <a:defRPr sz="1900"/>
                </a:lvl2pPr>
                <a:lvl3pPr marL="935830" defTabSz="935830">
                  <a:defRPr sz="1900"/>
                </a:lvl3pPr>
                <a:lvl4pPr marL="1403745" defTabSz="935830">
                  <a:defRPr sz="1900"/>
                </a:lvl4pPr>
                <a:lvl5pPr marL="1871660" defTabSz="935830">
                  <a:defRPr sz="1900"/>
                </a:lvl5pPr>
                <a:lvl6pPr marL="2339575" defTabSz="935830">
                  <a:defRPr sz="1900"/>
                </a:lvl6pPr>
                <a:lvl7pPr marL="2807490" defTabSz="935830">
                  <a:defRPr sz="1900"/>
                </a:lvl7pPr>
                <a:lvl8pPr marL="3275404" defTabSz="935830">
                  <a:defRPr sz="1900"/>
                </a:lvl8pPr>
                <a:lvl9pPr marL="3743319" defTabSz="935830">
                  <a:defRPr sz="1900"/>
                </a:lvl9pPr>
              </a:lstStyle>
              <a:p>
                <a:pPr marL="0" marR="0" lvl="0" indent="0" algn="ctr" defTabSz="93583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Calibri "/>
                  </a:rPr>
                  <a:t>Building Supply Chain Resilience beyond COVID-19</a:t>
                </a:r>
              </a:p>
            </p:txBody>
          </p:sp>
        </p:grpSp>
        <p:grpSp>
          <p:nvGrpSpPr>
            <p:cNvPr id="37" name="Group 36">
              <a:extLst>
                <a:ext uri="{FF2B5EF4-FFF2-40B4-BE49-F238E27FC236}">
                  <a16:creationId xmlns:a16="http://schemas.microsoft.com/office/drawing/2014/main" id="{60D94B1F-9AC9-A839-CE25-EC1D26DF664C}"/>
                </a:ext>
              </a:extLst>
            </p:cNvPr>
            <p:cNvGrpSpPr/>
            <p:nvPr/>
          </p:nvGrpSpPr>
          <p:grpSpPr>
            <a:xfrm>
              <a:off x="7061660" y="1577145"/>
              <a:ext cx="1699681" cy="3066737"/>
              <a:chOff x="7307721" y="1577146"/>
              <a:chExt cx="1371600" cy="2474780"/>
            </a:xfrm>
          </p:grpSpPr>
          <p:sp>
            <p:nvSpPr>
              <p:cNvPr id="38" name="TextBox 17">
                <a:extLst>
                  <a:ext uri="{FF2B5EF4-FFF2-40B4-BE49-F238E27FC236}">
                    <a16:creationId xmlns:a16="http://schemas.microsoft.com/office/drawing/2014/main" id="{FF7336CD-E435-F741-A62E-6B450FCB872A}"/>
                  </a:ext>
                </a:extLst>
              </p:cNvPr>
              <p:cNvSpPr txBox="1"/>
              <p:nvPr/>
            </p:nvSpPr>
            <p:spPr>
              <a:xfrm>
                <a:off x="7307721" y="3344040"/>
                <a:ext cx="1371600" cy="707886"/>
              </a:xfrm>
              <a:prstGeom prst="rect">
                <a:avLst/>
              </a:prstGeom>
              <a:noFill/>
            </p:spPr>
            <p:txBody>
              <a:bodyPr wrap="square" lIns="0" rIns="0" rtlCol="0" anchor="ctr">
                <a:spAutoFit/>
              </a:bodyPr>
              <a:lstStyle>
                <a:defPPr>
                  <a:defRPr lang="en-US"/>
                </a:defPPr>
                <a:lvl1pPr marR="0" lvl="0" indent="0" algn="ctr" defTabSz="93583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Light" panose="020F0302020204030204" pitchFamily="34" charset="0"/>
                    <a:cs typeface="Calibri Light" panose="020F0302020204030204" pitchFamily="34" charset="0"/>
                  </a:defRPr>
                </a:lvl1pPr>
                <a:lvl2pPr marL="467915" defTabSz="935830">
                  <a:defRPr sz="1900"/>
                </a:lvl2pPr>
                <a:lvl3pPr marL="935830" defTabSz="935830">
                  <a:defRPr sz="1900"/>
                </a:lvl3pPr>
                <a:lvl4pPr marL="1403745" defTabSz="935830">
                  <a:defRPr sz="1900"/>
                </a:lvl4pPr>
                <a:lvl5pPr marL="1871660" defTabSz="935830">
                  <a:defRPr sz="1900"/>
                </a:lvl5pPr>
                <a:lvl6pPr marL="2339575" defTabSz="935830">
                  <a:defRPr sz="1900"/>
                </a:lvl6pPr>
                <a:lvl7pPr marL="2807490" defTabSz="935830">
                  <a:defRPr sz="1900"/>
                </a:lvl7pPr>
                <a:lvl8pPr marL="3275404" defTabSz="935830">
                  <a:defRPr sz="1900"/>
                </a:lvl8pPr>
                <a:lvl9pPr marL="3743319" defTabSz="935830">
                  <a:defRPr sz="1900"/>
                </a:lvl9pPr>
              </a:lstStyle>
              <a:p>
                <a:pPr marL="0" marR="0" lvl="0" indent="0" algn="ctr" defTabSz="93583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Calibri "/>
                  </a:rPr>
                  <a:t>A three-dimensional tech strategy, enabled by cloud, can drive market value</a:t>
                </a:r>
              </a:p>
            </p:txBody>
          </p:sp>
          <p:pic>
            <p:nvPicPr>
              <p:cNvPr id="39" name="Picture 38">
                <a:extLst>
                  <a:ext uri="{FF2B5EF4-FFF2-40B4-BE49-F238E27FC236}">
                    <a16:creationId xmlns:a16="http://schemas.microsoft.com/office/drawing/2014/main" id="{D264DAF5-26F9-F1C0-B1F7-198AF657F1A9}"/>
                  </a:ext>
                </a:extLst>
              </p:cNvPr>
              <p:cNvPicPr>
                <a:picLocks noChangeAspect="1"/>
              </p:cNvPicPr>
              <p:nvPr/>
            </p:nvPicPr>
            <p:blipFill>
              <a:blip r:embed="rId6"/>
              <a:stretch>
                <a:fillRect/>
              </a:stretch>
            </p:blipFill>
            <p:spPr>
              <a:xfrm>
                <a:off x="7307721" y="1577146"/>
                <a:ext cx="1371600" cy="1851853"/>
              </a:xfrm>
              <a:prstGeom prst="rect">
                <a:avLst/>
              </a:prstGeom>
            </p:spPr>
          </p:pic>
        </p:grpSp>
      </p:grpSp>
      <p:grpSp>
        <p:nvGrpSpPr>
          <p:cNvPr id="48" name="Group 47">
            <a:extLst>
              <a:ext uri="{FF2B5EF4-FFF2-40B4-BE49-F238E27FC236}">
                <a16:creationId xmlns:a16="http://schemas.microsoft.com/office/drawing/2014/main" id="{0FEC5482-71F2-4A44-98A3-2BA751F78E40}"/>
              </a:ext>
            </a:extLst>
          </p:cNvPr>
          <p:cNvGrpSpPr/>
          <p:nvPr/>
        </p:nvGrpSpPr>
        <p:grpSpPr>
          <a:xfrm>
            <a:off x="941217" y="4416316"/>
            <a:ext cx="9444018" cy="1636776"/>
            <a:chOff x="727883" y="4643882"/>
            <a:chExt cx="9444018" cy="1636776"/>
          </a:xfrm>
        </p:grpSpPr>
        <p:grpSp>
          <p:nvGrpSpPr>
            <p:cNvPr id="49" name="Group 48">
              <a:extLst>
                <a:ext uri="{FF2B5EF4-FFF2-40B4-BE49-F238E27FC236}">
                  <a16:creationId xmlns:a16="http://schemas.microsoft.com/office/drawing/2014/main" id="{1725D357-6285-7961-1BFA-9366DAF06636}"/>
                </a:ext>
              </a:extLst>
            </p:cNvPr>
            <p:cNvGrpSpPr/>
            <p:nvPr/>
          </p:nvGrpSpPr>
          <p:grpSpPr>
            <a:xfrm>
              <a:off x="727883" y="4643882"/>
              <a:ext cx="4467399" cy="1634100"/>
              <a:chOff x="727883" y="4643882"/>
              <a:chExt cx="4467399" cy="1634100"/>
            </a:xfrm>
          </p:grpSpPr>
          <p:pic>
            <p:nvPicPr>
              <p:cNvPr id="53" name="Picture 52">
                <a:extLst>
                  <a:ext uri="{FF2B5EF4-FFF2-40B4-BE49-F238E27FC236}">
                    <a16:creationId xmlns:a16="http://schemas.microsoft.com/office/drawing/2014/main" id="{49C60F51-686F-E0A5-C815-865AC7A77CC8}"/>
                  </a:ext>
                </a:extLst>
              </p:cNvPr>
              <p:cNvPicPr>
                <a:picLocks noChangeAspect="1"/>
              </p:cNvPicPr>
              <p:nvPr/>
            </p:nvPicPr>
            <p:blipFill>
              <a:blip r:embed="rId7"/>
              <a:stretch>
                <a:fillRect/>
              </a:stretch>
            </p:blipFill>
            <p:spPr>
              <a:xfrm>
                <a:off x="2284443" y="4643882"/>
                <a:ext cx="2910839" cy="1634100"/>
              </a:xfrm>
              <a:prstGeom prst="rect">
                <a:avLst/>
              </a:prstGeom>
              <a:ln w="12700">
                <a:solidFill>
                  <a:schemeClr val="accent2"/>
                </a:solidFill>
              </a:ln>
            </p:spPr>
          </p:pic>
          <p:sp>
            <p:nvSpPr>
              <p:cNvPr id="54" name="TextBox 17">
                <a:extLst>
                  <a:ext uri="{FF2B5EF4-FFF2-40B4-BE49-F238E27FC236}">
                    <a16:creationId xmlns:a16="http://schemas.microsoft.com/office/drawing/2014/main" id="{A6144C50-E0B6-34FE-EF12-DEC49F66842F}"/>
                  </a:ext>
                </a:extLst>
              </p:cNvPr>
              <p:cNvSpPr txBox="1"/>
              <p:nvPr/>
            </p:nvSpPr>
            <p:spPr>
              <a:xfrm>
                <a:off x="727883" y="5260877"/>
                <a:ext cx="1699681" cy="400110"/>
              </a:xfrm>
              <a:prstGeom prst="rect">
                <a:avLst/>
              </a:prstGeom>
              <a:noFill/>
            </p:spPr>
            <p:txBody>
              <a:bodyPr wrap="square" lIns="0" rIns="0" rtlCol="0" anchor="ctr">
                <a:spAutoFit/>
              </a:bodyPr>
              <a:lstStyle>
                <a:defPPr>
                  <a:defRPr lang="en-US"/>
                </a:defPPr>
                <a:lvl1pPr marR="0" lvl="0" indent="0" algn="ctr" defTabSz="93583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Light" panose="020F0302020204030204" pitchFamily="34" charset="0"/>
                    <a:cs typeface="Calibri Light" panose="020F0302020204030204" pitchFamily="34" charset="0"/>
                  </a:defRPr>
                </a:lvl1pPr>
                <a:lvl2pPr marL="467915" defTabSz="935830">
                  <a:defRPr sz="1900"/>
                </a:lvl2pPr>
                <a:lvl3pPr marL="935830" defTabSz="935830">
                  <a:defRPr sz="1900"/>
                </a:lvl3pPr>
                <a:lvl4pPr marL="1403745" defTabSz="935830">
                  <a:defRPr sz="1900"/>
                </a:lvl4pPr>
                <a:lvl5pPr marL="1871660" defTabSz="935830">
                  <a:defRPr sz="1900"/>
                </a:lvl5pPr>
                <a:lvl6pPr marL="2339575" defTabSz="935830">
                  <a:defRPr sz="1900"/>
                </a:lvl6pPr>
                <a:lvl7pPr marL="2807490" defTabSz="935830">
                  <a:defRPr sz="1900"/>
                </a:lvl7pPr>
                <a:lvl8pPr marL="3275404" defTabSz="935830">
                  <a:defRPr sz="1900"/>
                </a:lvl8pPr>
                <a:lvl9pPr marL="3743319" defTabSz="935830">
                  <a:defRPr sz="1900"/>
                </a:lvl9pPr>
              </a:lstStyle>
              <a:p>
                <a:pPr marL="0" marR="0" lvl="0" indent="0" algn="ctr" defTabSz="93583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Calibri "/>
                  </a:rPr>
                  <a:t>Preparing for a</a:t>
                </a:r>
                <a:br>
                  <a:rPr kumimoji="0" lang="en-US" sz="1000" b="0" i="0" u="none" strike="noStrike" kern="1200" cap="none" spc="0" normalizeH="0" baseline="0" noProof="0" dirty="0">
                    <a:ln>
                      <a:noFill/>
                    </a:ln>
                    <a:solidFill>
                      <a:prstClr val="black"/>
                    </a:solidFill>
                    <a:effectLst/>
                    <a:uLnTx/>
                    <a:uFillTx/>
                    <a:latin typeface="Calibri "/>
                  </a:rPr>
                </a:br>
                <a:r>
                  <a:rPr kumimoji="0" lang="en-US" sz="1000" b="0" i="0" u="none" strike="noStrike" kern="1200" cap="none" spc="0" normalizeH="0" baseline="0" noProof="0" dirty="0">
                    <a:ln>
                      <a:noFill/>
                    </a:ln>
                    <a:solidFill>
                      <a:prstClr val="black"/>
                    </a:solidFill>
                    <a:effectLst/>
                    <a:uLnTx/>
                    <a:uFillTx/>
                    <a:latin typeface="Calibri "/>
                  </a:rPr>
                  <a:t>sustainable future</a:t>
                </a:r>
              </a:p>
            </p:txBody>
          </p:sp>
        </p:grpSp>
        <p:grpSp>
          <p:nvGrpSpPr>
            <p:cNvPr id="50" name="Group 49">
              <a:extLst>
                <a:ext uri="{FF2B5EF4-FFF2-40B4-BE49-F238E27FC236}">
                  <a16:creationId xmlns:a16="http://schemas.microsoft.com/office/drawing/2014/main" id="{52F9F596-D74E-1978-5A3D-DA803D0570D8}"/>
                </a:ext>
              </a:extLst>
            </p:cNvPr>
            <p:cNvGrpSpPr/>
            <p:nvPr/>
          </p:nvGrpSpPr>
          <p:grpSpPr>
            <a:xfrm>
              <a:off x="5774036" y="4643882"/>
              <a:ext cx="4397865" cy="1636776"/>
              <a:chOff x="5774036" y="4643882"/>
              <a:chExt cx="4397865" cy="1636776"/>
            </a:xfrm>
          </p:grpSpPr>
          <p:pic>
            <p:nvPicPr>
              <p:cNvPr id="51" name="Picture 50">
                <a:extLst>
                  <a:ext uri="{FF2B5EF4-FFF2-40B4-BE49-F238E27FC236}">
                    <a16:creationId xmlns:a16="http://schemas.microsoft.com/office/drawing/2014/main" id="{717DA0E5-14B5-4CDB-3198-89073714EDD4}"/>
                  </a:ext>
                </a:extLst>
              </p:cNvPr>
              <p:cNvPicPr>
                <a:picLocks noChangeAspect="1"/>
              </p:cNvPicPr>
              <p:nvPr/>
            </p:nvPicPr>
            <p:blipFill>
              <a:blip r:embed="rId8"/>
              <a:stretch>
                <a:fillRect/>
              </a:stretch>
            </p:blipFill>
            <p:spPr>
              <a:xfrm>
                <a:off x="5774036" y="4643882"/>
                <a:ext cx="2918562" cy="1636776"/>
              </a:xfrm>
              <a:prstGeom prst="rect">
                <a:avLst/>
              </a:prstGeom>
              <a:ln w="12700">
                <a:solidFill>
                  <a:schemeClr val="accent2"/>
                </a:solidFill>
              </a:ln>
            </p:spPr>
          </p:pic>
          <p:sp>
            <p:nvSpPr>
              <p:cNvPr id="52" name="TextBox 17">
                <a:extLst>
                  <a:ext uri="{FF2B5EF4-FFF2-40B4-BE49-F238E27FC236}">
                    <a16:creationId xmlns:a16="http://schemas.microsoft.com/office/drawing/2014/main" id="{9D766C34-D5B5-5CBE-9A64-D6590DCE9EBD}"/>
                  </a:ext>
                </a:extLst>
              </p:cNvPr>
              <p:cNvSpPr txBox="1"/>
              <p:nvPr/>
            </p:nvSpPr>
            <p:spPr>
              <a:xfrm>
                <a:off x="8626736" y="5262215"/>
                <a:ext cx="1545165" cy="400110"/>
              </a:xfrm>
              <a:prstGeom prst="rect">
                <a:avLst/>
              </a:prstGeom>
              <a:noFill/>
            </p:spPr>
            <p:txBody>
              <a:bodyPr wrap="square" lIns="0" rIns="0" rtlCol="0" anchor="ctr">
                <a:spAutoFit/>
              </a:bodyPr>
              <a:lstStyle>
                <a:defPPr>
                  <a:defRPr lang="en-US"/>
                </a:defPPr>
                <a:lvl1pPr marR="0" lvl="0" indent="0" algn="ctr" defTabSz="935830" fontAlgn="auto">
                  <a:lnSpc>
                    <a:spcPct val="100000"/>
                  </a:lnSpc>
                  <a:spcBef>
                    <a:spcPts val="600"/>
                  </a:spcBef>
                  <a:spcAft>
                    <a:spcPts val="0"/>
                  </a:spcAft>
                  <a:buClrTx/>
                  <a:buSzPct val="100000"/>
                  <a:buFontTx/>
                  <a:buNone/>
                  <a:tabLst/>
                  <a:defRPr kumimoji="0" sz="1200" b="0" i="0" u="none" strike="noStrike" cap="none" spc="0" normalizeH="0" baseline="0">
                    <a:ln>
                      <a:noFill/>
                    </a:ln>
                    <a:solidFill>
                      <a:srgbClr val="313131"/>
                    </a:solidFill>
                    <a:effectLst/>
                    <a:uLnTx/>
                    <a:uFillTx/>
                    <a:latin typeface="Calibri Light" panose="020F0302020204030204" pitchFamily="34" charset="0"/>
                    <a:cs typeface="Calibri Light" panose="020F0302020204030204" pitchFamily="34" charset="0"/>
                  </a:defRPr>
                </a:lvl1pPr>
                <a:lvl2pPr marL="467915" defTabSz="935830">
                  <a:defRPr sz="1900"/>
                </a:lvl2pPr>
                <a:lvl3pPr marL="935830" defTabSz="935830">
                  <a:defRPr sz="1900"/>
                </a:lvl3pPr>
                <a:lvl4pPr marL="1403745" defTabSz="935830">
                  <a:defRPr sz="1900"/>
                </a:lvl4pPr>
                <a:lvl5pPr marL="1871660" defTabSz="935830">
                  <a:defRPr sz="1900"/>
                </a:lvl5pPr>
                <a:lvl6pPr marL="2339575" defTabSz="935830">
                  <a:defRPr sz="1900"/>
                </a:lvl6pPr>
                <a:lvl7pPr marL="2807490" defTabSz="935830">
                  <a:defRPr sz="1900"/>
                </a:lvl7pPr>
                <a:lvl8pPr marL="3275404" defTabSz="935830">
                  <a:defRPr sz="1900"/>
                </a:lvl8pPr>
                <a:lvl9pPr marL="3743319" defTabSz="935830">
                  <a:defRPr sz="1900"/>
                </a:lvl9pPr>
              </a:lstStyle>
              <a:p>
                <a:pPr marL="0" marR="0" lvl="0" indent="0" algn="ctr" defTabSz="935830" rtl="0" eaLnBrk="1" fontAlgn="auto" latinLnBrk="0" hangingPunct="1">
                  <a:lnSpc>
                    <a:spcPct val="100000"/>
                  </a:lnSpc>
                  <a:spcBef>
                    <a:spcPts val="6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Calibri "/>
                  </a:rPr>
                  <a:t>Capital Allocation and Resilient Portfolios</a:t>
                </a:r>
              </a:p>
            </p:txBody>
          </p:sp>
        </p:grpSp>
      </p:grpSp>
      <p:sp>
        <p:nvSpPr>
          <p:cNvPr id="59" name="Text Placeholder 6">
            <a:extLst>
              <a:ext uri="{FF2B5EF4-FFF2-40B4-BE49-F238E27FC236}">
                <a16:creationId xmlns:a16="http://schemas.microsoft.com/office/drawing/2014/main" id="{7BAE4E7B-2C15-A145-AA0A-D85C15822D7B}"/>
              </a:ext>
            </a:extLst>
          </p:cNvPr>
          <p:cNvSpPr>
            <a:spLocks noGrp="1"/>
          </p:cNvSpPr>
          <p:nvPr>
            <p:ph type="body" sz="quarter" idx="13"/>
          </p:nvPr>
        </p:nvSpPr>
        <p:spPr>
          <a:xfrm>
            <a:off x="522373" y="761804"/>
            <a:ext cx="11147258" cy="750193"/>
          </a:xfrm>
        </p:spPr>
        <p:txBody>
          <a:bodyPr/>
          <a:lstStyle/>
          <a:p>
            <a:pPr>
              <a:lnSpc>
                <a:spcPct val="120000"/>
              </a:lnSpc>
            </a:pPr>
            <a:r>
              <a:rPr lang="en-US" dirty="0">
                <a:solidFill>
                  <a:srgbClr val="00A3E0"/>
                </a:solidFill>
                <a:cs typeface="Calibri" panose="020F0502020204030204" pitchFamily="34" charset="0"/>
              </a:rPr>
              <a:t>Relevant Publications</a:t>
            </a:r>
          </a:p>
        </p:txBody>
      </p:sp>
      <p:sp>
        <p:nvSpPr>
          <p:cNvPr id="60" name="Title 1">
            <a:extLst>
              <a:ext uri="{FF2B5EF4-FFF2-40B4-BE49-F238E27FC236}">
                <a16:creationId xmlns:a16="http://schemas.microsoft.com/office/drawing/2014/main" id="{E1D7C0E1-C56A-F715-CEC9-F564A7D81522}"/>
              </a:ext>
            </a:extLst>
          </p:cNvPr>
          <p:cNvSpPr>
            <a:spLocks noGrp="1"/>
          </p:cNvSpPr>
          <p:nvPr>
            <p:ph type="title"/>
          </p:nvPr>
        </p:nvSpPr>
        <p:spPr>
          <a:xfrm>
            <a:off x="522373" y="430820"/>
            <a:ext cx="11147258" cy="330986"/>
          </a:xfrm>
        </p:spPr>
        <p:txBody>
          <a:bodyPr/>
          <a:lstStyle/>
          <a:p>
            <a:r>
              <a:rPr lang="en-US" sz="2382" dirty="0">
                <a:solidFill>
                  <a:prstClr val="black"/>
                </a:solidFill>
                <a:cs typeface="Calibri" panose="020F0502020204030204" pitchFamily="34" charset="0"/>
              </a:rPr>
              <a:t>Our Capabilities</a:t>
            </a:r>
          </a:p>
        </p:txBody>
      </p:sp>
    </p:spTree>
    <p:extLst>
      <p:ext uri="{BB962C8B-B14F-4D97-AF65-F5344CB8AC3E}">
        <p14:creationId xmlns:p14="http://schemas.microsoft.com/office/powerpoint/2010/main" val="162010140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1308616" cy="6850940"/>
          </a:xfrm>
          <a:prstGeom prst="rect">
            <a:avLst/>
          </a:prstGeom>
        </p:spPr>
      </p:pic>
      <p:grpSp>
        <p:nvGrpSpPr>
          <p:cNvPr id="6" name="Group 5">
            <a:extLst>
              <a:ext uri="{FF2B5EF4-FFF2-40B4-BE49-F238E27FC236}">
                <a16:creationId xmlns:a16="http://schemas.microsoft.com/office/drawing/2014/main" id="{B0BFBE09-3C6A-44C7-9D03-289EB3B4D0A7}"/>
              </a:ext>
            </a:extLst>
          </p:cNvPr>
          <p:cNvGrpSpPr/>
          <p:nvPr/>
        </p:nvGrpSpPr>
        <p:grpSpPr>
          <a:xfrm>
            <a:off x="10791565" y="6425836"/>
            <a:ext cx="364450" cy="364450"/>
            <a:chOff x="2624423" y="132075"/>
            <a:chExt cx="864729" cy="864729"/>
          </a:xfrm>
        </p:grpSpPr>
        <p:sp>
          <p:nvSpPr>
            <p:cNvPr id="9" name="Oval 8">
              <a:extLst>
                <a:ext uri="{FF2B5EF4-FFF2-40B4-BE49-F238E27FC236}">
                  <a16:creationId xmlns:a16="http://schemas.microsoft.com/office/drawing/2014/main" id="{55483B00-835E-4566-9353-F7D981928BD8}"/>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defTabSz="1208241">
                <a:lnSpc>
                  <a:spcPct val="106000"/>
                </a:lnSpc>
                <a:defRPr/>
              </a:pPr>
              <a:endParaRPr lang="en-US" sz="2382" b="1" dirty="0">
                <a:solidFill>
                  <a:prstClr val="white"/>
                </a:solidFill>
                <a:latin typeface="Calibri" panose="020F0502020204030204" pitchFamily="34" charset="0"/>
              </a:endParaRPr>
            </a:p>
          </p:txBody>
        </p:sp>
        <p:grpSp>
          <p:nvGrpSpPr>
            <p:cNvPr id="12" name="Group 22">
              <a:extLst>
                <a:ext uri="{FF2B5EF4-FFF2-40B4-BE49-F238E27FC236}">
                  <a16:creationId xmlns:a16="http://schemas.microsoft.com/office/drawing/2014/main" id="{A0C95259-4342-46A6-B68D-4CF9DEC6145C}"/>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13" name="Freeform 23">
                <a:extLst>
                  <a:ext uri="{FF2B5EF4-FFF2-40B4-BE49-F238E27FC236}">
                    <a16:creationId xmlns:a16="http://schemas.microsoft.com/office/drawing/2014/main" id="{E6E79448-B6DB-4A98-9563-02D545B944F3}"/>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US" sz="2382" dirty="0">
                  <a:solidFill>
                    <a:prstClr val="black"/>
                  </a:solidFill>
                  <a:latin typeface="Calibri" panose="020F0502020204030204" pitchFamily="34" charset="0"/>
                </a:endParaRPr>
              </a:p>
            </p:txBody>
          </p:sp>
          <p:sp>
            <p:nvSpPr>
              <p:cNvPr id="14" name="Freeform 24">
                <a:extLst>
                  <a:ext uri="{FF2B5EF4-FFF2-40B4-BE49-F238E27FC236}">
                    <a16:creationId xmlns:a16="http://schemas.microsoft.com/office/drawing/2014/main" id="{939E9201-1847-488F-940F-2E436A00A10B}"/>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US" sz="2382" dirty="0">
                  <a:solidFill>
                    <a:prstClr val="black"/>
                  </a:solidFill>
                  <a:latin typeface="Calibri" panose="020F0502020204030204" pitchFamily="34" charset="0"/>
                </a:endParaRPr>
              </a:p>
            </p:txBody>
          </p:sp>
        </p:grpSp>
      </p:grpSp>
      <p:sp>
        <p:nvSpPr>
          <p:cNvPr id="15" name="Oval 14">
            <a:hlinkClick r:id="rId3" action="ppaction://hlinksldjump"/>
            <a:extLst>
              <a:ext uri="{FF2B5EF4-FFF2-40B4-BE49-F238E27FC236}">
                <a16:creationId xmlns:a16="http://schemas.microsoft.com/office/drawing/2014/main" id="{B201DE4F-2986-47A1-A1B4-FD9A0B785BBF}"/>
              </a:ext>
            </a:extLst>
          </p:cNvPr>
          <p:cNvSpPr/>
          <p:nvPr/>
        </p:nvSpPr>
        <p:spPr bwMode="gray">
          <a:xfrm>
            <a:off x="10751701" y="6426652"/>
            <a:ext cx="423091" cy="423091"/>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defTabSz="1208241">
              <a:lnSpc>
                <a:spcPct val="106000"/>
              </a:lnSpc>
              <a:defRPr/>
            </a:pPr>
            <a:endParaRPr lang="en-US" sz="1582" b="1" dirty="0">
              <a:solidFill>
                <a:prstClr val="white"/>
              </a:solidFill>
              <a:latin typeface="Calibri" panose="020F0502020204030204" pitchFamily="34" charset="0"/>
            </a:endParaRPr>
          </a:p>
        </p:txBody>
      </p:sp>
      <p:sp>
        <p:nvSpPr>
          <p:cNvPr id="16" name="Triangle 28">
            <a:extLst>
              <a:ext uri="{FF2B5EF4-FFF2-40B4-BE49-F238E27FC236}">
                <a16:creationId xmlns:a16="http://schemas.microsoft.com/office/drawing/2014/main" id="{FFFED3FD-D74F-42AA-8BA6-6DF883D5E67C}"/>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18" name="Rectangle 17">
            <a:extLst>
              <a:ext uri="{FF2B5EF4-FFF2-40B4-BE49-F238E27FC236}">
                <a16:creationId xmlns:a16="http://schemas.microsoft.com/office/drawing/2014/main" id="{FB1B766A-0676-4D6B-9A5D-A786AF59D60F}"/>
              </a:ext>
            </a:extLst>
          </p:cNvPr>
          <p:cNvSpPr/>
          <p:nvPr/>
        </p:nvSpPr>
        <p:spPr bwMode="gray">
          <a:xfrm>
            <a:off x="0" y="-19402"/>
            <a:ext cx="11308616" cy="6877401"/>
          </a:xfrm>
          <a:prstGeom prst="rect">
            <a:avLst/>
          </a:prstGeom>
          <a:solidFill>
            <a:schemeClr val="tx1">
              <a:alpha val="48000"/>
            </a:scheme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10" name="Title 1">
            <a:extLst>
              <a:ext uri="{FF2B5EF4-FFF2-40B4-BE49-F238E27FC236}">
                <a16:creationId xmlns:a16="http://schemas.microsoft.com/office/drawing/2014/main" id="{EC016919-2EDD-472D-8BFC-124E277AD105}"/>
              </a:ext>
            </a:extLst>
          </p:cNvPr>
          <p:cNvSpPr>
            <a:spLocks noGrp="1"/>
          </p:cNvSpPr>
          <p:nvPr>
            <p:ph type="title"/>
          </p:nvPr>
        </p:nvSpPr>
        <p:spPr bwMode="gray">
          <a:xfrm>
            <a:off x="522376" y="460105"/>
            <a:ext cx="10321069" cy="157755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b="0" noProof="0" dirty="0">
                <a:latin typeface="Calibri" panose="020F0502020204030204" pitchFamily="34" charset="0"/>
              </a:rPr>
              <a:t>Approach &amp; Methodology</a:t>
            </a:r>
          </a:p>
        </p:txBody>
      </p:sp>
      <p:sp>
        <p:nvSpPr>
          <p:cNvPr id="11" name="Text Placeholder 2">
            <a:extLst>
              <a:ext uri="{FF2B5EF4-FFF2-40B4-BE49-F238E27FC236}">
                <a16:creationId xmlns:a16="http://schemas.microsoft.com/office/drawing/2014/main" id="{6DD4D66A-D889-4ED3-9DF1-AF716327167B}"/>
              </a:ext>
            </a:extLst>
          </p:cNvPr>
          <p:cNvSpPr txBox="1">
            <a:spLocks/>
          </p:cNvSpPr>
          <p:nvPr/>
        </p:nvSpPr>
        <p:spPr bwMode="gray">
          <a:xfrm>
            <a:off x="522376" y="2167362"/>
            <a:ext cx="10321069" cy="155192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pPr lvl="0"/>
            <a:r>
              <a:rPr lang="en-US" sz="1982" dirty="0">
                <a:solidFill>
                  <a:prstClr val="white"/>
                </a:solidFill>
                <a:latin typeface="Calibri" panose="020F0502020204030204" pitchFamily="34" charset="0"/>
              </a:rPr>
              <a:t>We believe in a service delivery approach that is driven by the client vision and expectation. We strive to provide global, end-to-end, innovative, and intelligent solutions tailored to priority industries and segments. </a:t>
            </a:r>
          </a:p>
          <a:p>
            <a:pPr lvl="0"/>
            <a:endParaRPr lang="en-US" sz="1982" dirty="0">
              <a:solidFill>
                <a:prstClr val="white"/>
              </a:solidFill>
              <a:latin typeface="Calibri" panose="020F0502020204030204" pitchFamily="34" charset="0"/>
            </a:endParaRPr>
          </a:p>
          <a:p>
            <a:pPr lvl="0"/>
            <a:r>
              <a:rPr lang="en-US" sz="1982" dirty="0">
                <a:solidFill>
                  <a:prstClr val="white"/>
                </a:solidFill>
                <a:latin typeface="Calibri" panose="020F0502020204030204" pitchFamily="34" charset="0"/>
              </a:rPr>
              <a:t>Subsequent section summarizes the approach performed by Deloitte to meet your expectation and objective.</a:t>
            </a:r>
          </a:p>
        </p:txBody>
      </p:sp>
    </p:spTree>
    <p:extLst>
      <p:ext uri="{BB962C8B-B14F-4D97-AF65-F5344CB8AC3E}">
        <p14:creationId xmlns:p14="http://schemas.microsoft.com/office/powerpoint/2010/main" val="3777679035"/>
      </p:ext>
    </p:extLst>
  </p:cSld>
  <p:clrMapOvr>
    <a:masterClrMapping/>
  </p:clrMapOvr>
  <p:transition spd="med">
    <p:pull/>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66F94503-D0A3-4D59-B031-E66EEF59E9E1}"/>
              </a:ext>
            </a:extLst>
          </p:cNvPr>
          <p:cNvSpPr txBox="1">
            <a:spLocks/>
          </p:cNvSpPr>
          <p:nvPr/>
        </p:nvSpPr>
        <p:spPr bwMode="gray">
          <a:xfrm>
            <a:off x="522373" y="420286"/>
            <a:ext cx="11147258" cy="330986"/>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382" dirty="0">
                <a:latin typeface="Calibri" panose="020F0502020204030204" pitchFamily="34" charset="0"/>
              </a:rPr>
              <a:t>Approach &amp; Methodology</a:t>
            </a:r>
          </a:p>
        </p:txBody>
      </p:sp>
      <p:sp>
        <p:nvSpPr>
          <p:cNvPr id="18"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r>
              <a:rPr lang="en-US" sz="2382" dirty="0">
                <a:solidFill>
                  <a:srgbClr val="00ABAB"/>
                </a:solidFill>
                <a:latin typeface="Calibri" panose="020F0502020204030204" pitchFamily="34" charset="0"/>
              </a:rPr>
              <a:t>Deloitte’s BCM Methodology</a:t>
            </a:r>
            <a:endParaRPr lang="en-US" sz="1391" dirty="0">
              <a:solidFill>
                <a:srgbClr val="00ABAB"/>
              </a:solidFill>
              <a:latin typeface="Calibri" panose="020F0502020204030204" pitchFamily="34" charset="0"/>
            </a:endParaRPr>
          </a:p>
        </p:txBody>
      </p:sp>
      <p:sp>
        <p:nvSpPr>
          <p:cNvPr id="15" name="Content Placeholder 7"/>
          <p:cNvSpPr>
            <a:spLocks noGrp="1"/>
          </p:cNvSpPr>
          <p:nvPr>
            <p:ph idx="1"/>
          </p:nvPr>
        </p:nvSpPr>
        <p:spPr>
          <a:xfrm>
            <a:off x="522381" y="1228600"/>
            <a:ext cx="10549645" cy="281316"/>
          </a:xfrm>
        </p:spPr>
        <p:txBody>
          <a:bodyPr/>
          <a:lstStyle/>
          <a:p>
            <a:pPr algn="just">
              <a:spcAft>
                <a:spcPts val="300"/>
              </a:spcAft>
            </a:pPr>
            <a:r>
              <a:rPr lang="en-US" dirty="0"/>
              <a:t>The below is a high-level representation of Deloitte’s BCM methodology, which is a mature method for establishing and operating a BCMS and is aligned with leading industry standards such as: NCA, ISO 22301 and industry best practices. Based on the project requirements, specific activities of the methodology will be applied in this project to achieve the desired outcomes.</a:t>
            </a:r>
          </a:p>
        </p:txBody>
      </p:sp>
      <p:grpSp>
        <p:nvGrpSpPr>
          <p:cNvPr id="54" name="Group 53"/>
          <p:cNvGrpSpPr/>
          <p:nvPr/>
        </p:nvGrpSpPr>
        <p:grpSpPr>
          <a:xfrm>
            <a:off x="779312" y="1816455"/>
            <a:ext cx="9899201" cy="4686665"/>
            <a:chOff x="823120" y="1591469"/>
            <a:chExt cx="10470984" cy="4876800"/>
          </a:xfrm>
        </p:grpSpPr>
        <p:sp>
          <p:nvSpPr>
            <p:cNvPr id="55" name="AutoShape 15"/>
            <p:cNvSpPr>
              <a:spLocks noChangeArrowheads="1"/>
            </p:cNvSpPr>
            <p:nvPr/>
          </p:nvSpPr>
          <p:spPr bwMode="auto">
            <a:xfrm>
              <a:off x="884697" y="6026436"/>
              <a:ext cx="10396707" cy="441833"/>
            </a:xfrm>
            <a:prstGeom prst="rect">
              <a:avLst/>
            </a:prstGeom>
            <a:solidFill>
              <a:srgbClr val="00ABAB"/>
            </a:solidFill>
            <a:ln w="6350" algn="ctr">
              <a:noFill/>
              <a:miter lim="800000"/>
              <a:headEnd type="none" w="sm" len="sm"/>
              <a:tailEnd type="none" w="sm" len="sm"/>
            </a:ln>
          </p:spPr>
          <p:txBody>
            <a:bodyPr tIns="90351" bIns="90351" anchor="ctr"/>
            <a:lstStyle/>
            <a:p>
              <a:pPr algn="ctr" defTabSz="1205099">
                <a:defRPr/>
              </a:pPr>
              <a:r>
                <a:rPr lang="en-GB" altLang="ja-JP" sz="991" b="1" dirty="0">
                  <a:solidFill>
                    <a:prstClr val="white"/>
                  </a:solidFill>
                  <a:latin typeface="Calibri" panose="020F0502020204030204" pitchFamily="34" charset="0"/>
                  <a:ea typeface="ＭＳ Ｐゴシック" pitchFamily="50" charset="-128"/>
                  <a:cs typeface="Arial" charset="0"/>
                </a:rPr>
                <a:t>Improve and Maintain</a:t>
              </a:r>
            </a:p>
          </p:txBody>
        </p:sp>
        <p:sp>
          <p:nvSpPr>
            <p:cNvPr id="56" name="Rectangle 55"/>
            <p:cNvSpPr>
              <a:spLocks noChangeArrowheads="1"/>
            </p:cNvSpPr>
            <p:nvPr/>
          </p:nvSpPr>
          <p:spPr bwMode="auto">
            <a:xfrm>
              <a:off x="823120" y="2807638"/>
              <a:ext cx="1354680" cy="3103960"/>
            </a:xfrm>
            <a:prstGeom prst="rect">
              <a:avLst/>
            </a:prstGeom>
            <a:solidFill>
              <a:schemeClr val="bg1">
                <a:lumMod val="85000"/>
              </a:schemeClr>
            </a:solidFill>
            <a:ln>
              <a:noFill/>
            </a:ln>
          </p:spPr>
          <p:txBody>
            <a:bodyPr wrap="none" tIns="90351" bIns="90351"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endParaRPr lang="en-GB" altLang="en-US" sz="991" b="1" dirty="0">
                <a:solidFill>
                  <a:prstClr val="black"/>
                </a:solidFill>
                <a:latin typeface="Calibri" panose="020F0502020204030204" pitchFamily="34" charset="0"/>
                <a:ea typeface="MS PGothic" pitchFamily="34" charset="-128"/>
              </a:endParaRPr>
            </a:p>
          </p:txBody>
        </p:sp>
        <p:sp>
          <p:nvSpPr>
            <p:cNvPr id="57" name="Rectangle 20"/>
            <p:cNvSpPr>
              <a:spLocks noChangeArrowheads="1"/>
            </p:cNvSpPr>
            <p:nvPr/>
          </p:nvSpPr>
          <p:spPr bwMode="auto">
            <a:xfrm>
              <a:off x="916487" y="3629386"/>
              <a:ext cx="1182240" cy="629291"/>
            </a:xfrm>
            <a:prstGeom prst="rect">
              <a:avLst/>
            </a:prstGeom>
            <a:solidFill>
              <a:schemeClr val="accent6"/>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BCMS Governance Framework</a:t>
              </a:r>
            </a:p>
          </p:txBody>
        </p:sp>
        <p:sp>
          <p:nvSpPr>
            <p:cNvPr id="58" name="AutoShape 22"/>
            <p:cNvSpPr>
              <a:spLocks noChangeArrowheads="1"/>
            </p:cNvSpPr>
            <p:nvPr/>
          </p:nvSpPr>
          <p:spPr bwMode="auto">
            <a:xfrm>
              <a:off x="855549" y="2359378"/>
              <a:ext cx="1322251" cy="342175"/>
            </a:xfrm>
            <a:prstGeom prst="rect">
              <a:avLst/>
            </a:prstGeom>
            <a:solidFill>
              <a:srgbClr val="005560"/>
            </a:solidFill>
            <a:ln w="6350" algn="ctr">
              <a:noFill/>
              <a:miter lim="800000"/>
              <a:headEnd type="none" w="sm" len="sm"/>
              <a:tailEnd type="none" w="sm" len="sm"/>
            </a:ln>
          </p:spPr>
          <p:txBody>
            <a:bodyPr tIns="90351" bIns="90351" anchor="ctr"/>
            <a:lstStyle/>
            <a:p>
              <a:pPr algn="ctr" defTabSz="1205099">
                <a:defRPr/>
              </a:pPr>
              <a:r>
                <a:rPr lang="en-GB" altLang="ja-JP" sz="991" b="1" dirty="0">
                  <a:solidFill>
                    <a:prstClr val="white"/>
                  </a:solidFill>
                  <a:latin typeface="Calibri" panose="020F0502020204030204" pitchFamily="34" charset="0"/>
                  <a:ea typeface="ＭＳ Ｐゴシック" pitchFamily="50" charset="-128"/>
                  <a:cs typeface="Arial" charset="0"/>
                </a:rPr>
                <a:t>Analyze</a:t>
              </a:r>
            </a:p>
          </p:txBody>
        </p:sp>
        <p:sp>
          <p:nvSpPr>
            <p:cNvPr id="59" name="Rectangle 58"/>
            <p:cNvSpPr>
              <a:spLocks noChangeArrowheads="1"/>
            </p:cNvSpPr>
            <p:nvPr/>
          </p:nvSpPr>
          <p:spPr bwMode="auto">
            <a:xfrm>
              <a:off x="2265197" y="2774852"/>
              <a:ext cx="6112704" cy="3136746"/>
            </a:xfrm>
            <a:prstGeom prst="rect">
              <a:avLst/>
            </a:prstGeom>
            <a:solidFill>
              <a:schemeClr val="bg1">
                <a:lumMod val="85000"/>
              </a:schemeClr>
            </a:solidFill>
            <a:ln w="6350" algn="ctr">
              <a:noFill/>
              <a:miter lim="800000"/>
              <a:headEnd type="none" w="sm" len="sm"/>
              <a:tailEnd type="none" w="sm" len="sm"/>
            </a:ln>
          </p:spPr>
          <p:txBody>
            <a:bodyPr wrap="none" tIns="90351" bIns="90351"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endParaRPr lang="en-GB" altLang="en-US" sz="991" b="1" dirty="0">
                <a:solidFill>
                  <a:prstClr val="black"/>
                </a:solidFill>
                <a:latin typeface="Calibri" panose="020F0502020204030204" pitchFamily="34" charset="0"/>
                <a:ea typeface="MS PGothic" pitchFamily="34" charset="-128"/>
              </a:endParaRPr>
            </a:p>
          </p:txBody>
        </p:sp>
        <p:sp>
          <p:nvSpPr>
            <p:cNvPr id="60" name="Rectangle 26"/>
            <p:cNvSpPr>
              <a:spLocks noChangeArrowheads="1"/>
            </p:cNvSpPr>
            <p:nvPr/>
          </p:nvSpPr>
          <p:spPr bwMode="auto">
            <a:xfrm>
              <a:off x="2416192" y="2851018"/>
              <a:ext cx="5809680" cy="295277"/>
            </a:xfrm>
            <a:prstGeom prst="rect">
              <a:avLst/>
            </a:prstGeom>
            <a:solidFill>
              <a:srgbClr val="062F87"/>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Recovery Strategies</a:t>
              </a:r>
            </a:p>
          </p:txBody>
        </p:sp>
        <p:sp>
          <p:nvSpPr>
            <p:cNvPr id="61" name="AutoShape 29"/>
            <p:cNvSpPr>
              <a:spLocks noChangeArrowheads="1"/>
            </p:cNvSpPr>
            <p:nvPr/>
          </p:nvSpPr>
          <p:spPr bwMode="auto">
            <a:xfrm>
              <a:off x="2265197" y="2351934"/>
              <a:ext cx="6112704" cy="349620"/>
            </a:xfrm>
            <a:prstGeom prst="rect">
              <a:avLst/>
            </a:prstGeom>
            <a:solidFill>
              <a:srgbClr val="005560"/>
            </a:solidFill>
            <a:ln w="6350" algn="ctr">
              <a:noFill/>
              <a:miter lim="800000"/>
              <a:headEnd type="none" w="sm" len="sm"/>
              <a:tailEnd type="none" w="sm" len="sm"/>
            </a:ln>
          </p:spPr>
          <p:txBody>
            <a:bodyPr tIns="90351" bIns="90351" anchor="ctr"/>
            <a:lstStyle/>
            <a:p>
              <a:pPr algn="ctr" defTabSz="1205099">
                <a:defRPr/>
              </a:pPr>
              <a:r>
                <a:rPr lang="en-GB" altLang="ja-JP" sz="991" b="1" dirty="0">
                  <a:solidFill>
                    <a:prstClr val="white"/>
                  </a:solidFill>
                  <a:latin typeface="Calibri" panose="020F0502020204030204" pitchFamily="34" charset="0"/>
                  <a:ea typeface="ＭＳ Ｐゴシック" pitchFamily="50" charset="-128"/>
                  <a:cs typeface="Arial" charset="0"/>
                </a:rPr>
                <a:t>Design</a:t>
              </a:r>
            </a:p>
          </p:txBody>
        </p:sp>
        <p:sp>
          <p:nvSpPr>
            <p:cNvPr id="62" name="AutoShape 30"/>
            <p:cNvSpPr>
              <a:spLocks noChangeArrowheads="1"/>
            </p:cNvSpPr>
            <p:nvPr/>
          </p:nvSpPr>
          <p:spPr bwMode="auto">
            <a:xfrm>
              <a:off x="8478865" y="2353176"/>
              <a:ext cx="1257648" cy="348378"/>
            </a:xfrm>
            <a:prstGeom prst="rect">
              <a:avLst/>
            </a:prstGeom>
            <a:solidFill>
              <a:srgbClr val="005560"/>
            </a:solidFill>
            <a:ln w="6350" algn="ctr">
              <a:noFill/>
              <a:miter lim="800000"/>
              <a:headEnd type="none" w="sm" len="sm"/>
              <a:tailEnd type="none" w="sm" len="sm"/>
            </a:ln>
          </p:spPr>
          <p:txBody>
            <a:bodyPr tIns="90351" bIns="90351" anchor="ctr"/>
            <a:lstStyle/>
            <a:p>
              <a:pPr algn="ctr" defTabSz="1205099">
                <a:defRPr/>
              </a:pPr>
              <a:r>
                <a:rPr lang="en-GB" altLang="ja-JP" sz="991" b="1" dirty="0">
                  <a:solidFill>
                    <a:prstClr val="white"/>
                  </a:solidFill>
                  <a:latin typeface="Calibri" panose="020F0502020204030204" pitchFamily="34" charset="0"/>
                  <a:ea typeface="ＭＳ Ｐゴシック" pitchFamily="50" charset="-128"/>
                  <a:cs typeface="Arial" charset="0"/>
                </a:rPr>
                <a:t>Roll Out</a:t>
              </a:r>
            </a:p>
          </p:txBody>
        </p:sp>
        <p:sp>
          <p:nvSpPr>
            <p:cNvPr id="63" name="Rectangle 26"/>
            <p:cNvSpPr>
              <a:spLocks noChangeArrowheads="1"/>
            </p:cNvSpPr>
            <p:nvPr/>
          </p:nvSpPr>
          <p:spPr bwMode="auto">
            <a:xfrm>
              <a:off x="2416024" y="5418667"/>
              <a:ext cx="5809848" cy="343562"/>
            </a:xfrm>
            <a:prstGeom prst="rect">
              <a:avLst/>
            </a:prstGeom>
            <a:solidFill>
              <a:srgbClr val="062F87"/>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Plan Validation</a:t>
              </a:r>
            </a:p>
          </p:txBody>
        </p:sp>
        <p:sp>
          <p:nvSpPr>
            <p:cNvPr id="64" name="Rectangle 16"/>
            <p:cNvSpPr>
              <a:spLocks noChangeArrowheads="1"/>
            </p:cNvSpPr>
            <p:nvPr/>
          </p:nvSpPr>
          <p:spPr bwMode="auto">
            <a:xfrm>
              <a:off x="8500583" y="2810746"/>
              <a:ext cx="1271215" cy="3100852"/>
            </a:xfrm>
            <a:prstGeom prst="rect">
              <a:avLst/>
            </a:prstGeom>
            <a:solidFill>
              <a:schemeClr val="bg1">
                <a:lumMod val="85000"/>
              </a:schemeClr>
            </a:solidFill>
            <a:ln>
              <a:noFill/>
            </a:ln>
          </p:spPr>
          <p:txBody>
            <a:bodyPr wrap="none" tIns="90351" bIns="90351"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endParaRPr lang="en-GB" altLang="en-US" sz="991" b="1" dirty="0">
                <a:solidFill>
                  <a:prstClr val="black"/>
                </a:solidFill>
                <a:latin typeface="Calibri" panose="020F0502020204030204" pitchFamily="34" charset="0"/>
                <a:ea typeface="MS PGothic" pitchFamily="34" charset="-128"/>
              </a:endParaRPr>
            </a:p>
          </p:txBody>
        </p:sp>
        <p:sp>
          <p:nvSpPr>
            <p:cNvPr id="65" name="Rectangle 64"/>
            <p:cNvSpPr>
              <a:spLocks noChangeArrowheads="1"/>
            </p:cNvSpPr>
            <p:nvPr/>
          </p:nvSpPr>
          <p:spPr bwMode="auto">
            <a:xfrm>
              <a:off x="8592256" y="3146295"/>
              <a:ext cx="1082854" cy="1023308"/>
            </a:xfrm>
            <a:prstGeom prst="rect">
              <a:avLst/>
            </a:prstGeom>
            <a:solidFill>
              <a:srgbClr val="062F87"/>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Awareness &amp; Training </a:t>
              </a:r>
            </a:p>
            <a:p>
              <a:pPr algn="ctr" defTabSz="1205099" eaLnBrk="1" hangingPunct="1">
                <a:defRPr/>
              </a:pPr>
              <a:endParaRPr lang="en-GB" altLang="ja-JP" sz="991" b="1" dirty="0">
                <a:solidFill>
                  <a:prstClr val="white"/>
                </a:solidFill>
                <a:latin typeface="Calibri" panose="020F0502020204030204" pitchFamily="34" charset="0"/>
                <a:ea typeface="MS PGothic" pitchFamily="34" charset="-128"/>
              </a:endParaRPr>
            </a:p>
          </p:txBody>
        </p:sp>
        <p:sp>
          <p:nvSpPr>
            <p:cNvPr id="66" name="Rectangle 65"/>
            <p:cNvSpPr>
              <a:spLocks noChangeArrowheads="1"/>
            </p:cNvSpPr>
            <p:nvPr/>
          </p:nvSpPr>
          <p:spPr bwMode="auto">
            <a:xfrm>
              <a:off x="916897" y="2907784"/>
              <a:ext cx="1170940" cy="632393"/>
            </a:xfrm>
            <a:prstGeom prst="rect">
              <a:avLst/>
            </a:prstGeom>
            <a:solidFill>
              <a:srgbClr val="062F87"/>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Current State Assessment</a:t>
              </a:r>
            </a:p>
          </p:txBody>
        </p:sp>
        <p:sp>
          <p:nvSpPr>
            <p:cNvPr id="67" name="Rectangle 19"/>
            <p:cNvSpPr>
              <a:spLocks noChangeArrowheads="1"/>
            </p:cNvSpPr>
            <p:nvPr/>
          </p:nvSpPr>
          <p:spPr bwMode="auto">
            <a:xfrm>
              <a:off x="8597630" y="4395360"/>
              <a:ext cx="1082854" cy="1023308"/>
            </a:xfrm>
            <a:prstGeom prst="rect">
              <a:avLst/>
            </a:prstGeom>
            <a:solidFill>
              <a:srgbClr val="062F87"/>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Testing &amp; Exercising</a:t>
              </a:r>
            </a:p>
          </p:txBody>
        </p:sp>
        <p:sp>
          <p:nvSpPr>
            <p:cNvPr id="68" name="Rectangle 20"/>
            <p:cNvSpPr>
              <a:spLocks noChangeArrowheads="1"/>
            </p:cNvSpPr>
            <p:nvPr/>
          </p:nvSpPr>
          <p:spPr bwMode="auto">
            <a:xfrm>
              <a:off x="938942" y="5198505"/>
              <a:ext cx="1148895" cy="544036"/>
            </a:xfrm>
            <a:prstGeom prst="rect">
              <a:avLst/>
            </a:prstGeom>
            <a:solidFill>
              <a:srgbClr val="062F87"/>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Threat Risk Assessment</a:t>
              </a:r>
            </a:p>
          </p:txBody>
        </p:sp>
        <p:grpSp>
          <p:nvGrpSpPr>
            <p:cNvPr id="69" name="Group 68"/>
            <p:cNvGrpSpPr/>
            <p:nvPr/>
          </p:nvGrpSpPr>
          <p:grpSpPr>
            <a:xfrm>
              <a:off x="2419434" y="3242172"/>
              <a:ext cx="5806438" cy="1981384"/>
              <a:chOff x="2304127" y="3038799"/>
              <a:chExt cx="5754113" cy="1538297"/>
            </a:xfrm>
          </p:grpSpPr>
          <p:sp>
            <p:nvSpPr>
              <p:cNvPr id="77" name="Rectangle 26"/>
              <p:cNvSpPr>
                <a:spLocks noChangeArrowheads="1"/>
              </p:cNvSpPr>
              <p:nvPr/>
            </p:nvSpPr>
            <p:spPr bwMode="auto">
              <a:xfrm>
                <a:off x="2304127" y="3038799"/>
                <a:ext cx="5754113" cy="1538297"/>
              </a:xfrm>
              <a:prstGeom prst="rect">
                <a:avLst/>
              </a:prstGeom>
              <a:solidFill>
                <a:srgbClr val="062F87"/>
              </a:solidFill>
              <a:ln>
                <a:noFill/>
              </a:ln>
            </p:spPr>
            <p:txBody>
              <a:bodyPr anchor="t"/>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Plan Development</a:t>
                </a:r>
              </a:p>
            </p:txBody>
          </p:sp>
          <p:sp>
            <p:nvSpPr>
              <p:cNvPr id="78" name="Rectangle 26"/>
              <p:cNvSpPr>
                <a:spLocks noChangeArrowheads="1"/>
              </p:cNvSpPr>
              <p:nvPr/>
            </p:nvSpPr>
            <p:spPr bwMode="auto">
              <a:xfrm>
                <a:off x="2364919" y="3524519"/>
                <a:ext cx="5632527" cy="1027122"/>
              </a:xfrm>
              <a:prstGeom prst="rect">
                <a:avLst/>
              </a:prstGeom>
              <a:solidFill>
                <a:srgbClr val="005560"/>
              </a:solidFill>
              <a:ln>
                <a:noFill/>
              </a:ln>
            </p:spPr>
            <p:txBody>
              <a:bodyPr anchor="t"/>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Operational Continuity (BETH3V™) </a:t>
                </a:r>
              </a:p>
            </p:txBody>
          </p:sp>
          <p:sp>
            <p:nvSpPr>
              <p:cNvPr id="79" name="Rectangle 19"/>
              <p:cNvSpPr>
                <a:spLocks noChangeArrowheads="1"/>
              </p:cNvSpPr>
              <p:nvPr/>
            </p:nvSpPr>
            <p:spPr bwMode="auto">
              <a:xfrm>
                <a:off x="4244460" y="3853170"/>
                <a:ext cx="875761" cy="526632"/>
              </a:xfrm>
              <a:prstGeom prst="rect">
                <a:avLst/>
              </a:prstGeom>
              <a:solidFill>
                <a:schemeClr val="bg2"/>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891" b="1" dirty="0">
                    <a:solidFill>
                      <a:srgbClr val="53565A"/>
                    </a:solidFill>
                    <a:latin typeface="Calibri" panose="020F0502020204030204" pitchFamily="34" charset="0"/>
                    <a:ea typeface="MS PGothic" pitchFamily="34" charset="-128"/>
                  </a:rPr>
                  <a:t>Technology (Disaster)</a:t>
                </a:r>
              </a:p>
            </p:txBody>
          </p:sp>
          <p:sp>
            <p:nvSpPr>
              <p:cNvPr id="80" name="Rectangle 19"/>
              <p:cNvSpPr>
                <a:spLocks noChangeArrowheads="1"/>
              </p:cNvSpPr>
              <p:nvPr/>
            </p:nvSpPr>
            <p:spPr bwMode="auto">
              <a:xfrm>
                <a:off x="2389622" y="3853170"/>
                <a:ext cx="851210" cy="526632"/>
              </a:xfrm>
              <a:prstGeom prst="rect">
                <a:avLst/>
              </a:prstGeom>
              <a:solidFill>
                <a:schemeClr val="bg2"/>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891" b="1" dirty="0">
                    <a:solidFill>
                      <a:srgbClr val="53565A"/>
                    </a:solidFill>
                    <a:latin typeface="Calibri" panose="020F0502020204030204" pitchFamily="34" charset="0"/>
                    <a:ea typeface="MS PGothic" pitchFamily="34" charset="-128"/>
                  </a:rPr>
                  <a:t>Building (Facilities)</a:t>
                </a:r>
              </a:p>
            </p:txBody>
          </p:sp>
          <p:sp>
            <p:nvSpPr>
              <p:cNvPr id="81" name="Rectangle 19"/>
              <p:cNvSpPr>
                <a:spLocks noChangeArrowheads="1"/>
              </p:cNvSpPr>
              <p:nvPr/>
            </p:nvSpPr>
            <p:spPr bwMode="auto">
              <a:xfrm>
                <a:off x="3310749" y="3853170"/>
                <a:ext cx="830073" cy="533604"/>
              </a:xfrm>
              <a:prstGeom prst="rect">
                <a:avLst/>
              </a:prstGeom>
              <a:solidFill>
                <a:schemeClr val="bg2"/>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891" b="1" dirty="0">
                    <a:solidFill>
                      <a:srgbClr val="53565A"/>
                    </a:solidFill>
                    <a:latin typeface="Calibri" panose="020F0502020204030204" pitchFamily="34" charset="0"/>
                    <a:ea typeface="MS PGothic" pitchFamily="34" charset="-128"/>
                  </a:rPr>
                  <a:t>Equipment</a:t>
                </a:r>
              </a:p>
            </p:txBody>
          </p:sp>
          <p:sp>
            <p:nvSpPr>
              <p:cNvPr id="82" name="Rectangle 19"/>
              <p:cNvSpPr>
                <a:spLocks noChangeArrowheads="1"/>
              </p:cNvSpPr>
              <p:nvPr/>
            </p:nvSpPr>
            <p:spPr bwMode="auto">
              <a:xfrm>
                <a:off x="5181015" y="3853170"/>
                <a:ext cx="875761" cy="528089"/>
              </a:xfrm>
              <a:prstGeom prst="rect">
                <a:avLst/>
              </a:prstGeom>
              <a:solidFill>
                <a:schemeClr val="bg2"/>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891" b="1" dirty="0">
                    <a:solidFill>
                      <a:srgbClr val="53565A"/>
                    </a:solidFill>
                    <a:latin typeface="Calibri" panose="020F0502020204030204" pitchFamily="34" charset="0"/>
                    <a:ea typeface="MS PGothic" pitchFamily="34" charset="-128"/>
                  </a:rPr>
                  <a:t>HR Workforce</a:t>
                </a:r>
              </a:p>
              <a:p>
                <a:pPr algn="ctr" defTabSz="1205099" eaLnBrk="1" hangingPunct="1">
                  <a:defRPr/>
                </a:pPr>
                <a:endParaRPr lang="en-GB" altLang="ja-JP" sz="891" b="1" dirty="0">
                  <a:solidFill>
                    <a:srgbClr val="53565A"/>
                  </a:solidFill>
                  <a:latin typeface="Calibri" panose="020F0502020204030204" pitchFamily="34" charset="0"/>
                  <a:ea typeface="MS PGothic" pitchFamily="34" charset="-128"/>
                </a:endParaRPr>
              </a:p>
            </p:txBody>
          </p:sp>
          <p:sp>
            <p:nvSpPr>
              <p:cNvPr id="83" name="Rectangle 19"/>
              <p:cNvSpPr>
                <a:spLocks noChangeArrowheads="1"/>
              </p:cNvSpPr>
              <p:nvPr/>
            </p:nvSpPr>
            <p:spPr bwMode="auto">
              <a:xfrm>
                <a:off x="6137200" y="3853170"/>
                <a:ext cx="888670" cy="526632"/>
              </a:xfrm>
              <a:prstGeom prst="rect">
                <a:avLst/>
              </a:prstGeom>
              <a:solidFill>
                <a:schemeClr val="bg2"/>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891" b="1" dirty="0">
                    <a:solidFill>
                      <a:srgbClr val="53565A"/>
                    </a:solidFill>
                    <a:latin typeface="Calibri" panose="020F0502020204030204" pitchFamily="34" charset="0"/>
                    <a:ea typeface="MS PGothic" pitchFamily="34" charset="-128"/>
                  </a:rPr>
                  <a:t>3</a:t>
                </a:r>
                <a:r>
                  <a:rPr lang="en-GB" altLang="ja-JP" sz="891" b="1" baseline="30000" dirty="0">
                    <a:solidFill>
                      <a:srgbClr val="53565A"/>
                    </a:solidFill>
                    <a:latin typeface="Calibri" panose="020F0502020204030204" pitchFamily="34" charset="0"/>
                    <a:ea typeface="MS PGothic" pitchFamily="34" charset="-128"/>
                  </a:rPr>
                  <a:t>rd</a:t>
                </a:r>
                <a:r>
                  <a:rPr lang="en-GB" altLang="ja-JP" sz="891" b="1" dirty="0">
                    <a:solidFill>
                      <a:srgbClr val="53565A"/>
                    </a:solidFill>
                    <a:latin typeface="Calibri" panose="020F0502020204030204" pitchFamily="34" charset="0"/>
                    <a:ea typeface="MS PGothic" pitchFamily="34" charset="-128"/>
                  </a:rPr>
                  <a:t> Party (Supply Chain)</a:t>
                </a:r>
              </a:p>
            </p:txBody>
          </p:sp>
          <p:sp>
            <p:nvSpPr>
              <p:cNvPr id="84" name="Rectangle 26"/>
              <p:cNvSpPr>
                <a:spLocks noChangeArrowheads="1"/>
              </p:cNvSpPr>
              <p:nvPr/>
            </p:nvSpPr>
            <p:spPr bwMode="auto">
              <a:xfrm>
                <a:off x="2364920" y="3257080"/>
                <a:ext cx="5632527" cy="210533"/>
              </a:xfrm>
              <a:prstGeom prst="rect">
                <a:avLst/>
              </a:prstGeom>
              <a:solidFill>
                <a:srgbClr val="00A6C4"/>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Incident and Crisis Management</a:t>
                </a:r>
              </a:p>
            </p:txBody>
          </p:sp>
          <p:sp>
            <p:nvSpPr>
              <p:cNvPr id="85" name="Rectangle 19"/>
              <p:cNvSpPr>
                <a:spLocks noChangeArrowheads="1"/>
              </p:cNvSpPr>
              <p:nvPr/>
            </p:nvSpPr>
            <p:spPr bwMode="auto">
              <a:xfrm>
                <a:off x="7106295" y="3853170"/>
                <a:ext cx="854173" cy="533604"/>
              </a:xfrm>
              <a:prstGeom prst="rect">
                <a:avLst/>
              </a:prstGeom>
              <a:solidFill>
                <a:schemeClr val="bg2"/>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891" b="1" dirty="0">
                    <a:solidFill>
                      <a:srgbClr val="53565A"/>
                    </a:solidFill>
                    <a:latin typeface="Calibri" panose="020F0502020204030204" pitchFamily="34" charset="0"/>
                    <a:ea typeface="MS PGothic" pitchFamily="34" charset="-128"/>
                  </a:rPr>
                  <a:t>Vital Records</a:t>
                </a:r>
              </a:p>
            </p:txBody>
          </p:sp>
        </p:grpSp>
        <p:sp>
          <p:nvSpPr>
            <p:cNvPr id="70" name="AutoShape 15"/>
            <p:cNvSpPr>
              <a:spLocks noChangeArrowheads="1"/>
            </p:cNvSpPr>
            <p:nvPr/>
          </p:nvSpPr>
          <p:spPr bwMode="auto">
            <a:xfrm>
              <a:off x="884696" y="1591469"/>
              <a:ext cx="10396708" cy="380503"/>
            </a:xfrm>
            <a:prstGeom prst="rect">
              <a:avLst/>
            </a:prstGeom>
            <a:solidFill>
              <a:srgbClr val="005560"/>
            </a:solidFill>
            <a:ln w="6350" algn="ctr">
              <a:noFill/>
              <a:miter lim="800000"/>
              <a:headEnd type="none" w="sm" len="sm"/>
              <a:tailEnd type="none" w="sm" len="sm"/>
            </a:ln>
          </p:spPr>
          <p:txBody>
            <a:bodyPr tIns="90351" bIns="90351" anchor="ctr"/>
            <a:lstStyle/>
            <a:p>
              <a:pPr algn="ctr" defTabSz="1205099">
                <a:defRPr/>
              </a:pPr>
              <a:r>
                <a:rPr lang="en-GB" altLang="ja-JP" sz="991" b="1" dirty="0">
                  <a:solidFill>
                    <a:prstClr val="white"/>
                  </a:solidFill>
                  <a:latin typeface="Calibri" panose="020F0502020204030204" pitchFamily="34" charset="0"/>
                  <a:ea typeface="ＭＳ Ｐゴシック" pitchFamily="50" charset="-128"/>
                  <a:cs typeface="Arial" charset="0"/>
                </a:rPr>
                <a:t>Program Governance</a:t>
              </a:r>
            </a:p>
          </p:txBody>
        </p:sp>
        <p:cxnSp>
          <p:nvCxnSpPr>
            <p:cNvPr id="71" name="Elbow Connector 70"/>
            <p:cNvCxnSpPr>
              <a:endCxn id="55" idx="1"/>
            </p:cNvCxnSpPr>
            <p:nvPr/>
          </p:nvCxnSpPr>
          <p:spPr>
            <a:xfrm rot="10800000" flipH="1" flipV="1">
              <a:off x="884695" y="2164199"/>
              <a:ext cx="1" cy="4083154"/>
            </a:xfrm>
            <a:prstGeom prst="bentConnector3">
              <a:avLst>
                <a:gd name="adj1" fmla="val -2286000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p:cNvCxnSpPr>
              <a:endCxn id="55" idx="3"/>
            </p:cNvCxnSpPr>
            <p:nvPr/>
          </p:nvCxnSpPr>
          <p:spPr>
            <a:xfrm>
              <a:off x="11281404" y="2164199"/>
              <a:ext cx="12700" cy="4083154"/>
            </a:xfrm>
            <a:prstGeom prst="bentConnector3">
              <a:avLst>
                <a:gd name="adj1" fmla="val 136903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3" name="AutoShape 30"/>
            <p:cNvSpPr>
              <a:spLocks noChangeArrowheads="1"/>
            </p:cNvSpPr>
            <p:nvPr/>
          </p:nvSpPr>
          <p:spPr bwMode="auto">
            <a:xfrm>
              <a:off x="10010189" y="2344925"/>
              <a:ext cx="1257648" cy="356629"/>
            </a:xfrm>
            <a:prstGeom prst="rect">
              <a:avLst/>
            </a:prstGeom>
            <a:solidFill>
              <a:srgbClr val="005560"/>
            </a:solidFill>
            <a:ln w="6350" algn="ctr">
              <a:noFill/>
              <a:miter lim="800000"/>
              <a:headEnd type="none" w="sm" len="sm"/>
              <a:tailEnd type="none" w="sm" len="sm"/>
            </a:ln>
          </p:spPr>
          <p:txBody>
            <a:bodyPr tIns="90351" bIns="90351" anchor="ctr"/>
            <a:lstStyle/>
            <a:p>
              <a:pPr algn="ctr" defTabSz="1205099">
                <a:defRPr/>
              </a:pPr>
              <a:r>
                <a:rPr lang="en-GB" altLang="ja-JP" sz="991" b="1" dirty="0">
                  <a:solidFill>
                    <a:prstClr val="white"/>
                  </a:solidFill>
                  <a:latin typeface="Calibri" panose="020F0502020204030204" pitchFamily="34" charset="0"/>
                  <a:ea typeface="ＭＳ Ｐゴシック" pitchFamily="50" charset="-128"/>
                  <a:cs typeface="Arial" charset="0"/>
                </a:rPr>
                <a:t>Evaluate</a:t>
              </a:r>
            </a:p>
          </p:txBody>
        </p:sp>
        <p:sp>
          <p:nvSpPr>
            <p:cNvPr id="74" name="Rectangle 16"/>
            <p:cNvSpPr>
              <a:spLocks noChangeArrowheads="1"/>
            </p:cNvSpPr>
            <p:nvPr/>
          </p:nvSpPr>
          <p:spPr bwMode="auto">
            <a:xfrm>
              <a:off x="10010189" y="2807638"/>
              <a:ext cx="1271215" cy="3102821"/>
            </a:xfrm>
            <a:prstGeom prst="rect">
              <a:avLst/>
            </a:prstGeom>
            <a:solidFill>
              <a:schemeClr val="bg1">
                <a:lumMod val="85000"/>
              </a:schemeClr>
            </a:solidFill>
            <a:ln>
              <a:noFill/>
            </a:ln>
          </p:spPr>
          <p:txBody>
            <a:bodyPr wrap="none" tIns="90351" bIns="90351"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endParaRPr lang="en-GB" altLang="en-US" sz="991" b="1" dirty="0">
                <a:solidFill>
                  <a:prstClr val="black"/>
                </a:solidFill>
                <a:latin typeface="Calibri" panose="020F0502020204030204" pitchFamily="34" charset="0"/>
                <a:ea typeface="MS PGothic" pitchFamily="34" charset="-128"/>
              </a:endParaRPr>
            </a:p>
          </p:txBody>
        </p:sp>
        <p:sp>
          <p:nvSpPr>
            <p:cNvPr id="75" name="Rectangle 19"/>
            <p:cNvSpPr>
              <a:spLocks noChangeArrowheads="1"/>
            </p:cNvSpPr>
            <p:nvPr/>
          </p:nvSpPr>
          <p:spPr bwMode="auto">
            <a:xfrm>
              <a:off x="10108586" y="2876805"/>
              <a:ext cx="1082854" cy="752582"/>
            </a:xfrm>
            <a:prstGeom prst="rect">
              <a:avLst/>
            </a:prstGeom>
            <a:solidFill>
              <a:schemeClr val="accent6"/>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Internal Audit</a:t>
              </a:r>
            </a:p>
          </p:txBody>
        </p:sp>
        <p:sp>
          <p:nvSpPr>
            <p:cNvPr id="76" name="Rectangle 19"/>
            <p:cNvSpPr>
              <a:spLocks noChangeArrowheads="1"/>
            </p:cNvSpPr>
            <p:nvPr/>
          </p:nvSpPr>
          <p:spPr bwMode="auto">
            <a:xfrm>
              <a:off x="10108586" y="3859814"/>
              <a:ext cx="1082854" cy="754098"/>
            </a:xfrm>
            <a:prstGeom prst="rect">
              <a:avLst/>
            </a:prstGeom>
            <a:solidFill>
              <a:schemeClr val="accent6"/>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Management Review</a:t>
              </a:r>
            </a:p>
          </p:txBody>
        </p:sp>
      </p:grpSp>
      <p:sp>
        <p:nvSpPr>
          <p:cNvPr id="86" name="Rectangle 20"/>
          <p:cNvSpPr>
            <a:spLocks noChangeArrowheads="1"/>
          </p:cNvSpPr>
          <p:nvPr/>
        </p:nvSpPr>
        <p:spPr bwMode="auto">
          <a:xfrm>
            <a:off x="894507" y="4477902"/>
            <a:ext cx="1085438" cy="724455"/>
          </a:xfrm>
          <a:prstGeom prst="rect">
            <a:avLst/>
          </a:prstGeom>
          <a:solidFill>
            <a:schemeClr val="accent6"/>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0" b="1" dirty="0">
                <a:solidFill>
                  <a:prstClr val="white"/>
                </a:solidFill>
                <a:latin typeface="Calibri" panose="020F0502020204030204" pitchFamily="34" charset="0"/>
                <a:ea typeface="MS PGothic" pitchFamily="34" charset="-128"/>
              </a:rPr>
              <a:t>Business Impact Analysis</a:t>
            </a:r>
          </a:p>
        </p:txBody>
      </p:sp>
      <p:sp>
        <p:nvSpPr>
          <p:cNvPr id="87" name="AutoShape 15"/>
          <p:cNvSpPr>
            <a:spLocks noChangeArrowheads="1"/>
          </p:cNvSpPr>
          <p:nvPr/>
        </p:nvSpPr>
        <p:spPr bwMode="auto">
          <a:xfrm>
            <a:off x="840156" y="2222929"/>
            <a:ext cx="9828979" cy="203679"/>
          </a:xfrm>
          <a:prstGeom prst="rect">
            <a:avLst/>
          </a:prstGeom>
          <a:solidFill>
            <a:srgbClr val="00ABAB"/>
          </a:solidFill>
          <a:ln w="6350" algn="ctr">
            <a:noFill/>
            <a:miter lim="800000"/>
            <a:headEnd type="none" w="sm" len="sm"/>
            <a:tailEnd type="none" w="sm" len="sm"/>
          </a:ln>
        </p:spPr>
        <p:txBody>
          <a:bodyPr tIns="90351" bIns="90351" anchor="ctr"/>
          <a:lstStyle/>
          <a:p>
            <a:pPr algn="ctr" defTabSz="1205099">
              <a:defRPr/>
            </a:pPr>
            <a:r>
              <a:rPr lang="en-GB" altLang="ja-JP" sz="990" b="1" dirty="0">
                <a:solidFill>
                  <a:prstClr val="white"/>
                </a:solidFill>
                <a:latin typeface="Calibri" panose="020F0502020204030204" pitchFamily="34" charset="0"/>
                <a:ea typeface="ＭＳ Ｐゴシック" pitchFamily="50" charset="-128"/>
                <a:cs typeface="Arial" charset="0"/>
              </a:rPr>
              <a:t>Change Management and Awareness</a:t>
            </a:r>
          </a:p>
        </p:txBody>
      </p:sp>
      <p:sp>
        <p:nvSpPr>
          <p:cNvPr id="88" name="Rectangle 19"/>
          <p:cNvSpPr>
            <a:spLocks noChangeArrowheads="1"/>
          </p:cNvSpPr>
          <p:nvPr/>
        </p:nvSpPr>
        <p:spPr bwMode="auto">
          <a:xfrm>
            <a:off x="9556453" y="4975127"/>
            <a:ext cx="1023724" cy="724698"/>
          </a:xfrm>
          <a:prstGeom prst="rect">
            <a:avLst/>
          </a:prstGeom>
          <a:solidFill>
            <a:schemeClr val="accent6"/>
          </a:solidFill>
          <a:ln>
            <a:noFill/>
          </a:ln>
        </p:spPr>
        <p:txBody>
          <a:bodyPr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1205099" eaLnBrk="1" hangingPunct="1">
              <a:defRPr/>
            </a:pPr>
            <a:r>
              <a:rPr lang="en-GB" altLang="ja-JP" sz="991" b="1" dirty="0">
                <a:solidFill>
                  <a:prstClr val="white"/>
                </a:solidFill>
                <a:latin typeface="Calibri" panose="020F0502020204030204" pitchFamily="34" charset="0"/>
                <a:ea typeface="MS PGothic" pitchFamily="34" charset="-128"/>
              </a:rPr>
              <a:t>Certification Support</a:t>
            </a:r>
          </a:p>
        </p:txBody>
      </p:sp>
      <p:sp>
        <p:nvSpPr>
          <p:cNvPr id="45" name="Triangle 28">
            <a:extLst>
              <a:ext uri="{FF2B5EF4-FFF2-40B4-BE49-F238E27FC236}">
                <a16:creationId xmlns:a16="http://schemas.microsoft.com/office/drawing/2014/main" id="{29FA4592-2469-4056-979F-A2A621770424}"/>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6" name="Rectangle 45">
            <a:extLst>
              <a:ext uri="{FF2B5EF4-FFF2-40B4-BE49-F238E27FC236}">
                <a16:creationId xmlns:a16="http://schemas.microsoft.com/office/drawing/2014/main" id="{BC12D62C-ACDB-4B7D-AE3E-17F9E53A8DB8}"/>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736877653"/>
      </p:ext>
    </p:extLst>
  </p:cSld>
  <p:clrMapOvr>
    <a:masterClrMapping/>
  </p:clrMapOvr>
  <p:transition spd="med">
    <p:pull/>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a:grpSpLocks noChangeAspect="1"/>
          </p:cNvGrpSpPr>
          <p:nvPr/>
        </p:nvGrpSpPr>
        <p:grpSpPr>
          <a:xfrm>
            <a:off x="339401" y="515838"/>
            <a:ext cx="1979366" cy="370908"/>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2573" dirty="0">
                <a:solidFill>
                  <a:schemeClr val="bg1"/>
                </a:solidFill>
                <a:latin typeface="Times New Roman" panose="02020603050405020304" pitchFamily="18" charset="0"/>
                <a:cs typeface="Times New Roman" panose="02020603050405020304" pitchFamily="18" charset="0"/>
              </a:endParaRPr>
            </a:p>
          </p:txBody>
        </p:sp>
      </p:grpSp>
      <p:sp>
        <p:nvSpPr>
          <p:cNvPr id="33" name="Triangle 28">
            <a:extLst>
              <a:ext uri="{FF2B5EF4-FFF2-40B4-BE49-F238E27FC236}">
                <a16:creationId xmlns:a16="http://schemas.microsoft.com/office/drawing/2014/main" id="{96A68D10-67E7-4D70-9984-78405A5FC4C3}"/>
              </a:ext>
            </a:extLst>
          </p:cNvPr>
          <p:cNvSpPr/>
          <p:nvPr/>
        </p:nvSpPr>
        <p:spPr>
          <a:xfrm rot="16200000">
            <a:off x="11053750" y="399374"/>
            <a:ext cx="264966" cy="228419"/>
          </a:xfrm>
          <a:prstGeom prst="triangle">
            <a:avLst/>
          </a:prstGeom>
          <a:solidFill>
            <a:srgbClr val="005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08241">
              <a:defRPr/>
            </a:pPr>
            <a:endParaRPr lang="en-US" sz="2382" dirty="0">
              <a:solidFill>
                <a:prstClr val="white"/>
              </a:solidFill>
              <a:latin typeface="Times New Roman" panose="02020603050405020304" pitchFamily="18" charset="0"/>
              <a:cs typeface="Times New Roman" panose="02020603050405020304" pitchFamily="18" charset="0"/>
            </a:endParaRPr>
          </a:p>
        </p:txBody>
      </p:sp>
      <p:graphicFrame>
        <p:nvGraphicFramePr>
          <p:cNvPr id="18" name="Table 17">
            <a:extLst>
              <a:ext uri="{FF2B5EF4-FFF2-40B4-BE49-F238E27FC236}">
                <a16:creationId xmlns:a16="http://schemas.microsoft.com/office/drawing/2014/main" id="{18BC657A-AA5C-489B-9F64-EA78C65BF02E}"/>
              </a:ext>
            </a:extLst>
          </p:cNvPr>
          <p:cNvGraphicFramePr>
            <a:graphicFrameLocks noGrp="1"/>
          </p:cNvGraphicFramePr>
          <p:nvPr>
            <p:extLst>
              <p:ext uri="{D42A27DB-BD31-4B8C-83A1-F6EECF244321}">
                <p14:modId xmlns:p14="http://schemas.microsoft.com/office/powerpoint/2010/main" val="1488170821"/>
              </p:ext>
            </p:extLst>
          </p:nvPr>
        </p:nvGraphicFramePr>
        <p:xfrm>
          <a:off x="2103121" y="1446571"/>
          <a:ext cx="8968902" cy="5172294"/>
        </p:xfrm>
        <a:graphic>
          <a:graphicData uri="http://schemas.openxmlformats.org/drawingml/2006/table">
            <a:tbl>
              <a:tblPr/>
              <a:tblGrid>
                <a:gridCol w="8968902">
                  <a:extLst>
                    <a:ext uri="{9D8B030D-6E8A-4147-A177-3AD203B41FA5}">
                      <a16:colId xmlns:a16="http://schemas.microsoft.com/office/drawing/2014/main" val="3169011653"/>
                    </a:ext>
                  </a:extLst>
                </a:gridCol>
              </a:tblGrid>
              <a:tr h="4799065">
                <a:tc>
                  <a:txBody>
                    <a:bodyPr/>
                    <a:lstStyle/>
                    <a:p>
                      <a:pPr marL="0" indent="0" algn="just" fontAlgn="auto">
                        <a:spcBef>
                          <a:spcPts val="0"/>
                        </a:spcBef>
                        <a:spcAft>
                          <a:spcPts val="0"/>
                        </a:spcAft>
                        <a:buNone/>
                      </a:pPr>
                      <a:r>
                        <a:rPr lang="en-US" sz="1000" dirty="0">
                          <a:latin typeface="Calibri" panose="020F0502020204030204" pitchFamily="34" charset="0"/>
                          <a:ea typeface="Verdana" panose="020B0604030504040204" pitchFamily="34" charset="0"/>
                          <a:cs typeface="Calibri" panose="020F0502020204030204" pitchFamily="34" charset="0"/>
                        </a:rPr>
                        <a:t>On behalf of Deloitte &amp; Touche Advisory Saudi Limited, hereinafter referred to as “Deloitte” and the members of our service team, we thank you for giving Deloitte the opportunity to submit our proposal</a:t>
                      </a:r>
                      <a:r>
                        <a:rPr lang="en-US" sz="1000" b="1" dirty="0">
                          <a:latin typeface="Calibri" panose="020F0502020204030204" pitchFamily="34" charset="0"/>
                          <a:ea typeface="Verdana" panose="020B0604030504040204" pitchFamily="34" charset="0"/>
                          <a:cs typeface="Calibri" panose="020F0502020204030204" pitchFamily="34" charset="0"/>
                        </a:rPr>
                        <a:t> </a:t>
                      </a:r>
                      <a:r>
                        <a:rPr lang="en-US" sz="1000" dirty="0">
                          <a:latin typeface="Calibri" panose="020F0502020204030204" pitchFamily="34" charset="0"/>
                          <a:ea typeface="Verdana" panose="020B0604030504040204" pitchFamily="34" charset="0"/>
                          <a:cs typeface="Calibri" panose="020F0502020204030204" pitchFamily="34" charset="0"/>
                        </a:rPr>
                        <a:t>for </a:t>
                      </a:r>
                      <a:r>
                        <a:rPr lang="en-US" sz="1000" b="1" dirty="0">
                          <a:solidFill>
                            <a:schemeClr val="tx1">
                              <a:lumMod val="85000"/>
                              <a:lumOff val="15000"/>
                            </a:schemeClr>
                          </a:solidFill>
                          <a:latin typeface="Calibri" panose="020F0502020204030204" pitchFamily="34" charset="0"/>
                          <a:cs typeface="Calibri" panose="020F0502020204030204" pitchFamily="34" charset="0"/>
                        </a:rPr>
                        <a:t>“Business Continuity Management System for stc</a:t>
                      </a:r>
                      <a:r>
                        <a:rPr lang="en-US" sz="1000" b="1" dirty="0">
                          <a:latin typeface="Calibri" panose="020F0502020204030204" pitchFamily="34" charset="0"/>
                          <a:ea typeface="Verdana" panose="020B0604030504040204" pitchFamily="34" charset="0"/>
                          <a:cs typeface="Calibri" panose="020F0502020204030204" pitchFamily="34" charset="0"/>
                        </a:rPr>
                        <a:t>”</a:t>
                      </a:r>
                      <a:r>
                        <a:rPr lang="en-US" sz="1000" dirty="0">
                          <a:latin typeface="Calibri" panose="020F0502020204030204" pitchFamily="34" charset="0"/>
                          <a:ea typeface="Verdana" panose="020B0604030504040204" pitchFamily="34" charset="0"/>
                          <a:cs typeface="Calibri" panose="020F0502020204030204" pitchFamily="34" charset="0"/>
                        </a:rPr>
                        <a:t> to your esteemed organization.</a:t>
                      </a:r>
                      <a:r>
                        <a:rPr lang="en-US" sz="1000" dirty="0">
                          <a:solidFill>
                            <a:schemeClr val="tx1">
                              <a:lumMod val="85000"/>
                              <a:lumOff val="15000"/>
                            </a:schemeClr>
                          </a:solidFill>
                          <a:latin typeface="Calibri" panose="020F0502020204030204" pitchFamily="34" charset="0"/>
                          <a:cs typeface="Calibri" panose="020F0502020204030204" pitchFamily="34" charset="0"/>
                        </a:rPr>
                        <a:t> </a:t>
                      </a:r>
                      <a:r>
                        <a:rPr lang="en-US" sz="1000" dirty="0">
                          <a:latin typeface="Calibri" panose="020F0502020204030204" pitchFamily="34" charset="0"/>
                          <a:ea typeface="Verdana" panose="020B0604030504040204" pitchFamily="34" charset="0"/>
                          <a:cs typeface="Calibri" panose="020F0502020204030204" pitchFamily="34" charset="0"/>
                        </a:rPr>
                        <a:t>It is an opportunity to develop our relationship with ‘</a:t>
                      </a:r>
                      <a:r>
                        <a:rPr lang="en-US" sz="1000" b="1" dirty="0">
                          <a:latin typeface="Calibri" panose="020F0502020204030204" pitchFamily="34" charset="0"/>
                          <a:ea typeface="Verdana" panose="020B0604030504040204" pitchFamily="34" charset="0"/>
                          <a:cs typeface="Calibri" panose="020F0502020204030204" pitchFamily="34" charset="0"/>
                        </a:rPr>
                        <a:t>stc</a:t>
                      </a:r>
                      <a:r>
                        <a:rPr lang="en-US" sz="1000" dirty="0">
                          <a:latin typeface="Calibri" panose="020F0502020204030204" pitchFamily="34" charset="0"/>
                          <a:ea typeface="Verdana" panose="020B0604030504040204" pitchFamily="34" charset="0"/>
                          <a:cs typeface="Calibri" panose="020F0502020204030204" pitchFamily="34" charset="0"/>
                        </a:rPr>
                        <a:t>’ and support you to obtain the desired outcomes. </a:t>
                      </a:r>
                    </a:p>
                    <a:p>
                      <a:pPr marL="0" indent="0" algn="just" fontAlgn="auto">
                        <a:spcBef>
                          <a:spcPts val="0"/>
                        </a:spcBef>
                        <a:spcAft>
                          <a:spcPts val="0"/>
                        </a:spcAft>
                        <a:buNone/>
                      </a:pPr>
                      <a:endParaRPr lang="en-US" sz="1000" dirty="0">
                        <a:latin typeface="Calibri" panose="020F0502020204030204" pitchFamily="34" charset="0"/>
                        <a:ea typeface="Verdana" panose="020B0604030504040204" pitchFamily="34" charset="0"/>
                        <a:cs typeface="Calibri" panose="020F0502020204030204" pitchFamily="34" charset="0"/>
                      </a:endParaRPr>
                    </a:p>
                    <a:p>
                      <a:pPr marL="0" lvl="0" indent="0" algn="just" defTabSz="1208241" rtl="0" eaLnBrk="1" fontAlgn="auto" latinLnBrk="0" hangingPunct="1">
                        <a:spcBef>
                          <a:spcPts val="0"/>
                        </a:spcBef>
                        <a:spcAft>
                          <a:spcPts val="600"/>
                        </a:spcAft>
                        <a:buNone/>
                      </a:pPr>
                      <a:r>
                        <a:rPr lang="en-US" sz="1000" dirty="0">
                          <a:solidFill>
                            <a:schemeClr val="tx1">
                              <a:lumMod val="85000"/>
                              <a:lumOff val="15000"/>
                            </a:schemeClr>
                          </a:solidFill>
                          <a:latin typeface="Calibri" panose="020F0502020204030204" pitchFamily="34" charset="0"/>
                          <a:cs typeface="Calibri" panose="020F0502020204030204" pitchFamily="34" charset="0"/>
                        </a:rPr>
                        <a:t>This proposal includes all the pertinent information required to address your needs and contains details of our people, credentials, tools and technology that differentiate Deloitte from the competition. Deloitte is the most qualified firm to meet your objectives, and this is based on the following:</a:t>
                      </a:r>
                      <a:endPar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endParaRPr>
                    </a:p>
                    <a:p>
                      <a:pPr marL="0" lvl="0" indent="0" algn="just" defTabSz="1208241" rtl="0" eaLnBrk="1" latinLnBrk="0" hangingPunct="1">
                        <a:spcBef>
                          <a:spcPts val="0"/>
                        </a:spcBef>
                        <a:spcAft>
                          <a:spcPts val="600"/>
                        </a:spcAft>
                        <a:buNone/>
                      </a:pPr>
                      <a:r>
                        <a:rPr lang="en-US" sz="1000" b="1" kern="1200" dirty="0">
                          <a:solidFill>
                            <a:srgbClr val="0076A8"/>
                          </a:solidFill>
                          <a:latin typeface="Calibri" panose="020F0502020204030204" pitchFamily="34" charset="0"/>
                          <a:ea typeface="Verdana"/>
                          <a:cs typeface="Calibri" panose="020F0502020204030204" pitchFamily="34" charset="0"/>
                        </a:rPr>
                        <a:t>Our Relationship with stc</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 </a:t>
                      </a:r>
                      <a:r>
                        <a:rPr lang="en-US" sz="1000" dirty="0">
                          <a:latin typeface="Calibri" panose="020F0502020204030204" pitchFamily="34" charset="0"/>
                          <a:ea typeface="Verdana" panose="020B0604030504040204" pitchFamily="34" charset="0"/>
                          <a:cs typeface="Calibri" panose="020F0502020204030204" pitchFamily="34" charset="0"/>
                        </a:rPr>
                        <a:t>Deloitte has previously worked with stc on multiple projects including </a:t>
                      </a:r>
                      <a:r>
                        <a:rPr lang="en-GB" sz="1000" dirty="0">
                          <a:latin typeface="Calibri" panose="020F0502020204030204" pitchFamily="34" charset="0"/>
                          <a:ea typeface="Verdana" panose="020B0604030504040204" pitchFamily="34" charset="0"/>
                          <a:cs typeface="Calibri" panose="020F0502020204030204" pitchFamily="34" charset="0"/>
                        </a:rPr>
                        <a:t>successful delivery of </a:t>
                      </a:r>
                      <a:r>
                        <a:rPr lang="en-GB" sz="1000" b="1" dirty="0">
                          <a:latin typeface="Calibri" panose="020F0502020204030204" pitchFamily="34" charset="0"/>
                          <a:ea typeface="Verdana" panose="020B0604030504040204" pitchFamily="34" charset="0"/>
                          <a:cs typeface="Calibri" panose="020F0502020204030204" pitchFamily="34" charset="0"/>
                        </a:rPr>
                        <a:t>BCM and RM Maturity Assessment for subsidiaries, BCM Implementation for solutions, BCM Implementation for Channels, BCM Program Development for stc Pay, </a:t>
                      </a:r>
                      <a:r>
                        <a:rPr lang="en-US" sz="1000" b="1" dirty="0">
                          <a:latin typeface="Calibri" panose="020F0502020204030204" pitchFamily="34" charset="0"/>
                          <a:ea typeface="Verdana" panose="020B0604030504040204" pitchFamily="34" charset="0"/>
                          <a:cs typeface="Calibri" panose="020F0502020204030204" pitchFamily="34" charset="0"/>
                        </a:rPr>
                        <a:t>Compliance Management Maturity Assessment, Regulatory IA Review, 5G Readiness Review, Technology Strategy &amp; Architecture Audit, Risk Management Program 2021</a:t>
                      </a:r>
                      <a:r>
                        <a:rPr lang="en-US" sz="1000" dirty="0">
                          <a:latin typeface="Calibri" panose="020F0502020204030204" pitchFamily="34" charset="0"/>
                          <a:ea typeface="Verdana" panose="020B0604030504040204" pitchFamily="34" charset="0"/>
                          <a:cs typeface="Calibri" panose="020F0502020204030204" pitchFamily="34" charset="0"/>
                        </a:rPr>
                        <a:t>, projects in the recent years. Our past experience with you has given us an insight into stc’s organization and its subsidiaries, processes, existing risks and systems which we can leverage in this project</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a:t>
                      </a:r>
                    </a:p>
                    <a:p>
                      <a:pPr marL="0" marR="0" lvl="0" indent="0" algn="just" defTabSz="1208241" rtl="0" eaLnBrk="1" fontAlgn="auto" latinLnBrk="0" hangingPunct="1">
                        <a:lnSpc>
                          <a:spcPct val="100000"/>
                        </a:lnSpc>
                        <a:spcBef>
                          <a:spcPts val="0"/>
                        </a:spcBef>
                        <a:spcAft>
                          <a:spcPts val="600"/>
                        </a:spcAft>
                        <a:buClrTx/>
                        <a:buSzTx/>
                        <a:buFontTx/>
                        <a:buNone/>
                        <a:tabLst/>
                        <a:defRPr/>
                      </a:pPr>
                      <a:r>
                        <a:rPr lang="en-US" sz="1000" b="1" kern="1200" dirty="0">
                          <a:solidFill>
                            <a:srgbClr val="0076A8"/>
                          </a:solidFill>
                          <a:latin typeface="Calibri" panose="020F0502020204030204" pitchFamily="34" charset="0"/>
                          <a:ea typeface="Verdana"/>
                          <a:cs typeface="Calibri" panose="020F0502020204030204" pitchFamily="34" charset="0"/>
                        </a:rPr>
                        <a:t>Our Approach</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 We have developed our approach based on our extensive experience in establishing and implementing </a:t>
                      </a:r>
                      <a:r>
                        <a:rPr lang="en-US" sz="1000" dirty="0">
                          <a:solidFill>
                            <a:schemeClr val="tx1">
                              <a:lumMod val="85000"/>
                              <a:lumOff val="15000"/>
                            </a:schemeClr>
                          </a:solidFill>
                          <a:latin typeface="Calibri" panose="020F0502020204030204" pitchFamily="34" charset="0"/>
                          <a:cs typeface="Calibri" panose="020F0502020204030204" pitchFamily="34" charset="0"/>
                        </a:rPr>
                        <a:t>Business Continuity Management (BCM), Crisis Management and Disaster Recovery programs across the region, combined with our knowledge from delivering several end-to-end BCM programs in the Kingdom based on standards like ISO 22301:2019, ISO 22361:2022 and relevant international best practices</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In our proposed approach we have considered and provided activities to ensure that maximum benefit is delivered through the journey of this project. </a:t>
                      </a:r>
                    </a:p>
                    <a:p>
                      <a:pPr marL="0" marR="0" lvl="0" indent="0" algn="just" defTabSz="1208241" rtl="0" eaLnBrk="1" fontAlgn="auto" latinLnBrk="0" hangingPunct="1">
                        <a:lnSpc>
                          <a:spcPct val="100000"/>
                        </a:lnSpc>
                        <a:spcBef>
                          <a:spcPts val="0"/>
                        </a:spcBef>
                        <a:spcAft>
                          <a:spcPts val="600"/>
                        </a:spcAft>
                        <a:buClrTx/>
                        <a:buSzTx/>
                        <a:buFontTx/>
                        <a:buNone/>
                        <a:tabLst/>
                        <a:defRPr/>
                      </a:pPr>
                      <a:r>
                        <a:rPr lang="en-US" sz="1000" b="1" kern="1200" dirty="0">
                          <a:solidFill>
                            <a:srgbClr val="0076A8"/>
                          </a:solidFill>
                          <a:latin typeface="Calibri" panose="020F0502020204030204" pitchFamily="34" charset="0"/>
                          <a:ea typeface="Verdana"/>
                          <a:cs typeface="Calibri" panose="020F0502020204030204" pitchFamily="34" charset="0"/>
                        </a:rPr>
                        <a:t>Our Relevant Experience</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 Our proposed team has delivered various resilience programs within the Middle East. We have significant experience in establishing and implementing operational resilience, developing business continuity and crisis management capabilities and establishing the governance for effective resilience implementations. We have extensive experience in national and international standards (e.g., National Risk Council Resilience Guidelines, NCA ECC, DGA BCM Standard, ISO 22301, ISO 22361 etc.) and have delivered numerous engagements for clients in the Oil and Gas industries. </a:t>
                      </a:r>
                    </a:p>
                    <a:p>
                      <a:pPr marL="0" marR="0" lvl="0" indent="0" algn="just" defTabSz="1208241" rtl="0" eaLnBrk="1" fontAlgn="auto" latinLnBrk="0" hangingPunct="1">
                        <a:lnSpc>
                          <a:spcPct val="100000"/>
                        </a:lnSpc>
                        <a:spcBef>
                          <a:spcPts val="0"/>
                        </a:spcBef>
                        <a:spcAft>
                          <a:spcPts val="600"/>
                        </a:spcAft>
                        <a:buClrTx/>
                        <a:buSzTx/>
                        <a:buFontTx/>
                        <a:buNone/>
                        <a:tabLst/>
                        <a:defRPr/>
                      </a:pPr>
                      <a:r>
                        <a:rPr lang="en-US" sz="1000" b="1" kern="1200" dirty="0">
                          <a:solidFill>
                            <a:srgbClr val="0076A8"/>
                          </a:solidFill>
                          <a:latin typeface="Calibri" panose="020F0502020204030204" pitchFamily="34" charset="0"/>
                          <a:ea typeface="Verdana"/>
                          <a:cs typeface="Calibri" panose="020F0502020204030204" pitchFamily="34" charset="0"/>
                        </a:rPr>
                        <a:t>Our Engagement Team</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 </a:t>
                      </a:r>
                      <a:r>
                        <a:rPr lang="en-US" sz="1000" dirty="0">
                          <a:solidFill>
                            <a:schemeClr val="tx1">
                              <a:lumMod val="85000"/>
                              <a:lumOff val="15000"/>
                            </a:schemeClr>
                          </a:solidFill>
                          <a:latin typeface="Calibri" panose="020F0502020204030204" pitchFamily="34" charset="0"/>
                          <a:cs typeface="Calibri" panose="020F0502020204030204" pitchFamily="34" charset="0"/>
                        </a:rPr>
                        <a:t>Our diverse, multicultural and multilingual team has outstanding BCM experience with over 35 dedicated, BCM trained and certified professionals in the region, supported by 250 risk consultants. Our team received recognition by the Business Continuity Institute (BCI) as the 2016 Continuity &amp; Resilience Provider and the 2014 Business Continuity Provider and GCC Security Symposium &amp; CISO Awards 7</a:t>
                      </a:r>
                      <a:r>
                        <a:rPr lang="en-US" sz="1000" baseline="30000" dirty="0">
                          <a:solidFill>
                            <a:schemeClr val="tx1">
                              <a:lumMod val="85000"/>
                              <a:lumOff val="15000"/>
                            </a:schemeClr>
                          </a:solidFill>
                          <a:latin typeface="Calibri" panose="020F0502020204030204" pitchFamily="34" charset="0"/>
                          <a:cs typeface="Calibri" panose="020F0502020204030204" pitchFamily="34" charset="0"/>
                        </a:rPr>
                        <a:t>th</a:t>
                      </a:r>
                      <a:r>
                        <a:rPr lang="en-US" sz="1000" dirty="0">
                          <a:solidFill>
                            <a:schemeClr val="tx1">
                              <a:lumMod val="85000"/>
                              <a:lumOff val="15000"/>
                            </a:schemeClr>
                          </a:solidFill>
                          <a:latin typeface="Calibri" panose="020F0502020204030204" pitchFamily="34" charset="0"/>
                          <a:cs typeface="Calibri" panose="020F0502020204030204" pitchFamily="34" charset="0"/>
                        </a:rPr>
                        <a:t> Edition in Riyadh and UAE in the Year 2023. Our proposed team for this project consists of local and regional resources that have prior experience with several other organizations and will bring their experience directly to you.</a:t>
                      </a:r>
                    </a:p>
                    <a:p>
                      <a:pPr marL="0" lvl="0" indent="0" algn="just" defTabSz="1208241" rtl="0" eaLnBrk="1" latinLnBrk="0" hangingPunct="1">
                        <a:spcBef>
                          <a:spcPts val="0"/>
                        </a:spcBef>
                        <a:spcAft>
                          <a:spcPts val="600"/>
                        </a:spcAft>
                        <a:buNone/>
                      </a:pP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We look forward to extend our working relationship and are excited about the opportunity to serve stc on this important project. If you have any questions regarding the content of this proposal, please do not hesitate to contact our </a:t>
                      </a:r>
                      <a:r>
                        <a:rPr lang="en-US" sz="1000" dirty="0">
                          <a:solidFill>
                            <a:schemeClr val="tx1">
                              <a:lumMod val="85000"/>
                              <a:lumOff val="15000"/>
                            </a:schemeClr>
                          </a:solidFill>
                          <a:latin typeface="Calibri" panose="020F0502020204030204" pitchFamily="34" charset="0"/>
                          <a:cs typeface="Calibri" panose="020F0502020204030204" pitchFamily="34" charset="0"/>
                        </a:rPr>
                        <a:t>Cyber Partner, Tariq Ajmal at +971506522859, </a:t>
                      </a:r>
                      <a:r>
                        <a:rPr lang="nb-NO" sz="1000" dirty="0">
                          <a:solidFill>
                            <a:schemeClr val="tx1">
                              <a:lumMod val="85000"/>
                              <a:lumOff val="15000"/>
                            </a:schemeClr>
                          </a:solidFill>
                          <a:latin typeface="Calibri" panose="020F0502020204030204" pitchFamily="34" charset="0"/>
                          <a:cs typeface="Calibri" panose="020F0502020204030204" pitchFamily="34" charset="0"/>
                          <a:hlinkClick r:id="rId3"/>
                        </a:rPr>
                        <a:t>tajmal@deloitte.com</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or our Crisis &amp; Resilience Leader for KSA &amp; UAE, Arsalan Yousuf at </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hlinkClick r:id="rId4"/>
                        </a:rPr>
                        <a:t>aryousuf@deloitte.com</a:t>
                      </a: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 or +966595615678. </a:t>
                      </a:r>
                    </a:p>
                    <a:p>
                      <a:pPr marL="0" lvl="0" indent="0" algn="just" defTabSz="1208241" rtl="0" eaLnBrk="1" latinLnBrk="0" hangingPunct="1">
                        <a:spcBef>
                          <a:spcPts val="0"/>
                        </a:spcBef>
                        <a:spcAft>
                          <a:spcPts val="600"/>
                        </a:spcAft>
                        <a:buNone/>
                      </a:pPr>
                      <a:r>
                        <a:rPr lang="en-US" sz="1000" kern="1200" dirty="0">
                          <a:solidFill>
                            <a:schemeClr val="tx1">
                              <a:lumMod val="85000"/>
                              <a:lumOff val="15000"/>
                            </a:schemeClr>
                          </a:solidFill>
                          <a:latin typeface="Calibri" panose="020F0502020204030204" pitchFamily="34" charset="0"/>
                          <a:ea typeface="+mn-ea"/>
                          <a:cs typeface="Calibri" panose="020F0502020204030204" pitchFamily="34" charset="0"/>
                        </a:rPr>
                        <a:t>Yours sincerely, </a:t>
                      </a:r>
                    </a:p>
                    <a:p>
                      <a:pPr marL="0" indent="0" algn="just">
                        <a:spcBef>
                          <a:spcPts val="0"/>
                        </a:spcBef>
                        <a:spcAft>
                          <a:spcPts val="0"/>
                        </a:spcAft>
                        <a:buNone/>
                      </a:pPr>
                      <a:endParaRPr lang="en-US" sz="1000" dirty="0">
                        <a:solidFill>
                          <a:schemeClr val="tx1">
                            <a:lumMod val="85000"/>
                            <a:lumOff val="15000"/>
                          </a:schemeClr>
                        </a:solidFill>
                        <a:latin typeface="Calibri" panose="020F0502020204030204" pitchFamily="34" charset="0"/>
                        <a:cs typeface="Calibri" panose="020F0502020204030204" pitchFamily="34" charset="0"/>
                      </a:endParaRPr>
                    </a:p>
                    <a:p>
                      <a:pPr marL="0" lvl="0" indent="0" defTabSz="1219140">
                        <a:spcBef>
                          <a:spcPts val="0"/>
                        </a:spcBef>
                        <a:spcAft>
                          <a:spcPts val="0"/>
                        </a:spcAft>
                        <a:buSzTx/>
                        <a:buNone/>
                        <a:defRPr/>
                      </a:pPr>
                      <a:r>
                        <a:rPr lang="en-US" sz="1000" b="1" dirty="0">
                          <a:solidFill>
                            <a:srgbClr val="0076A8"/>
                          </a:solidFill>
                          <a:latin typeface="Calibri" panose="020F0502020204030204" pitchFamily="34" charset="0"/>
                          <a:ea typeface="Verdana"/>
                          <a:cs typeface="Calibri" panose="020F0502020204030204" pitchFamily="34" charset="0"/>
                        </a:rPr>
                        <a:t>Khaled Al Sagga</a:t>
                      </a:r>
                      <a:br>
                        <a:rPr lang="en-US" sz="1000" b="1" dirty="0">
                          <a:latin typeface="Calibri" panose="020F0502020204030204" pitchFamily="34" charset="0"/>
                          <a:cs typeface="Calibri" panose="020F0502020204030204" pitchFamily="34" charset="0"/>
                        </a:rPr>
                      </a:br>
                      <a:r>
                        <a:rPr lang="en-US" sz="1000" dirty="0">
                          <a:solidFill>
                            <a:schemeClr val="tx1">
                              <a:lumMod val="85000"/>
                              <a:lumOff val="15000"/>
                            </a:schemeClr>
                          </a:solidFill>
                          <a:latin typeface="Calibri" panose="020F0502020204030204" pitchFamily="34" charset="0"/>
                          <a:cs typeface="Calibri" panose="020F0502020204030204" pitchFamily="34" charset="0"/>
                        </a:rPr>
                        <a:t>Partner</a:t>
                      </a:r>
                    </a:p>
                    <a:p>
                      <a:pPr marL="0" lvl="0" indent="0" defTabSz="1219140">
                        <a:spcBef>
                          <a:spcPts val="0"/>
                        </a:spcBef>
                        <a:spcAft>
                          <a:spcPts val="0"/>
                        </a:spcAft>
                        <a:buSzTx/>
                        <a:buNone/>
                        <a:defRPr/>
                      </a:pPr>
                      <a:r>
                        <a:rPr lang="en-US" sz="1000" dirty="0">
                          <a:solidFill>
                            <a:schemeClr val="tx1">
                              <a:lumMod val="85000"/>
                              <a:lumOff val="15000"/>
                            </a:schemeClr>
                          </a:solidFill>
                          <a:latin typeface="Calibri" panose="020F0502020204030204" pitchFamily="34" charset="0"/>
                          <a:cs typeface="Calibri" panose="020F0502020204030204" pitchFamily="34" charset="0"/>
                        </a:rPr>
                        <a:t>Deloitte &amp; Touche Advisory Saudi Limited</a:t>
                      </a:r>
                    </a:p>
                  </a:txBody>
                  <a:tcPr marL="0" marR="60394" marT="33447" marB="33447"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89339332"/>
                  </a:ext>
                </a:extLst>
              </a:tr>
            </a:tbl>
          </a:graphicData>
        </a:graphic>
      </p:graphicFrame>
      <p:sp>
        <p:nvSpPr>
          <p:cNvPr id="34" name="Text Placeholder 3">
            <a:extLst>
              <a:ext uri="{FF2B5EF4-FFF2-40B4-BE49-F238E27FC236}">
                <a16:creationId xmlns:a16="http://schemas.microsoft.com/office/drawing/2014/main" id="{F0382A71-1D6D-4A94-807C-F3241BAE189A}"/>
              </a:ext>
            </a:extLst>
          </p:cNvPr>
          <p:cNvSpPr txBox="1">
            <a:spLocks/>
          </p:cNvSpPr>
          <p:nvPr/>
        </p:nvSpPr>
        <p:spPr>
          <a:xfrm>
            <a:off x="8428036" y="235814"/>
            <a:ext cx="2561020" cy="1020906"/>
          </a:xfrm>
          <a:prstGeom prst="rect">
            <a:avLst/>
          </a:prstGeom>
        </p:spPr>
        <p:txBody>
          <a:bodyPr vert="horz" lIns="0" tIns="0" rIns="0" bIns="0" rtlCol="0">
            <a:noAutofit/>
          </a:bodyPr>
          <a:lstStyle>
            <a:lvl1pPr marL="0" indent="0" algn="r" defTabSz="1219170" rtl="0" eaLnBrk="1" latinLnBrk="0" hangingPunct="1">
              <a:lnSpc>
                <a:spcPct val="120000"/>
              </a:lnSpc>
              <a:spcBef>
                <a:spcPts val="0"/>
              </a:spcBef>
              <a:spcAft>
                <a:spcPts val="0"/>
              </a:spcAft>
              <a:buSzPct val="100000"/>
              <a:buFont typeface="Arial" panose="020B0604020202020204" pitchFamily="34" charset="0"/>
              <a:buNone/>
              <a:defRPr sz="8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841" b="1" dirty="0">
                <a:latin typeface="Calibri" panose="020F0502020204030204" pitchFamily="34" charset="0"/>
                <a:cs typeface="Calibri" panose="020F0502020204030204" pitchFamily="34" charset="0"/>
              </a:rPr>
              <a:t>Deloitte &amp; Touche Advisory Saudi Ltd.</a:t>
            </a:r>
          </a:p>
          <a:p>
            <a:r>
              <a:rPr lang="en-US" sz="841" dirty="0">
                <a:latin typeface="Calibri" panose="020F0502020204030204" pitchFamily="34" charset="0"/>
                <a:cs typeface="Calibri" panose="020F0502020204030204" pitchFamily="34" charset="0"/>
              </a:rPr>
              <a:t>Prince Turki Bin Abdullah Al-Saud Street, Sulaimania Area</a:t>
            </a:r>
          </a:p>
          <a:p>
            <a:r>
              <a:rPr lang="en-US" sz="841" dirty="0">
                <a:latin typeface="Calibri" panose="020F0502020204030204" pitchFamily="34" charset="0"/>
                <a:cs typeface="Calibri" panose="020F0502020204030204" pitchFamily="34" charset="0"/>
              </a:rPr>
              <a:t>P.O. Box: 213, Riyadh – 11411, Kingdom of Saudi Arabia</a:t>
            </a:r>
          </a:p>
          <a:p>
            <a:r>
              <a:rPr lang="en-US" sz="841" dirty="0">
                <a:latin typeface="Calibri" panose="020F0502020204030204" pitchFamily="34" charset="0"/>
                <a:cs typeface="Calibri" panose="020F0502020204030204" pitchFamily="34" charset="0"/>
              </a:rPr>
              <a:t>Tel:+966 (0)11 2828 500</a:t>
            </a:r>
          </a:p>
          <a:p>
            <a:r>
              <a:rPr lang="en-US" sz="841" dirty="0">
                <a:latin typeface="Calibri" panose="020F0502020204030204" pitchFamily="34" charset="0"/>
                <a:cs typeface="Calibri" panose="020F0502020204030204" pitchFamily="34" charset="0"/>
              </a:rPr>
              <a:t>Fax:+966 (0)11 4761 350</a:t>
            </a:r>
          </a:p>
          <a:p>
            <a:r>
              <a:rPr lang="en-US" sz="841" dirty="0">
                <a:latin typeface="Calibri" panose="020F0502020204030204" pitchFamily="34" charset="0"/>
                <a:cs typeface="Calibri" panose="020F0502020204030204" pitchFamily="34" charset="0"/>
                <a:hlinkClick r:id="rId5"/>
              </a:rPr>
              <a:t>www.deloitte.com</a:t>
            </a:r>
            <a:endParaRPr lang="en-US" sz="841" dirty="0">
              <a:latin typeface="Calibri" panose="020F0502020204030204" pitchFamily="34" charset="0"/>
              <a:cs typeface="Calibri" panose="020F0502020204030204" pitchFamily="34" charset="0"/>
            </a:endParaRPr>
          </a:p>
        </p:txBody>
      </p:sp>
      <p:sp>
        <p:nvSpPr>
          <p:cNvPr id="35" name="Text Placeholder 4">
            <a:extLst>
              <a:ext uri="{FF2B5EF4-FFF2-40B4-BE49-F238E27FC236}">
                <a16:creationId xmlns:a16="http://schemas.microsoft.com/office/drawing/2014/main" id="{987C66D7-8A39-4A09-A6AC-B57FC3228010}"/>
              </a:ext>
            </a:extLst>
          </p:cNvPr>
          <p:cNvSpPr txBox="1">
            <a:spLocks/>
          </p:cNvSpPr>
          <p:nvPr/>
        </p:nvSpPr>
        <p:spPr>
          <a:xfrm>
            <a:off x="9830800" y="1232354"/>
            <a:ext cx="1158257" cy="227265"/>
          </a:xfrm>
          <a:prstGeom prst="rect">
            <a:avLst/>
          </a:prstGeom>
        </p:spPr>
        <p:txBody>
          <a:bodyPr vert="horz" lIns="0" tIns="0" rIns="0" bIns="0" rtlCol="0">
            <a:noAutofit/>
          </a:bodyPr>
          <a:lstStyle>
            <a:lvl1pPr marL="0" indent="0" algn="r" defTabSz="1219170" rtl="0" eaLnBrk="1" latinLnBrk="0" hangingPunct="1">
              <a:lnSpc>
                <a:spcPct val="120000"/>
              </a:lnSpc>
              <a:spcBef>
                <a:spcPts val="0"/>
              </a:spcBef>
              <a:spcAft>
                <a:spcPts val="0"/>
              </a:spcAft>
              <a:buSzPct val="100000"/>
              <a:buFont typeface="Arial" panose="020B0604020202020204" pitchFamily="34" charset="0"/>
              <a:buNone/>
              <a:defRPr sz="8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841" b="1" i="1" dirty="0">
                <a:latin typeface="Calibri" panose="020F0502020204030204" pitchFamily="34" charset="0"/>
                <a:cs typeface="Calibri" panose="020F0502020204030204" pitchFamily="34" charset="0"/>
              </a:rPr>
              <a:t>Deloitte Ref.: JO-7252586</a:t>
            </a:r>
            <a:endParaRPr lang="en-US" sz="841" b="1" i="1" dirty="0">
              <a:highlight>
                <a:srgbClr val="FFFF00"/>
              </a:highlight>
              <a:latin typeface="Calibri" panose="020F0502020204030204" pitchFamily="34" charset="0"/>
              <a:cs typeface="Calibri" panose="020F0502020204030204" pitchFamily="34" charset="0"/>
            </a:endParaRPr>
          </a:p>
        </p:txBody>
      </p:sp>
      <p:sp>
        <p:nvSpPr>
          <p:cNvPr id="36" name="Text Placeholder 4">
            <a:extLst>
              <a:ext uri="{FF2B5EF4-FFF2-40B4-BE49-F238E27FC236}">
                <a16:creationId xmlns:a16="http://schemas.microsoft.com/office/drawing/2014/main" id="{94B38083-263A-41F2-8317-C7F1FA873224}"/>
              </a:ext>
            </a:extLst>
          </p:cNvPr>
          <p:cNvSpPr txBox="1">
            <a:spLocks/>
          </p:cNvSpPr>
          <p:nvPr/>
        </p:nvSpPr>
        <p:spPr>
          <a:xfrm>
            <a:off x="242033" y="1145596"/>
            <a:ext cx="1566265" cy="24240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091" b="1" dirty="0">
                <a:cs typeface="Calibri" panose="020F0502020204030204" pitchFamily="34" charset="0"/>
              </a:rPr>
              <a:t>Private &amp; Confidential</a:t>
            </a:r>
          </a:p>
        </p:txBody>
      </p:sp>
      <p:sp>
        <p:nvSpPr>
          <p:cNvPr id="37" name="Rectangle 36">
            <a:extLst>
              <a:ext uri="{FF2B5EF4-FFF2-40B4-BE49-F238E27FC236}">
                <a16:creationId xmlns:a16="http://schemas.microsoft.com/office/drawing/2014/main" id="{FDBC7785-3152-4EEF-B887-F33EB9EFC9D5}"/>
              </a:ext>
            </a:extLst>
          </p:cNvPr>
          <p:cNvSpPr/>
          <p:nvPr/>
        </p:nvSpPr>
        <p:spPr>
          <a:xfrm>
            <a:off x="242033" y="1446571"/>
            <a:ext cx="1200970" cy="251672"/>
          </a:xfrm>
          <a:prstGeom prst="rect">
            <a:avLst/>
          </a:prstGeom>
        </p:spPr>
        <p:txBody>
          <a:bodyPr wrap="none">
            <a:spAutoFit/>
          </a:bodyPr>
          <a:lstStyle/>
          <a:p>
            <a:pPr fontAlgn="base">
              <a:lnSpc>
                <a:spcPct val="110000"/>
              </a:lnSpc>
              <a:spcAft>
                <a:spcPts val="300"/>
              </a:spcAft>
              <a:buClr>
                <a:srgbClr val="283C82"/>
              </a:buClr>
              <a:buSzPct val="100000"/>
              <a:tabLst>
                <a:tab pos="2602431" algn="l"/>
              </a:tabLst>
            </a:pPr>
            <a:r>
              <a:rPr lang="en-US" sz="991" b="1" dirty="0">
                <a:latin typeface="Calibri" panose="020F0502020204030204" pitchFamily="34" charset="0"/>
                <a:ea typeface="Verdana" panose="020B0604030504040204" pitchFamily="34" charset="0"/>
                <a:cs typeface="Calibri" panose="020F0502020204030204" pitchFamily="34" charset="0"/>
              </a:rPr>
              <a:t>December 31, 2023</a:t>
            </a:r>
          </a:p>
        </p:txBody>
      </p:sp>
      <p:sp>
        <p:nvSpPr>
          <p:cNvPr id="39" name="Text Box 2">
            <a:extLst>
              <a:ext uri="{FF2B5EF4-FFF2-40B4-BE49-F238E27FC236}">
                <a16:creationId xmlns:a16="http://schemas.microsoft.com/office/drawing/2014/main" id="{3F49442B-9017-429D-B2A5-4812A7C15642}"/>
              </a:ext>
            </a:extLst>
          </p:cNvPr>
          <p:cNvSpPr txBox="1">
            <a:spLocks noChangeArrowheads="1"/>
          </p:cNvSpPr>
          <p:nvPr/>
        </p:nvSpPr>
        <p:spPr bwMode="gray">
          <a:xfrm>
            <a:off x="352460" y="1729094"/>
            <a:ext cx="1562710" cy="1188098"/>
          </a:xfrm>
          <a:prstGeom prst="rect">
            <a:avLst/>
          </a:prstGeom>
          <a:noFill/>
          <a:ln w="19050" algn="ctr">
            <a:noFill/>
            <a:miter lim="800000"/>
            <a:headEnd/>
            <a:tailEnd/>
          </a:ln>
        </p:spPr>
        <p:txBody>
          <a:bodyPr wrap="square" lIns="0" tIns="89194" rIns="0" bIns="89194" anchor="ctr">
            <a:spAutoFit/>
          </a:bodyPr>
          <a:lstStyle/>
          <a:p>
            <a:pPr marL="0" indent="0" fontAlgn="base">
              <a:spcAft>
                <a:spcPts val="300"/>
              </a:spcAft>
              <a:buClr>
                <a:srgbClr val="283C82"/>
              </a:buClr>
              <a:buNone/>
              <a:tabLst>
                <a:tab pos="2625970" algn="l"/>
              </a:tabLst>
            </a:pPr>
            <a:r>
              <a:rPr lang="en-US" sz="900" b="1" dirty="0">
                <a:latin typeface="Calibri" panose="020F0502020204030204" pitchFamily="34" charset="0"/>
                <a:ea typeface="Verdana" panose="020B0604030504040204" pitchFamily="34" charset="0"/>
                <a:cs typeface="Calibri" panose="020F0502020204030204" pitchFamily="34" charset="0"/>
              </a:rPr>
              <a:t>solutions by stc</a:t>
            </a:r>
          </a:p>
          <a:p>
            <a:pPr marL="0" indent="0" fontAlgn="base">
              <a:spcBef>
                <a:spcPts val="0"/>
              </a:spcBef>
              <a:buClr>
                <a:srgbClr val="283C82"/>
              </a:buClr>
              <a:buNone/>
              <a:tabLst>
                <a:tab pos="2625970" algn="l"/>
              </a:tabLst>
            </a:pPr>
            <a:r>
              <a:rPr lang="fr-FR" sz="900" dirty="0">
                <a:latin typeface="Calibri" panose="020F0502020204030204" pitchFamily="34" charset="0"/>
                <a:ea typeface="Verdana" panose="020B0604030504040204" pitchFamily="34" charset="0"/>
                <a:cs typeface="Calibri" panose="020F0502020204030204" pitchFamily="34" charset="0"/>
              </a:rPr>
              <a:t>Hamad m. Al Qahtani</a:t>
            </a:r>
          </a:p>
          <a:p>
            <a:pPr marL="0" indent="0" fontAlgn="base">
              <a:spcBef>
                <a:spcPts val="0"/>
              </a:spcBef>
              <a:buClr>
                <a:srgbClr val="283C82"/>
              </a:buClr>
              <a:buNone/>
              <a:tabLst>
                <a:tab pos="2625970" algn="l"/>
              </a:tabLst>
            </a:pPr>
            <a:r>
              <a:rPr lang="en-US" sz="900" dirty="0">
                <a:latin typeface="Calibri" panose="020F0502020204030204" pitchFamily="34" charset="0"/>
                <a:ea typeface="Verdana" panose="020B0604030504040204" pitchFamily="34" charset="0"/>
                <a:cs typeface="Calibri" panose="020F0502020204030204" pitchFamily="34" charset="0"/>
              </a:rPr>
              <a:t>Sell To Sales</a:t>
            </a:r>
          </a:p>
          <a:p>
            <a:pPr marL="0" indent="0" fontAlgn="base">
              <a:spcBef>
                <a:spcPts val="0"/>
              </a:spcBef>
              <a:buClr>
                <a:srgbClr val="283C82"/>
              </a:buClr>
              <a:buNone/>
              <a:tabLst>
                <a:tab pos="2625970" algn="l"/>
              </a:tabLst>
            </a:pPr>
            <a:r>
              <a:rPr lang="en-US" sz="900" dirty="0">
                <a:latin typeface="Calibri" panose="020F0502020204030204" pitchFamily="34" charset="0"/>
                <a:ea typeface="Verdana" panose="020B0604030504040204" pitchFamily="34" charset="0"/>
                <a:cs typeface="Calibri" panose="020F0502020204030204" pitchFamily="34" charset="0"/>
              </a:rPr>
              <a:t>solutions by stc</a:t>
            </a:r>
          </a:p>
          <a:p>
            <a:pPr fontAlgn="base">
              <a:buClr>
                <a:srgbClr val="283C82"/>
              </a:buClr>
              <a:tabLst>
                <a:tab pos="2625970" algn="l"/>
              </a:tabLst>
            </a:pPr>
            <a:r>
              <a:rPr lang="fr-FR" sz="900" dirty="0">
                <a:latin typeface="Calibri" panose="020F0502020204030204" pitchFamily="34" charset="0"/>
                <a:ea typeface="Verdana" panose="020B0604030504040204" pitchFamily="34" charset="0"/>
                <a:cs typeface="Calibri" panose="020F0502020204030204" pitchFamily="34" charset="0"/>
              </a:rPr>
              <a:t>T: 0115251653</a:t>
            </a:r>
          </a:p>
          <a:p>
            <a:pPr fontAlgn="base">
              <a:buClr>
                <a:srgbClr val="283C82"/>
              </a:buClr>
              <a:tabLst>
                <a:tab pos="2625970" algn="l"/>
              </a:tabLst>
            </a:pPr>
            <a:r>
              <a:rPr lang="fr-FR" sz="900" dirty="0">
                <a:latin typeface="Calibri" panose="020F0502020204030204" pitchFamily="34" charset="0"/>
                <a:ea typeface="Verdana" panose="020B0604030504040204" pitchFamily="34" charset="0"/>
                <a:cs typeface="Calibri" panose="020F0502020204030204" pitchFamily="34" charset="0"/>
              </a:rPr>
              <a:t>M: +966554437029</a:t>
            </a:r>
          </a:p>
          <a:p>
            <a:pPr fontAlgn="base">
              <a:buClr>
                <a:srgbClr val="283C82"/>
              </a:buClr>
              <a:tabLst>
                <a:tab pos="2625970" algn="l"/>
              </a:tabLst>
            </a:pPr>
            <a:r>
              <a:rPr lang="fr-FR" sz="900" dirty="0">
                <a:latin typeface="Calibri" panose="020F0502020204030204" pitchFamily="34" charset="0"/>
                <a:ea typeface="Verdana" panose="020B0604030504040204" pitchFamily="34" charset="0"/>
                <a:cs typeface="Calibri" panose="020F0502020204030204" pitchFamily="34" charset="0"/>
                <a:hlinkClick r:id="rId6"/>
              </a:rPr>
              <a:t>haqahtani@solutions.com.sa</a:t>
            </a:r>
            <a:r>
              <a:rPr lang="fr-FR" sz="900" dirty="0">
                <a:latin typeface="Calibri" panose="020F0502020204030204" pitchFamily="34" charset="0"/>
                <a:ea typeface="Verdana" panose="020B0604030504040204" pitchFamily="34" charset="0"/>
                <a:cs typeface="Calibri" panose="020F0502020204030204" pitchFamily="34" charset="0"/>
              </a:rPr>
              <a:t> </a:t>
            </a:r>
          </a:p>
        </p:txBody>
      </p:sp>
      <p:sp>
        <p:nvSpPr>
          <p:cNvPr id="30" name="Rectangle 29">
            <a:extLst>
              <a:ext uri="{FF2B5EF4-FFF2-40B4-BE49-F238E27FC236}">
                <a16:creationId xmlns:a16="http://schemas.microsoft.com/office/drawing/2014/main" id="{160F961C-4EFE-4D26-A1D1-1A40944F473A}"/>
              </a:ext>
            </a:extLst>
          </p:cNvPr>
          <p:cNvSpPr/>
          <p:nvPr/>
        </p:nvSpPr>
        <p:spPr bwMode="gray">
          <a:xfrm>
            <a:off x="1" y="0"/>
            <a:ext cx="165462" cy="6858000"/>
          </a:xfrm>
          <a:prstGeom prst="rect">
            <a:avLst/>
          </a:prstGeom>
          <a:solidFill>
            <a:srgbClr val="005560"/>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62939732"/>
      </p:ext>
    </p:extLst>
  </p:cSld>
  <p:clrMapOvr>
    <a:masterClrMapping/>
  </p:clrMapOvr>
  <p:transition spd="med">
    <p:pull/>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66F94503-D0A3-4D59-B031-E66EEF59E9E1}"/>
              </a:ext>
            </a:extLst>
          </p:cNvPr>
          <p:cNvSpPr txBox="1">
            <a:spLocks/>
          </p:cNvSpPr>
          <p:nvPr/>
        </p:nvSpPr>
        <p:spPr bwMode="gray">
          <a:xfrm>
            <a:off x="522373" y="420286"/>
            <a:ext cx="11147258" cy="330986"/>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382" dirty="0">
                <a:latin typeface="Calibri" panose="020F0502020204030204" pitchFamily="34" charset="0"/>
              </a:rPr>
              <a:t>Approach &amp; Methodology</a:t>
            </a:r>
          </a:p>
        </p:txBody>
      </p:sp>
      <p:sp>
        <p:nvSpPr>
          <p:cNvPr id="18"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r>
              <a:rPr lang="en-US" sz="2382" dirty="0">
                <a:solidFill>
                  <a:srgbClr val="00ABAB"/>
                </a:solidFill>
                <a:latin typeface="Calibri" panose="020F0502020204030204" pitchFamily="34" charset="0"/>
              </a:rPr>
              <a:t>Proposed BCM Approach</a:t>
            </a:r>
            <a:endParaRPr lang="en-US" sz="1391" dirty="0">
              <a:latin typeface="Calibri" panose="020F0502020204030204" pitchFamily="34" charset="0"/>
            </a:endParaRPr>
          </a:p>
        </p:txBody>
      </p:sp>
      <p:sp>
        <p:nvSpPr>
          <p:cNvPr id="72" name="Triangle 28">
            <a:extLst>
              <a:ext uri="{FF2B5EF4-FFF2-40B4-BE49-F238E27FC236}">
                <a16:creationId xmlns:a16="http://schemas.microsoft.com/office/drawing/2014/main" id="{53FFB99F-441C-428E-9922-FA0E53B3E2DD}"/>
              </a:ext>
            </a:extLst>
          </p:cNvPr>
          <p:cNvSpPr/>
          <p:nvPr/>
        </p:nvSpPr>
        <p:spPr>
          <a:xfrm rot="16200000">
            <a:off x="11061924"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117" name="Rectangle 116">
            <a:extLst>
              <a:ext uri="{FF2B5EF4-FFF2-40B4-BE49-F238E27FC236}">
                <a16:creationId xmlns:a16="http://schemas.microsoft.com/office/drawing/2014/main" id="{7DAEA87B-DA27-881A-0CBA-28F9CEB78860}"/>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
        <p:nvSpPr>
          <p:cNvPr id="2" name="Text Placeholder 1">
            <a:extLst>
              <a:ext uri="{FF2B5EF4-FFF2-40B4-BE49-F238E27FC236}">
                <a16:creationId xmlns:a16="http://schemas.microsoft.com/office/drawing/2014/main" id="{4B4B86DC-733C-2802-3F64-3C30364EC2B8}"/>
              </a:ext>
            </a:extLst>
          </p:cNvPr>
          <p:cNvSpPr txBox="1">
            <a:spLocks/>
          </p:cNvSpPr>
          <p:nvPr/>
        </p:nvSpPr>
        <p:spPr>
          <a:xfrm>
            <a:off x="367183" y="1215295"/>
            <a:ext cx="11013083" cy="67615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51920" marR="441774" algn="just" defTabSz="906203">
              <a:spcAft>
                <a:spcPts val="591"/>
              </a:spcAft>
              <a:tabLst>
                <a:tab pos="116422" algn="l"/>
              </a:tabLst>
              <a:defRPr/>
            </a:pPr>
            <a:r>
              <a:rPr lang="en-US" sz="1091" dirty="0">
                <a:latin typeface="Calibri" panose="020F0502020204030204" pitchFamily="34" charset="0"/>
                <a:ea typeface="Verdana" panose="020B0604030504040204" pitchFamily="34" charset="0"/>
                <a:cs typeface="Calibri" panose="020F0502020204030204" pitchFamily="34" charset="0"/>
              </a:rPr>
              <a:t>Below provides a phased approach mapped to the project requirements, to deliver the desired outcomes for BCMS at stc.</a:t>
            </a:r>
          </a:p>
        </p:txBody>
      </p:sp>
      <p:grpSp>
        <p:nvGrpSpPr>
          <p:cNvPr id="3" name="Group 2">
            <a:extLst>
              <a:ext uri="{FF2B5EF4-FFF2-40B4-BE49-F238E27FC236}">
                <a16:creationId xmlns:a16="http://schemas.microsoft.com/office/drawing/2014/main" id="{6B4FADC5-1D12-B542-E8D4-469218FE0F58}"/>
              </a:ext>
            </a:extLst>
          </p:cNvPr>
          <p:cNvGrpSpPr/>
          <p:nvPr/>
        </p:nvGrpSpPr>
        <p:grpSpPr>
          <a:xfrm>
            <a:off x="592457" y="1822988"/>
            <a:ext cx="9476477" cy="4550379"/>
            <a:chOff x="241113" y="2504011"/>
            <a:chExt cx="7119817" cy="3418768"/>
          </a:xfrm>
        </p:grpSpPr>
        <p:sp>
          <p:nvSpPr>
            <p:cNvPr id="4" name="Teardrop 3">
              <a:extLst>
                <a:ext uri="{FF2B5EF4-FFF2-40B4-BE49-F238E27FC236}">
                  <a16:creationId xmlns:a16="http://schemas.microsoft.com/office/drawing/2014/main" id="{26C91039-4518-8C6D-A5FD-16C1267C5FBF}"/>
                </a:ext>
              </a:extLst>
            </p:cNvPr>
            <p:cNvSpPr>
              <a:spLocks noChangeAspect="1"/>
            </p:cNvSpPr>
            <p:nvPr/>
          </p:nvSpPr>
          <p:spPr bwMode="gray">
            <a:xfrm rot="2785872">
              <a:off x="5781224" y="3564157"/>
              <a:ext cx="1375726" cy="1375726"/>
            </a:xfrm>
            <a:prstGeom prst="teardrop">
              <a:avLst/>
            </a:prstGeom>
            <a:solidFill>
              <a:srgbClr val="0097A9"/>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sp>
          <p:nvSpPr>
            <p:cNvPr id="5" name="Flowchart: Connector 4">
              <a:extLst>
                <a:ext uri="{FF2B5EF4-FFF2-40B4-BE49-F238E27FC236}">
                  <a16:creationId xmlns:a16="http://schemas.microsoft.com/office/drawing/2014/main" id="{60E3DE34-7CB6-15C5-E38E-8C25C7EA300A}"/>
                </a:ext>
              </a:extLst>
            </p:cNvPr>
            <p:cNvSpPr>
              <a:spLocks noChangeAspect="1"/>
            </p:cNvSpPr>
            <p:nvPr/>
          </p:nvSpPr>
          <p:spPr bwMode="gray">
            <a:xfrm>
              <a:off x="5900685" y="3685545"/>
              <a:ext cx="1136804" cy="1132951"/>
            </a:xfrm>
            <a:prstGeom prst="flowChartConnector">
              <a:avLst/>
            </a:prstGeom>
            <a:solidFill>
              <a:schemeClr val="bg1">
                <a:alpha val="79000"/>
              </a:schemeClr>
            </a:solidFill>
            <a:ln w="3175" algn="ctr">
              <a:solidFill>
                <a:schemeClr val="tx1"/>
              </a:solidFill>
              <a:miter lim="800000"/>
              <a:headEnd/>
              <a:tailEnd/>
            </a:ln>
          </p:spPr>
          <p:txBody>
            <a:bodyPr wrap="square" lIns="88071" tIns="88071" rIns="88071" bIns="88071" rtlCol="0" anchor="ctr"/>
            <a:lstStyle/>
            <a:p>
              <a:pPr algn="ctr">
                <a:buFont typeface="Wingdings 2" pitchFamily="18" charset="2"/>
                <a:buNone/>
              </a:pPr>
              <a:endParaRPr lang="en-US" sz="941" b="1" dirty="0">
                <a:solidFill>
                  <a:schemeClr val="bg1"/>
                </a:solidFill>
              </a:endParaRPr>
            </a:p>
          </p:txBody>
        </p:sp>
        <p:grpSp>
          <p:nvGrpSpPr>
            <p:cNvPr id="6" name="Group 5">
              <a:extLst>
                <a:ext uri="{FF2B5EF4-FFF2-40B4-BE49-F238E27FC236}">
                  <a16:creationId xmlns:a16="http://schemas.microsoft.com/office/drawing/2014/main" id="{8EADBD0E-6B9A-D25E-53F1-4F4CFB00503C}"/>
                </a:ext>
              </a:extLst>
            </p:cNvPr>
            <p:cNvGrpSpPr/>
            <p:nvPr/>
          </p:nvGrpSpPr>
          <p:grpSpPr>
            <a:xfrm>
              <a:off x="4254330" y="3564157"/>
              <a:ext cx="1375726" cy="1375726"/>
              <a:chOff x="928587" y="2835465"/>
              <a:chExt cx="1554480" cy="1554480"/>
            </a:xfrm>
          </p:grpSpPr>
          <p:sp>
            <p:nvSpPr>
              <p:cNvPr id="29" name="Teardrop 28">
                <a:extLst>
                  <a:ext uri="{FF2B5EF4-FFF2-40B4-BE49-F238E27FC236}">
                    <a16:creationId xmlns:a16="http://schemas.microsoft.com/office/drawing/2014/main" id="{24DAD80E-8902-6B54-1B29-F17274D4F615}"/>
                  </a:ext>
                </a:extLst>
              </p:cNvPr>
              <p:cNvSpPr>
                <a:spLocks noChangeAspect="1"/>
              </p:cNvSpPr>
              <p:nvPr/>
            </p:nvSpPr>
            <p:spPr bwMode="gray">
              <a:xfrm rot="2785872">
                <a:off x="928587" y="2835465"/>
                <a:ext cx="1554480" cy="1554480"/>
              </a:xfrm>
              <a:prstGeom prst="teardrop">
                <a:avLst/>
              </a:prstGeom>
              <a:solidFill>
                <a:srgbClr val="00ABAB"/>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sp>
            <p:nvSpPr>
              <p:cNvPr id="30" name="Flowchart: Connector 29">
                <a:extLst>
                  <a:ext uri="{FF2B5EF4-FFF2-40B4-BE49-F238E27FC236}">
                    <a16:creationId xmlns:a16="http://schemas.microsoft.com/office/drawing/2014/main" id="{5A082DBA-047B-49A1-9777-8F02BC10313A}"/>
                  </a:ext>
                </a:extLst>
              </p:cNvPr>
              <p:cNvSpPr>
                <a:spLocks noChangeAspect="1"/>
              </p:cNvSpPr>
              <p:nvPr/>
            </p:nvSpPr>
            <p:spPr bwMode="gray">
              <a:xfrm>
                <a:off x="1063570" y="2972625"/>
                <a:ext cx="1284514" cy="1280160"/>
              </a:xfrm>
              <a:prstGeom prst="flowChartConnector">
                <a:avLst/>
              </a:prstGeom>
              <a:solidFill>
                <a:schemeClr val="bg1">
                  <a:alpha val="79000"/>
                </a:schemeClr>
              </a:solidFill>
              <a:ln w="3175" algn="ctr">
                <a:solidFill>
                  <a:schemeClr val="tx1"/>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grpSp>
        <p:grpSp>
          <p:nvGrpSpPr>
            <p:cNvPr id="7" name="Group 6">
              <a:extLst>
                <a:ext uri="{FF2B5EF4-FFF2-40B4-BE49-F238E27FC236}">
                  <a16:creationId xmlns:a16="http://schemas.microsoft.com/office/drawing/2014/main" id="{3FC8E746-9CA4-5315-CF37-F941350EA993}"/>
                </a:ext>
              </a:extLst>
            </p:cNvPr>
            <p:cNvGrpSpPr/>
            <p:nvPr/>
          </p:nvGrpSpPr>
          <p:grpSpPr>
            <a:xfrm>
              <a:off x="2716397" y="3564157"/>
              <a:ext cx="1375726" cy="1375726"/>
              <a:chOff x="928587" y="2835465"/>
              <a:chExt cx="1554480" cy="1554480"/>
            </a:xfrm>
          </p:grpSpPr>
          <p:sp>
            <p:nvSpPr>
              <p:cNvPr id="27" name="Teardrop 26">
                <a:extLst>
                  <a:ext uri="{FF2B5EF4-FFF2-40B4-BE49-F238E27FC236}">
                    <a16:creationId xmlns:a16="http://schemas.microsoft.com/office/drawing/2014/main" id="{52776A52-B271-D1EB-F720-447FAA094D84}"/>
                  </a:ext>
                </a:extLst>
              </p:cNvPr>
              <p:cNvSpPr>
                <a:spLocks noChangeAspect="1"/>
              </p:cNvSpPr>
              <p:nvPr/>
            </p:nvSpPr>
            <p:spPr bwMode="gray">
              <a:xfrm rot="2785872">
                <a:off x="928587" y="2835465"/>
                <a:ext cx="1554480" cy="1554480"/>
              </a:xfrm>
              <a:prstGeom prst="teardrop">
                <a:avLst/>
              </a:prstGeom>
              <a:solidFill>
                <a:srgbClr val="00A3E0"/>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sp>
            <p:nvSpPr>
              <p:cNvPr id="28" name="Flowchart: Connector 27">
                <a:extLst>
                  <a:ext uri="{FF2B5EF4-FFF2-40B4-BE49-F238E27FC236}">
                    <a16:creationId xmlns:a16="http://schemas.microsoft.com/office/drawing/2014/main" id="{76B4003F-A369-1602-8F88-DA08526BA92E}"/>
                  </a:ext>
                </a:extLst>
              </p:cNvPr>
              <p:cNvSpPr>
                <a:spLocks noChangeAspect="1"/>
              </p:cNvSpPr>
              <p:nvPr/>
            </p:nvSpPr>
            <p:spPr bwMode="gray">
              <a:xfrm>
                <a:off x="1063570" y="2972625"/>
                <a:ext cx="1284514" cy="1280160"/>
              </a:xfrm>
              <a:prstGeom prst="flowChartConnector">
                <a:avLst/>
              </a:prstGeom>
              <a:solidFill>
                <a:schemeClr val="bg1">
                  <a:alpha val="79000"/>
                </a:schemeClr>
              </a:solidFill>
              <a:ln w="3175" algn="ctr">
                <a:solidFill>
                  <a:schemeClr val="tx1"/>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grpSp>
        <p:grpSp>
          <p:nvGrpSpPr>
            <p:cNvPr id="8" name="Group 7">
              <a:extLst>
                <a:ext uri="{FF2B5EF4-FFF2-40B4-BE49-F238E27FC236}">
                  <a16:creationId xmlns:a16="http://schemas.microsoft.com/office/drawing/2014/main" id="{E557DD81-0678-B070-E49D-DFF7D2DDBA41}"/>
                </a:ext>
              </a:extLst>
            </p:cNvPr>
            <p:cNvGrpSpPr/>
            <p:nvPr/>
          </p:nvGrpSpPr>
          <p:grpSpPr>
            <a:xfrm>
              <a:off x="1167943" y="3564157"/>
              <a:ext cx="1375726" cy="1375726"/>
              <a:chOff x="928587" y="2835465"/>
              <a:chExt cx="1554480" cy="1554480"/>
            </a:xfrm>
          </p:grpSpPr>
          <p:sp>
            <p:nvSpPr>
              <p:cNvPr id="25" name="Teardrop 24">
                <a:extLst>
                  <a:ext uri="{FF2B5EF4-FFF2-40B4-BE49-F238E27FC236}">
                    <a16:creationId xmlns:a16="http://schemas.microsoft.com/office/drawing/2014/main" id="{AB647411-D2EA-A12A-72BF-06040A05C33E}"/>
                  </a:ext>
                </a:extLst>
              </p:cNvPr>
              <p:cNvSpPr>
                <a:spLocks noChangeAspect="1"/>
              </p:cNvSpPr>
              <p:nvPr/>
            </p:nvSpPr>
            <p:spPr bwMode="gray">
              <a:xfrm rot="2785872">
                <a:off x="928587" y="2835465"/>
                <a:ext cx="1554480" cy="1554480"/>
              </a:xfrm>
              <a:prstGeom prst="teardrop">
                <a:avLst/>
              </a:prstGeom>
              <a:solidFill>
                <a:srgbClr val="005560"/>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sp>
            <p:nvSpPr>
              <p:cNvPr id="26" name="Flowchart: Connector 25">
                <a:extLst>
                  <a:ext uri="{FF2B5EF4-FFF2-40B4-BE49-F238E27FC236}">
                    <a16:creationId xmlns:a16="http://schemas.microsoft.com/office/drawing/2014/main" id="{DEC4AE0F-BC79-5B0A-78B0-E0D71108D418}"/>
                  </a:ext>
                </a:extLst>
              </p:cNvPr>
              <p:cNvSpPr>
                <a:spLocks noChangeAspect="1"/>
              </p:cNvSpPr>
              <p:nvPr/>
            </p:nvSpPr>
            <p:spPr bwMode="gray">
              <a:xfrm>
                <a:off x="1063570" y="2972625"/>
                <a:ext cx="1284514" cy="1280160"/>
              </a:xfrm>
              <a:prstGeom prst="flowChartConnector">
                <a:avLst/>
              </a:prstGeom>
              <a:solidFill>
                <a:schemeClr val="bg1">
                  <a:alpha val="77000"/>
                </a:schemeClr>
              </a:solidFill>
              <a:ln w="3175" algn="ctr">
                <a:solidFill>
                  <a:schemeClr val="tx1"/>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grpSp>
        <p:sp>
          <p:nvSpPr>
            <p:cNvPr id="9" name="TextBox 8">
              <a:extLst>
                <a:ext uri="{FF2B5EF4-FFF2-40B4-BE49-F238E27FC236}">
                  <a16:creationId xmlns:a16="http://schemas.microsoft.com/office/drawing/2014/main" id="{2A0FAACE-B04A-BB47-768C-948ACCE2B385}"/>
                </a:ext>
              </a:extLst>
            </p:cNvPr>
            <p:cNvSpPr txBox="1"/>
            <p:nvPr/>
          </p:nvSpPr>
          <p:spPr>
            <a:xfrm>
              <a:off x="1362417" y="4114226"/>
              <a:ext cx="1018865" cy="289566"/>
            </a:xfrm>
            <a:prstGeom prst="rect">
              <a:avLst/>
            </a:prstGeom>
            <a:noFill/>
          </p:spPr>
          <p:txBody>
            <a:bodyPr wrap="square" lIns="0" tIns="0" rIns="0" bIns="0" rtlCol="0" anchor="ctr">
              <a:spAutoFit/>
            </a:bodyPr>
            <a:lstStyle/>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hase 1:</a:t>
              </a:r>
            </a:p>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BCM Risk Assessment</a:t>
              </a:r>
            </a:p>
          </p:txBody>
        </p:sp>
        <p:sp>
          <p:nvSpPr>
            <p:cNvPr id="10" name="TextBox 9">
              <a:extLst>
                <a:ext uri="{FF2B5EF4-FFF2-40B4-BE49-F238E27FC236}">
                  <a16:creationId xmlns:a16="http://schemas.microsoft.com/office/drawing/2014/main" id="{D32E3DEA-B5DF-0A00-6465-108336CA4FAB}"/>
                </a:ext>
              </a:extLst>
            </p:cNvPr>
            <p:cNvSpPr txBox="1"/>
            <p:nvPr/>
          </p:nvSpPr>
          <p:spPr>
            <a:xfrm>
              <a:off x="2899806" y="4041834"/>
              <a:ext cx="1051369" cy="434350"/>
            </a:xfrm>
            <a:prstGeom prst="rect">
              <a:avLst/>
            </a:prstGeom>
            <a:noFill/>
          </p:spPr>
          <p:txBody>
            <a:bodyPr wrap="square" lIns="0" tIns="0" rIns="0" bIns="0" rtlCol="0" anchor="ctr">
              <a:spAutoFit/>
            </a:bodyPr>
            <a:lstStyle/>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hase 2:</a:t>
              </a:r>
            </a:p>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BCM Strategy and Roadmap</a:t>
              </a:r>
            </a:p>
          </p:txBody>
        </p:sp>
        <p:sp>
          <p:nvSpPr>
            <p:cNvPr id="11" name="TextBox 10">
              <a:extLst>
                <a:ext uri="{FF2B5EF4-FFF2-40B4-BE49-F238E27FC236}">
                  <a16:creationId xmlns:a16="http://schemas.microsoft.com/office/drawing/2014/main" id="{E8012B31-26C4-8071-76AE-0B82DB5D04D4}"/>
                </a:ext>
              </a:extLst>
            </p:cNvPr>
            <p:cNvSpPr txBox="1"/>
            <p:nvPr/>
          </p:nvSpPr>
          <p:spPr>
            <a:xfrm>
              <a:off x="4407531" y="4095843"/>
              <a:ext cx="1070923" cy="326334"/>
            </a:xfrm>
            <a:prstGeom prst="rect">
              <a:avLst/>
            </a:prstGeom>
            <a:noFill/>
          </p:spPr>
          <p:txBody>
            <a:bodyPr wrap="square" lIns="0" tIns="0" rIns="0" bIns="0" rtlCol="0" anchor="ctr">
              <a:spAutoFit/>
            </a:bodyPr>
            <a:lstStyle/>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hase 3:</a:t>
              </a:r>
            </a:p>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lans Review and Enhancement</a:t>
              </a:r>
            </a:p>
          </p:txBody>
        </p:sp>
        <p:sp>
          <p:nvSpPr>
            <p:cNvPr id="12" name="TextBox 11">
              <a:extLst>
                <a:ext uri="{FF2B5EF4-FFF2-40B4-BE49-F238E27FC236}">
                  <a16:creationId xmlns:a16="http://schemas.microsoft.com/office/drawing/2014/main" id="{F9A6EC7F-9983-8325-3C67-A26CB1F24728}"/>
                </a:ext>
              </a:extLst>
            </p:cNvPr>
            <p:cNvSpPr txBox="1"/>
            <p:nvPr/>
          </p:nvSpPr>
          <p:spPr>
            <a:xfrm>
              <a:off x="5992209" y="4114226"/>
              <a:ext cx="967746" cy="289566"/>
            </a:xfrm>
            <a:prstGeom prst="rect">
              <a:avLst/>
            </a:prstGeom>
            <a:noFill/>
          </p:spPr>
          <p:txBody>
            <a:bodyPr wrap="square" lIns="0" tIns="0" rIns="0" bIns="0" rtlCol="0" anchor="ctr">
              <a:spAutoFit/>
            </a:bodyPr>
            <a:lstStyle/>
            <a:p>
              <a:pPr algn="ctr">
                <a:defRPr/>
              </a:pPr>
              <a:r>
                <a:rPr lang="en-US" sz="941" b="1" dirty="0">
                  <a:solidFill>
                    <a:schemeClr val="tx2">
                      <a:lumMod val="75000"/>
                    </a:schemeClr>
                  </a:solidFill>
                  <a:latin typeface="Calibri" panose="020F0502020204030204" pitchFamily="34" charset="0"/>
                  <a:ea typeface="Verdana" panose="020B0604030504040204" pitchFamily="34" charset="0"/>
                  <a:cs typeface="Calibri" panose="020F0502020204030204" pitchFamily="34" charset="0"/>
                </a:rPr>
                <a:t>Phase 4:</a:t>
              </a:r>
            </a:p>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BCM Exercising</a:t>
              </a:r>
            </a:p>
          </p:txBody>
        </p:sp>
        <p:cxnSp>
          <p:nvCxnSpPr>
            <p:cNvPr id="13" name="Straight Connector 103">
              <a:extLst>
                <a:ext uri="{FF2B5EF4-FFF2-40B4-BE49-F238E27FC236}">
                  <a16:creationId xmlns:a16="http://schemas.microsoft.com/office/drawing/2014/main" id="{AEC99FC8-7C6C-E976-CBA9-80FC3BDAA67E}"/>
                </a:ext>
              </a:extLst>
            </p:cNvPr>
            <p:cNvCxnSpPr>
              <a:cxnSpLocks/>
              <a:stCxn id="25" idx="1"/>
              <a:endCxn id="22" idx="0"/>
            </p:cNvCxnSpPr>
            <p:nvPr/>
          </p:nvCxnSpPr>
          <p:spPr>
            <a:xfrm>
              <a:off x="1838625" y="4939668"/>
              <a:ext cx="3130" cy="222546"/>
            </a:xfrm>
            <a:prstGeom prst="line">
              <a:avLst/>
            </a:prstGeom>
            <a:ln w="3175">
              <a:solidFill>
                <a:srgbClr val="00556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41DB66A-E8C9-29DD-DB72-178F4960AF53}"/>
                </a:ext>
              </a:extLst>
            </p:cNvPr>
            <p:cNvCxnSpPr>
              <a:cxnSpLocks/>
              <a:stCxn id="15" idx="2"/>
              <a:endCxn id="27" idx="5"/>
            </p:cNvCxnSpPr>
            <p:nvPr/>
          </p:nvCxnSpPr>
          <p:spPr>
            <a:xfrm flipH="1">
              <a:off x="3421440" y="3394239"/>
              <a:ext cx="1082" cy="170133"/>
            </a:xfrm>
            <a:prstGeom prst="line">
              <a:avLst/>
            </a:prstGeom>
            <a:ln w="3175">
              <a:solidFill>
                <a:srgbClr val="00A3E0"/>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FAEC834-4EE8-040D-0273-5CCC20FA210C}"/>
                </a:ext>
              </a:extLst>
            </p:cNvPr>
            <p:cNvSpPr/>
            <p:nvPr/>
          </p:nvSpPr>
          <p:spPr>
            <a:xfrm>
              <a:off x="2524120" y="2504011"/>
              <a:ext cx="1796803" cy="890228"/>
            </a:xfrm>
            <a:prstGeom prst="rect">
              <a:avLst/>
            </a:prstGeom>
            <a:solidFill>
              <a:srgbClr val="C9ECF8"/>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35880" tIns="135880" rIns="135880" bIns="135880" rtlCol="0" anchor="ctr"/>
            <a:lstStyle/>
            <a:p>
              <a:pPr algn="ctr">
                <a:defRPr/>
              </a:pPr>
              <a:r>
                <a:rPr lang="en-US" sz="1000" dirty="0">
                  <a:solidFill>
                    <a:srgbClr val="111C4E"/>
                  </a:solidFill>
                  <a:latin typeface="Calibri" panose="020F0502020204030204" pitchFamily="34" charset="0"/>
                  <a:ea typeface="Verdana" panose="020B0604030504040204" pitchFamily="34" charset="0"/>
                  <a:cs typeface="Calibri" panose="020F0502020204030204" pitchFamily="34" charset="0"/>
                </a:rPr>
                <a:t>Review existing BCM Strategy and existing BCM roadmap, refine BCM Strategy in alignment with BIA and RA performed to address gaps in stc’ existing recovery strategy; identify and document list of activities/gap required to refine Recovery Strategy </a:t>
              </a:r>
            </a:p>
          </p:txBody>
        </p:sp>
        <p:cxnSp>
          <p:nvCxnSpPr>
            <p:cNvPr id="16" name="Straight Connector 15">
              <a:extLst>
                <a:ext uri="{FF2B5EF4-FFF2-40B4-BE49-F238E27FC236}">
                  <a16:creationId xmlns:a16="http://schemas.microsoft.com/office/drawing/2014/main" id="{2BAA8DE3-8DB1-2745-82B5-3257A4943056}"/>
                </a:ext>
              </a:extLst>
            </p:cNvPr>
            <p:cNvCxnSpPr>
              <a:cxnSpLocks/>
              <a:stCxn id="17" idx="0"/>
              <a:endCxn id="29" idx="1"/>
            </p:cNvCxnSpPr>
            <p:nvPr/>
          </p:nvCxnSpPr>
          <p:spPr>
            <a:xfrm flipV="1">
              <a:off x="4923281" y="4939668"/>
              <a:ext cx="1731" cy="222546"/>
            </a:xfrm>
            <a:prstGeom prst="line">
              <a:avLst/>
            </a:prstGeom>
            <a:ln w="3175">
              <a:solidFill>
                <a:srgbClr val="00ABAB"/>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D63F60F-5FE7-87E6-1F4C-D15565848787}"/>
                </a:ext>
              </a:extLst>
            </p:cNvPr>
            <p:cNvSpPr/>
            <p:nvPr/>
          </p:nvSpPr>
          <p:spPr>
            <a:xfrm>
              <a:off x="3920076" y="5162215"/>
              <a:ext cx="2006410" cy="760564"/>
            </a:xfrm>
            <a:prstGeom prst="rect">
              <a:avLst/>
            </a:prstGeom>
            <a:solidFill>
              <a:srgbClr val="C9EDED"/>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35880" tIns="135880" rIns="135880" bIns="135880" rtlCol="0" anchor="ctr"/>
            <a:lstStyle/>
            <a:p>
              <a:pPr algn="ctr">
                <a:defRPr/>
              </a:pPr>
              <a:r>
                <a:rPr lang="en-US" sz="1000" dirty="0">
                  <a:solidFill>
                    <a:srgbClr val="111C4E"/>
                  </a:solidFill>
                  <a:latin typeface="Calibri" panose="020F0502020204030204" pitchFamily="34" charset="0"/>
                  <a:ea typeface="Verdana" panose="020B0604030504040204" pitchFamily="34" charset="0"/>
                  <a:cs typeface="Calibri" panose="020F0502020204030204" pitchFamily="34" charset="0"/>
                </a:rPr>
                <a:t>Review the existing BCP template and identify gaps in existing BCP plan in alignment with ISO 22301. Review plans including ER, CM, DR, IM etc., provide recommendations and update the plans. Align IT DR and Telecom DR along with incident management </a:t>
              </a:r>
            </a:p>
          </p:txBody>
        </p:sp>
        <p:cxnSp>
          <p:nvCxnSpPr>
            <p:cNvPr id="19" name="Straight Connector 18">
              <a:extLst>
                <a:ext uri="{FF2B5EF4-FFF2-40B4-BE49-F238E27FC236}">
                  <a16:creationId xmlns:a16="http://schemas.microsoft.com/office/drawing/2014/main" id="{7050F08B-B700-F2B9-631B-E99EB2759326}"/>
                </a:ext>
              </a:extLst>
            </p:cNvPr>
            <p:cNvCxnSpPr>
              <a:cxnSpLocks/>
              <a:stCxn id="20" idx="2"/>
              <a:endCxn id="4" idx="5"/>
            </p:cNvCxnSpPr>
            <p:nvPr/>
          </p:nvCxnSpPr>
          <p:spPr>
            <a:xfrm>
              <a:off x="6481933" y="3320437"/>
              <a:ext cx="4334" cy="243935"/>
            </a:xfrm>
            <a:prstGeom prst="line">
              <a:avLst/>
            </a:prstGeom>
            <a:ln w="3175">
              <a:solidFill>
                <a:srgbClr val="0097A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D08CA32-31F9-5C4B-2584-097D10399C4D}"/>
                </a:ext>
              </a:extLst>
            </p:cNvPr>
            <p:cNvSpPr/>
            <p:nvPr/>
          </p:nvSpPr>
          <p:spPr>
            <a:xfrm>
              <a:off x="5602935" y="2581260"/>
              <a:ext cx="1757995" cy="739177"/>
            </a:xfrm>
            <a:prstGeom prst="rect">
              <a:avLst/>
            </a:prstGeom>
            <a:solidFill>
              <a:srgbClr val="C9E9ED"/>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35880" tIns="135880" rIns="135880" bIns="135880" rtlCol="0" anchor="ctr"/>
            <a:lstStyle/>
            <a:p>
              <a:pPr algn="ctr">
                <a:defRPr/>
              </a:pPr>
              <a:r>
                <a:rPr lang="en-US" sz="1000" dirty="0">
                  <a:solidFill>
                    <a:srgbClr val="111C4E"/>
                  </a:solidFill>
                  <a:latin typeface="Calibri" panose="020F0502020204030204" pitchFamily="34" charset="0"/>
                  <a:ea typeface="Verdana" panose="020B0604030504040204" pitchFamily="34" charset="0"/>
                  <a:cs typeface="Calibri" panose="020F0502020204030204" pitchFamily="34" charset="0"/>
                </a:rPr>
                <a:t>Develop BCM exercising program and exercise plans, develop different test scenarios, conduct tabletop exercises and crisis simulations with different teams and stakeholders.</a:t>
              </a:r>
            </a:p>
          </p:txBody>
        </p:sp>
        <p:sp>
          <p:nvSpPr>
            <p:cNvPr id="22" name="Rectangle 21">
              <a:extLst>
                <a:ext uri="{FF2B5EF4-FFF2-40B4-BE49-F238E27FC236}">
                  <a16:creationId xmlns:a16="http://schemas.microsoft.com/office/drawing/2014/main" id="{864B951F-B108-191E-3CE2-9AD3F7FE1FAB}"/>
                </a:ext>
              </a:extLst>
            </p:cNvPr>
            <p:cNvSpPr/>
            <p:nvPr/>
          </p:nvSpPr>
          <p:spPr>
            <a:xfrm>
              <a:off x="1016858" y="5162215"/>
              <a:ext cx="1649794" cy="760564"/>
            </a:xfrm>
            <a:prstGeom prst="rect">
              <a:avLst/>
            </a:prstGeom>
            <a:solidFill>
              <a:srgbClr val="C4D8DA"/>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35880" tIns="135880" rIns="135880" bIns="135880" rtlCol="0" anchor="ctr"/>
            <a:lstStyle/>
            <a:p>
              <a:pPr algn="ctr"/>
              <a:r>
                <a:rPr lang="en-US" sz="1000" dirty="0">
                  <a:solidFill>
                    <a:srgbClr val="111C4E"/>
                  </a:solidFill>
                  <a:latin typeface="Calibri" panose="020F0502020204030204" pitchFamily="34" charset="0"/>
                  <a:ea typeface="Verdana" panose="020B0604030504040204" pitchFamily="34" charset="0"/>
                  <a:cs typeface="Calibri" panose="020F0502020204030204" pitchFamily="34" charset="0"/>
                </a:rPr>
                <a:t>Identify threats and risks to stc processes, services and products, perform risk assessment, identify existing controls and propose mitigations. Update risk registers and develop risk assessment report</a:t>
              </a:r>
            </a:p>
          </p:txBody>
        </p:sp>
        <p:sp>
          <p:nvSpPr>
            <p:cNvPr id="23" name="Arrow: Right 22">
              <a:extLst>
                <a:ext uri="{FF2B5EF4-FFF2-40B4-BE49-F238E27FC236}">
                  <a16:creationId xmlns:a16="http://schemas.microsoft.com/office/drawing/2014/main" id="{B189C9D4-AE92-4047-CBC6-71717FF78932}"/>
                </a:ext>
              </a:extLst>
            </p:cNvPr>
            <p:cNvSpPr/>
            <p:nvPr/>
          </p:nvSpPr>
          <p:spPr bwMode="gray">
            <a:xfrm>
              <a:off x="263867" y="4048605"/>
              <a:ext cx="877188" cy="434350"/>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TextBox 23">
              <a:extLst>
                <a:ext uri="{FF2B5EF4-FFF2-40B4-BE49-F238E27FC236}">
                  <a16:creationId xmlns:a16="http://schemas.microsoft.com/office/drawing/2014/main" id="{02F9DBDA-FDD2-150F-D1C3-73D272BAB2A7}"/>
                </a:ext>
              </a:extLst>
            </p:cNvPr>
            <p:cNvSpPr txBox="1"/>
            <p:nvPr/>
          </p:nvSpPr>
          <p:spPr>
            <a:xfrm>
              <a:off x="241113" y="3869637"/>
              <a:ext cx="842037" cy="289566"/>
            </a:xfrm>
            <a:prstGeom prst="rect">
              <a:avLst/>
            </a:prstGeom>
            <a:noFill/>
          </p:spPr>
          <p:txBody>
            <a:bodyPr wrap="square" lIns="0" tIns="0" rIns="0" bIns="0" rtlCol="0" anchor="ctr">
              <a:spAutoFit/>
            </a:bodyPr>
            <a:lstStyle/>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roject Initiation Activities</a:t>
              </a:r>
            </a:p>
          </p:txBody>
        </p:sp>
      </p:grpSp>
    </p:spTree>
    <p:extLst>
      <p:ext uri="{BB962C8B-B14F-4D97-AF65-F5344CB8AC3E}">
        <p14:creationId xmlns:p14="http://schemas.microsoft.com/office/powerpoint/2010/main" val="3008939146"/>
      </p:ext>
    </p:extLst>
  </p:cSld>
  <p:clrMapOvr>
    <a:masterClrMapping/>
  </p:clrMapOvr>
  <p:transition spd="med">
    <p:pull/>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922786"/>
            <a:ext cx="6049823" cy="2837390"/>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base" latinLnBrk="0" hangingPunct="1">
              <a:lnSpc>
                <a:spcPct val="100000"/>
              </a:lnSpc>
              <a:spcBef>
                <a:spcPts val="591"/>
              </a:spcBef>
              <a:spcAft>
                <a:spcPts val="300"/>
              </a:spcAft>
              <a:buClrTx/>
              <a:buSzTx/>
              <a:buFontTx/>
              <a:buNone/>
              <a:tabLst/>
              <a:defRPr/>
            </a:pPr>
            <a:r>
              <a:rPr kumimoji="0" lang="en-US" sz="1091"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Our Project Methodology encompasses the following activities divided into five steps:</a:t>
            </a:r>
          </a:p>
          <a:p>
            <a:pPr marL="0" marR="0" lvl="0" indent="0" algn="just" defTabSz="914400" rtl="0" eaLnBrk="1" fontAlgn="base" latinLnBrk="0" hangingPunct="1">
              <a:lnSpc>
                <a:spcPct val="100000"/>
              </a:lnSpc>
              <a:spcBef>
                <a:spcPts val="591"/>
              </a:spcBef>
              <a:spcAft>
                <a:spcPts val="300"/>
              </a:spcAft>
              <a:buClrTx/>
              <a:buSzTx/>
              <a:buFontTx/>
              <a:buNone/>
              <a:tabLst/>
              <a:defRPr/>
            </a:pPr>
            <a:r>
              <a:rPr kumimoji="0" lang="en-US" sz="1091" b="1" i="0" u="none" strike="noStrike" kern="1200" cap="none" spc="0" normalizeH="0" baseline="0" noProof="0" dirty="0">
                <a:ln>
                  <a:noFill/>
                </a:ln>
                <a:solidFill>
                  <a:srgbClr val="2EBABA"/>
                </a:solidFill>
                <a:effectLst/>
                <a:uLnTx/>
                <a:uFillTx/>
                <a:latin typeface="Calibri" panose="020F0502020204030204" pitchFamily="34" charset="0"/>
                <a:ea typeface="Verdana" panose="020B0604030504040204" pitchFamily="34" charset="0"/>
                <a:cs typeface="Calibri" panose="020F0502020204030204" pitchFamily="34" charset="0"/>
              </a:rPr>
              <a:t>Step I – Project Initiation:</a:t>
            </a:r>
            <a:r>
              <a:rPr kumimoji="0" lang="en-US" sz="1091"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Develop and sign-off an engagement letter to establish an agreement on the scope of work, approach and methodologies to be used. Furthermore, conduct a kick-off meeting with key stakeholders of the project and establish a project steering committee.</a:t>
            </a:r>
          </a:p>
          <a:p>
            <a:pPr marL="0" marR="0" lvl="0" indent="0" algn="just" defTabSz="914400" rtl="0" eaLnBrk="1" fontAlgn="base" latinLnBrk="0" hangingPunct="1">
              <a:lnSpc>
                <a:spcPct val="100000"/>
              </a:lnSpc>
              <a:spcBef>
                <a:spcPts val="591"/>
              </a:spcBef>
              <a:spcAft>
                <a:spcPts val="300"/>
              </a:spcAft>
              <a:buClrTx/>
              <a:buSzTx/>
              <a:buFontTx/>
              <a:buNone/>
              <a:tabLst/>
              <a:defRPr/>
            </a:pPr>
            <a:r>
              <a:rPr kumimoji="0" lang="en-US" sz="1091" b="1" i="0" u="none" strike="noStrike" kern="1200" cap="none" spc="0" normalizeH="0" baseline="0" noProof="0" dirty="0">
                <a:ln>
                  <a:noFill/>
                </a:ln>
                <a:solidFill>
                  <a:srgbClr val="2EBABA"/>
                </a:solidFill>
                <a:effectLst/>
                <a:uLnTx/>
                <a:uFillTx/>
                <a:latin typeface="Calibri" panose="020F0502020204030204" pitchFamily="34" charset="0"/>
                <a:ea typeface="Verdana" panose="020B0604030504040204" pitchFamily="34" charset="0"/>
                <a:cs typeface="Calibri" panose="020F0502020204030204" pitchFamily="34" charset="0"/>
              </a:rPr>
              <a:t>Step II – Project Planning</a:t>
            </a:r>
            <a:r>
              <a:rPr kumimoji="0" lang="en-US" sz="1091"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Develop a detailed project plan with timelines, resource allocation, deliverables, milestones and dependencies</a:t>
            </a:r>
          </a:p>
          <a:p>
            <a:pPr marL="0" marR="0" lvl="0" indent="0" algn="just" defTabSz="914400" rtl="0" eaLnBrk="1" fontAlgn="base" latinLnBrk="0" hangingPunct="1">
              <a:lnSpc>
                <a:spcPct val="100000"/>
              </a:lnSpc>
              <a:spcBef>
                <a:spcPts val="591"/>
              </a:spcBef>
              <a:spcAft>
                <a:spcPts val="300"/>
              </a:spcAft>
              <a:buClrTx/>
              <a:buSzTx/>
              <a:buFontTx/>
              <a:buNone/>
              <a:tabLst/>
              <a:defRPr/>
            </a:pPr>
            <a:r>
              <a:rPr kumimoji="0" lang="en-US" sz="1091" b="1" i="0" u="none" strike="noStrike" kern="1200" cap="none" spc="0" normalizeH="0" baseline="0" noProof="0" dirty="0">
                <a:ln>
                  <a:noFill/>
                </a:ln>
                <a:solidFill>
                  <a:srgbClr val="2EBABA"/>
                </a:solidFill>
                <a:effectLst/>
                <a:uLnTx/>
                <a:uFillTx/>
                <a:latin typeface="Calibri" panose="020F0502020204030204" pitchFamily="34" charset="0"/>
                <a:ea typeface="Verdana" panose="020B0604030504040204" pitchFamily="34" charset="0"/>
                <a:cs typeface="Calibri" panose="020F0502020204030204" pitchFamily="34" charset="0"/>
              </a:rPr>
              <a:t>Step III – Execution</a:t>
            </a:r>
            <a:r>
              <a:rPr kumimoji="0" lang="en-US" sz="1091"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Project activities will be performed according to project plan</a:t>
            </a:r>
          </a:p>
          <a:p>
            <a:pPr marL="0" marR="0" lvl="0" indent="0" algn="just" defTabSz="914400" rtl="0" eaLnBrk="1" fontAlgn="base" latinLnBrk="0" hangingPunct="1">
              <a:lnSpc>
                <a:spcPct val="100000"/>
              </a:lnSpc>
              <a:spcBef>
                <a:spcPts val="591"/>
              </a:spcBef>
              <a:spcAft>
                <a:spcPts val="300"/>
              </a:spcAft>
              <a:buClrTx/>
              <a:buSzTx/>
              <a:buFontTx/>
              <a:buNone/>
              <a:tabLst/>
              <a:defRPr/>
            </a:pPr>
            <a:r>
              <a:rPr kumimoji="0" lang="en-US" sz="1091" b="1" i="0" u="none" strike="noStrike" kern="1200" cap="none" spc="0" normalizeH="0" baseline="0" noProof="0" dirty="0">
                <a:ln>
                  <a:noFill/>
                </a:ln>
                <a:solidFill>
                  <a:srgbClr val="2EBABA"/>
                </a:solidFill>
                <a:effectLst/>
                <a:uLnTx/>
                <a:uFillTx/>
                <a:latin typeface="Calibri" panose="020F0502020204030204" pitchFamily="34" charset="0"/>
                <a:ea typeface="Verdana" panose="020B0604030504040204" pitchFamily="34" charset="0"/>
                <a:cs typeface="Calibri" panose="020F0502020204030204" pitchFamily="34" charset="0"/>
              </a:rPr>
              <a:t>Step IV – Monitoring and Quality Assurance</a:t>
            </a:r>
            <a:r>
              <a:rPr kumimoji="0" lang="en-US" sz="1091"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Reporting will be agreed as part of the planning phase whereby a status meeting will occur regularly with the project steering committee to outline the performance of the agreed program and achievement of key deliverables.</a:t>
            </a:r>
          </a:p>
          <a:p>
            <a:pPr marL="0" marR="0" lvl="0" indent="0" algn="just" defTabSz="914400" rtl="0" eaLnBrk="1" fontAlgn="base" latinLnBrk="0" hangingPunct="1">
              <a:lnSpc>
                <a:spcPct val="100000"/>
              </a:lnSpc>
              <a:spcBef>
                <a:spcPts val="591"/>
              </a:spcBef>
              <a:spcAft>
                <a:spcPts val="300"/>
              </a:spcAft>
              <a:buClrTx/>
              <a:buSzTx/>
              <a:buFontTx/>
              <a:buNone/>
              <a:tabLst/>
              <a:defRPr/>
            </a:pPr>
            <a:r>
              <a:rPr kumimoji="0" lang="en-US" sz="1091" b="1" i="0" u="none" strike="noStrike" kern="1200" cap="none" spc="0" normalizeH="0" baseline="0" noProof="0" dirty="0">
                <a:ln>
                  <a:noFill/>
                </a:ln>
                <a:solidFill>
                  <a:srgbClr val="2EBABA"/>
                </a:solidFill>
                <a:effectLst/>
                <a:uLnTx/>
                <a:uFillTx/>
                <a:latin typeface="Calibri" panose="020F0502020204030204" pitchFamily="34" charset="0"/>
                <a:ea typeface="Verdana" panose="020B0604030504040204" pitchFamily="34" charset="0"/>
                <a:cs typeface="Calibri" panose="020F0502020204030204" pitchFamily="34" charset="0"/>
              </a:rPr>
              <a:t>Step V – Project Closing</a:t>
            </a:r>
            <a:r>
              <a:rPr kumimoji="0" lang="en-US" sz="1091"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 closing meeting will be conducted with the project steering committee followed by a final sign-off and formal hand-over of all deliverables</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roject Initiation Activities</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45872" y="5042167"/>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578654" y="5027651"/>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10686" y="5460161"/>
            <a:ext cx="6049823" cy="891146"/>
          </a:xfrm>
          <a:prstGeom prst="rect">
            <a:avLst/>
          </a:prstGeom>
          <a:noFill/>
          <a:ln w="3175" algn="ctr">
            <a:solidFill>
              <a:srgbClr val="21B6B6"/>
            </a:solidFill>
            <a:miter lim="800000"/>
            <a:headEnd/>
            <a:tailEnd/>
          </a:ln>
        </p:spPr>
        <p:txBody>
          <a:bodyPr wrap="square" lIns="88071" tIns="88071" rIns="88071" bIns="88071" rtlCol="0" anchor="ctr"/>
          <a:lstStyle/>
          <a:p>
            <a:pPr marL="169914" marR="0" lvl="0" indent="-169914" algn="just" defTabSz="914400" rtl="0" eaLnBrk="1" fontAlgn="base" latinLnBrk="0" hangingPunct="1">
              <a:lnSpc>
                <a:spcPct val="100000"/>
              </a:lnSpc>
              <a:spcBef>
                <a:spcPts val="0"/>
              </a:spcBef>
              <a:spcAft>
                <a:spcPts val="0"/>
              </a:spcAft>
              <a:buClr>
                <a:srgbClr val="21B6B6"/>
              </a:buClr>
              <a:buSzTx/>
              <a:buFont typeface="Arial" panose="020B0604020202020204" pitchFamily="34" charset="0"/>
              <a:buChar char="•"/>
              <a:tabLst/>
              <a:defRPr/>
            </a:pPr>
            <a:r>
              <a:rPr kumimoji="0" lang="en-US" sz="1091"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Project Charter</a:t>
            </a:r>
          </a:p>
          <a:p>
            <a:pPr marL="169914" marR="0" lvl="0" indent="-169914" algn="just" defTabSz="914400" rtl="0" eaLnBrk="1" fontAlgn="base" latinLnBrk="0" hangingPunct="1">
              <a:lnSpc>
                <a:spcPct val="100000"/>
              </a:lnSpc>
              <a:spcBef>
                <a:spcPts val="0"/>
              </a:spcBef>
              <a:spcAft>
                <a:spcPts val="0"/>
              </a:spcAft>
              <a:buClr>
                <a:srgbClr val="21B6B6"/>
              </a:buClr>
              <a:buSzTx/>
              <a:buFont typeface="Arial" panose="020B0604020202020204" pitchFamily="34" charset="0"/>
              <a:buChar char="•"/>
              <a:tabLst/>
              <a:defRPr/>
            </a:pPr>
            <a:r>
              <a:rPr kumimoji="0" lang="en-US" sz="1091"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Project Plan (MS Project)</a:t>
            </a:r>
          </a:p>
          <a:p>
            <a:pPr marL="169914" marR="0" lvl="0" indent="-169914" algn="just" defTabSz="914400" rtl="0" eaLnBrk="1" fontAlgn="base" latinLnBrk="0" hangingPunct="1">
              <a:lnSpc>
                <a:spcPct val="100000"/>
              </a:lnSpc>
              <a:spcBef>
                <a:spcPts val="0"/>
              </a:spcBef>
              <a:spcAft>
                <a:spcPts val="0"/>
              </a:spcAft>
              <a:buClr>
                <a:srgbClr val="21B6B6"/>
              </a:buClr>
              <a:buSzTx/>
              <a:buFont typeface="Arial" panose="020B0604020202020204" pitchFamily="34" charset="0"/>
              <a:buChar char="•"/>
              <a:tabLst/>
              <a:defRPr/>
            </a:pPr>
            <a:r>
              <a:rPr kumimoji="0" lang="en-US" sz="1091"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Kick-off Presentation</a:t>
            </a:r>
          </a:p>
        </p:txBody>
      </p:sp>
      <p:grpSp>
        <p:nvGrpSpPr>
          <p:cNvPr id="142" name="Group 8"/>
          <p:cNvGrpSpPr>
            <a:grpSpLocks noChangeAspect="1"/>
          </p:cNvGrpSpPr>
          <p:nvPr/>
        </p:nvGrpSpPr>
        <p:grpSpPr bwMode="auto">
          <a:xfrm>
            <a:off x="6913183" y="1455166"/>
            <a:ext cx="363617" cy="363617"/>
            <a:chOff x="1346" y="303"/>
            <a:chExt cx="340" cy="340"/>
          </a:xfrm>
          <a:solidFill>
            <a:schemeClr val="accent1"/>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21B6B6"/>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solidFill>
                <a:srgbClr val="21B6B6"/>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endParaRPr>
            </a:p>
          </p:txBody>
        </p:sp>
      </p:grpSp>
      <p:grpSp>
        <p:nvGrpSpPr>
          <p:cNvPr id="145" name="Group 144"/>
          <p:cNvGrpSpPr/>
          <p:nvPr/>
        </p:nvGrpSpPr>
        <p:grpSpPr>
          <a:xfrm>
            <a:off x="6913182" y="1922782"/>
            <a:ext cx="4101640" cy="3819200"/>
            <a:chOff x="6949439" y="1998885"/>
            <a:chExt cx="4389345" cy="3345788"/>
          </a:xfrm>
        </p:grpSpPr>
        <p:sp>
          <p:nvSpPr>
            <p:cNvPr id="146" name="Pentagon 145"/>
            <p:cNvSpPr/>
            <p:nvPr/>
          </p:nvSpPr>
          <p:spPr>
            <a:xfrm>
              <a:off x="6949439" y="2012165"/>
              <a:ext cx="3030305" cy="246888"/>
            </a:xfrm>
            <a:prstGeom prst="homePlate">
              <a:avLst/>
            </a:prstGeom>
            <a:solidFill>
              <a:srgbClr val="0055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Engagement Letter / Contract</a:t>
              </a:r>
            </a:p>
          </p:txBody>
        </p:sp>
        <p:grpSp>
          <p:nvGrpSpPr>
            <p:cNvPr id="147" name="Group 146"/>
            <p:cNvGrpSpPr/>
            <p:nvPr/>
          </p:nvGrpSpPr>
          <p:grpSpPr>
            <a:xfrm>
              <a:off x="6949439" y="3434767"/>
              <a:ext cx="3030305" cy="503252"/>
              <a:chOff x="381000" y="4492569"/>
              <a:chExt cx="3657600" cy="503252"/>
            </a:xfrm>
          </p:grpSpPr>
          <p:sp>
            <p:nvSpPr>
              <p:cNvPr id="165" name="Pentagon 164"/>
              <p:cNvSpPr/>
              <p:nvPr/>
            </p:nvSpPr>
            <p:spPr>
              <a:xfrm>
                <a:off x="381000" y="4492569"/>
                <a:ext cx="3657600" cy="246888"/>
              </a:xfrm>
              <a:prstGeom prst="homePlat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Engagement Activities</a:t>
                </a:r>
              </a:p>
            </p:txBody>
          </p:sp>
          <p:sp>
            <p:nvSpPr>
              <p:cNvPr id="166" name="Pentagon 165"/>
              <p:cNvSpPr/>
              <p:nvPr/>
            </p:nvSpPr>
            <p:spPr>
              <a:xfrm>
                <a:off x="381000" y="4748933"/>
                <a:ext cx="3657600" cy="246888"/>
              </a:xfrm>
              <a:prstGeom prst="homePlat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Meetings &amp; Workshops</a:t>
                </a:r>
              </a:p>
            </p:txBody>
          </p:sp>
        </p:grpSp>
        <p:grpSp>
          <p:nvGrpSpPr>
            <p:cNvPr id="148" name="Group 147"/>
            <p:cNvGrpSpPr/>
            <p:nvPr/>
          </p:nvGrpSpPr>
          <p:grpSpPr>
            <a:xfrm>
              <a:off x="6949439" y="4008455"/>
              <a:ext cx="3030305" cy="506167"/>
              <a:chOff x="381000" y="5116935"/>
              <a:chExt cx="3657600" cy="506167"/>
            </a:xfrm>
          </p:grpSpPr>
          <p:sp>
            <p:nvSpPr>
              <p:cNvPr id="163" name="Pentagon 162"/>
              <p:cNvSpPr/>
              <p:nvPr/>
            </p:nvSpPr>
            <p:spPr>
              <a:xfrm>
                <a:off x="381000" y="5116935"/>
                <a:ext cx="3657600" cy="246888"/>
              </a:xfrm>
              <a:prstGeom prst="homePlat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Status Reports</a:t>
                </a:r>
              </a:p>
            </p:txBody>
          </p:sp>
          <p:sp>
            <p:nvSpPr>
              <p:cNvPr id="164" name="Pentagon 163"/>
              <p:cNvSpPr/>
              <p:nvPr/>
            </p:nvSpPr>
            <p:spPr>
              <a:xfrm>
                <a:off x="381000" y="5376214"/>
                <a:ext cx="3657600" cy="246888"/>
              </a:xfrm>
              <a:prstGeom prst="homePlate">
                <a:avLst/>
              </a:prstGeom>
              <a:solidFill>
                <a:srgbClr val="575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Internal Quality Assurance</a:t>
                </a:r>
              </a:p>
            </p:txBody>
          </p:sp>
        </p:grpSp>
        <p:grpSp>
          <p:nvGrpSpPr>
            <p:cNvPr id="149" name="Group 148"/>
            <p:cNvGrpSpPr/>
            <p:nvPr/>
          </p:nvGrpSpPr>
          <p:grpSpPr>
            <a:xfrm>
              <a:off x="6949439" y="4585058"/>
              <a:ext cx="3030305" cy="759615"/>
              <a:chOff x="381000" y="5632578"/>
              <a:chExt cx="3657600" cy="759615"/>
            </a:xfrm>
          </p:grpSpPr>
          <p:sp>
            <p:nvSpPr>
              <p:cNvPr id="160" name="Pentagon 159"/>
              <p:cNvSpPr/>
              <p:nvPr/>
            </p:nvSpPr>
            <p:spPr>
              <a:xfrm>
                <a:off x="381000" y="5632578"/>
                <a:ext cx="3657600" cy="246888"/>
              </a:xfrm>
              <a:prstGeom prst="homePlat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Exit Meeting</a:t>
                </a:r>
              </a:p>
            </p:txBody>
          </p:sp>
          <p:sp>
            <p:nvSpPr>
              <p:cNvPr id="161" name="Pentagon 160"/>
              <p:cNvSpPr/>
              <p:nvPr/>
            </p:nvSpPr>
            <p:spPr>
              <a:xfrm>
                <a:off x="381000" y="5888941"/>
                <a:ext cx="3657600" cy="246888"/>
              </a:xfrm>
              <a:prstGeom prst="homePlat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Management Sign-Off</a:t>
                </a:r>
              </a:p>
            </p:txBody>
          </p:sp>
          <p:sp>
            <p:nvSpPr>
              <p:cNvPr id="162" name="Pentagon 161"/>
              <p:cNvSpPr/>
              <p:nvPr/>
            </p:nvSpPr>
            <p:spPr>
              <a:xfrm>
                <a:off x="381000" y="6145305"/>
                <a:ext cx="3657600" cy="246888"/>
              </a:xfrm>
              <a:prstGeom prst="homePlate">
                <a:avLst/>
              </a:prstGeom>
              <a:solidFill>
                <a:srgbClr val="575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Deliverables</a:t>
                </a:r>
              </a:p>
            </p:txBody>
          </p:sp>
        </p:grpSp>
        <p:grpSp>
          <p:nvGrpSpPr>
            <p:cNvPr id="150" name="Group 149"/>
            <p:cNvGrpSpPr/>
            <p:nvPr/>
          </p:nvGrpSpPr>
          <p:grpSpPr>
            <a:xfrm>
              <a:off x="6949439" y="2329489"/>
              <a:ext cx="3030305" cy="1034842"/>
              <a:chOff x="381000" y="3381029"/>
              <a:chExt cx="3657600" cy="1034842"/>
            </a:xfrm>
          </p:grpSpPr>
          <p:sp>
            <p:nvSpPr>
              <p:cNvPr id="156" name="Pentagon 155"/>
              <p:cNvSpPr/>
              <p:nvPr/>
            </p:nvSpPr>
            <p:spPr>
              <a:xfrm>
                <a:off x="381000" y="3381029"/>
                <a:ext cx="3657600" cy="246888"/>
              </a:xfrm>
              <a:prstGeom prst="homePlat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Client Assistance Letter</a:t>
                </a:r>
              </a:p>
            </p:txBody>
          </p:sp>
          <p:sp>
            <p:nvSpPr>
              <p:cNvPr id="157" name="Pentagon 156"/>
              <p:cNvSpPr/>
              <p:nvPr/>
            </p:nvSpPr>
            <p:spPr>
              <a:xfrm>
                <a:off x="381000" y="3643680"/>
                <a:ext cx="3657600" cy="246888"/>
              </a:xfrm>
              <a:prstGeom prst="homePlat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Project Plan</a:t>
                </a:r>
              </a:p>
            </p:txBody>
          </p:sp>
          <p:sp>
            <p:nvSpPr>
              <p:cNvPr id="158" name="Pentagon 157"/>
              <p:cNvSpPr/>
              <p:nvPr/>
            </p:nvSpPr>
            <p:spPr>
              <a:xfrm>
                <a:off x="381000" y="3906331"/>
                <a:ext cx="3657600" cy="246888"/>
              </a:xfrm>
              <a:prstGeom prst="homePlat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Kick-Off Meeting</a:t>
                </a:r>
              </a:p>
            </p:txBody>
          </p:sp>
          <p:sp>
            <p:nvSpPr>
              <p:cNvPr id="159" name="Pentagon 158"/>
              <p:cNvSpPr/>
              <p:nvPr/>
            </p:nvSpPr>
            <p:spPr>
              <a:xfrm>
                <a:off x="381000" y="4168983"/>
                <a:ext cx="3657600" cy="246888"/>
              </a:xfrm>
              <a:prstGeom prst="homePlat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bg1"/>
                    </a:solidFill>
                    <a:latin typeface="Calibri" panose="020F0502020204030204" pitchFamily="34" charset="0"/>
                    <a:ea typeface="Verdana" panose="020B0604030504040204" pitchFamily="34" charset="0"/>
                    <a:cs typeface="Calibri" panose="020F0502020204030204" pitchFamily="34" charset="0"/>
                  </a:rPr>
                  <a:t>Request for Information</a:t>
                </a:r>
              </a:p>
            </p:txBody>
          </p:sp>
        </p:grpSp>
        <p:sp>
          <p:nvSpPr>
            <p:cNvPr id="151" name="Rectangle 150"/>
            <p:cNvSpPr/>
            <p:nvPr/>
          </p:nvSpPr>
          <p:spPr>
            <a:xfrm>
              <a:off x="10111010" y="1998885"/>
              <a:ext cx="1227774" cy="2715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I - Initiation</a:t>
              </a:r>
            </a:p>
          </p:txBody>
        </p:sp>
        <p:sp>
          <p:nvSpPr>
            <p:cNvPr id="152" name="Rectangle 151"/>
            <p:cNvSpPr/>
            <p:nvPr/>
          </p:nvSpPr>
          <p:spPr>
            <a:xfrm>
              <a:off x="10111010" y="2338963"/>
              <a:ext cx="1227774" cy="10137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II - Planning</a:t>
              </a:r>
            </a:p>
          </p:txBody>
        </p:sp>
        <p:sp>
          <p:nvSpPr>
            <p:cNvPr id="153" name="Rectangle 152"/>
            <p:cNvSpPr/>
            <p:nvPr/>
          </p:nvSpPr>
          <p:spPr>
            <a:xfrm>
              <a:off x="10111010" y="3434767"/>
              <a:ext cx="1227774" cy="4822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III - Execution</a:t>
              </a:r>
            </a:p>
          </p:txBody>
        </p:sp>
        <p:sp>
          <p:nvSpPr>
            <p:cNvPr id="154" name="Rectangle 153"/>
            <p:cNvSpPr/>
            <p:nvPr/>
          </p:nvSpPr>
          <p:spPr>
            <a:xfrm>
              <a:off x="10111010" y="3992676"/>
              <a:ext cx="1227774" cy="4918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IV - Monitoring</a:t>
              </a:r>
            </a:p>
          </p:txBody>
        </p:sp>
        <p:sp>
          <p:nvSpPr>
            <p:cNvPr id="155" name="Rectangle 154"/>
            <p:cNvSpPr/>
            <p:nvPr/>
          </p:nvSpPr>
          <p:spPr>
            <a:xfrm>
              <a:off x="10111010" y="4566608"/>
              <a:ext cx="1227774" cy="7780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r>
                <a:rPr lang="en-US" sz="1041" b="1" dirty="0">
                  <a:solidFill>
                    <a:schemeClr val="tx1"/>
                  </a:solidFill>
                  <a:latin typeface="Calibri" panose="020F0502020204030204" pitchFamily="34" charset="0"/>
                  <a:ea typeface="Verdana" panose="020B0604030504040204" pitchFamily="34" charset="0"/>
                  <a:cs typeface="Calibri" panose="020F0502020204030204" pitchFamily="34" charset="0"/>
                </a:rPr>
                <a:t>Phase V - Closing</a:t>
              </a:r>
            </a:p>
          </p:txBody>
        </p:sp>
      </p:grpSp>
      <p:grpSp>
        <p:nvGrpSpPr>
          <p:cNvPr id="167" name="Group 166"/>
          <p:cNvGrpSpPr/>
          <p:nvPr/>
        </p:nvGrpSpPr>
        <p:grpSpPr>
          <a:xfrm>
            <a:off x="6912274" y="5917207"/>
            <a:ext cx="1183006" cy="213435"/>
            <a:chOff x="5546771" y="6151913"/>
            <a:chExt cx="1265987" cy="215444"/>
          </a:xfrm>
        </p:grpSpPr>
        <p:sp>
          <p:nvSpPr>
            <p:cNvPr id="168" name="Rectangle 167"/>
            <p:cNvSpPr/>
            <p:nvPr/>
          </p:nvSpPr>
          <p:spPr>
            <a:xfrm>
              <a:off x="5546771" y="6164017"/>
              <a:ext cx="182880" cy="18288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endParaRPr lang="en-US" sz="1582" b="1" dirty="0">
                <a:solidFill>
                  <a:schemeClr val="tx1">
                    <a:lumMod val="50000"/>
                    <a:lumOff val="50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169" name="TextBox 168"/>
            <p:cNvSpPr txBox="1"/>
            <p:nvPr/>
          </p:nvSpPr>
          <p:spPr>
            <a:xfrm>
              <a:off x="5668691" y="6151913"/>
              <a:ext cx="1144067" cy="215444"/>
            </a:xfrm>
            <a:prstGeom prst="rect">
              <a:avLst/>
            </a:prstGeom>
            <a:noFill/>
          </p:spPr>
          <p:txBody>
            <a:bodyPr wrap="none" rtlCol="0">
              <a:spAutoFit/>
            </a:bodyPr>
            <a:lstStyle/>
            <a:p>
              <a:r>
                <a:rPr lang="en-US" sz="791" b="1" dirty="0">
                  <a:latin typeface="Calibri" panose="020F0502020204030204" pitchFamily="34" charset="0"/>
                  <a:ea typeface="Verdana" panose="020B0604030504040204" pitchFamily="34" charset="0"/>
                  <a:cs typeface="Calibri" panose="020F0502020204030204" pitchFamily="34" charset="0"/>
                </a:rPr>
                <a:t>Project Management</a:t>
              </a:r>
            </a:p>
          </p:txBody>
        </p:sp>
      </p:grpSp>
      <p:grpSp>
        <p:nvGrpSpPr>
          <p:cNvPr id="170" name="Group 169"/>
          <p:cNvGrpSpPr/>
          <p:nvPr/>
        </p:nvGrpSpPr>
        <p:grpSpPr>
          <a:xfrm>
            <a:off x="8123846" y="5917207"/>
            <a:ext cx="1246561" cy="213435"/>
            <a:chOff x="5546771" y="6151913"/>
            <a:chExt cx="1334001" cy="215444"/>
          </a:xfrm>
        </p:grpSpPr>
        <p:sp>
          <p:nvSpPr>
            <p:cNvPr id="171" name="Rectangle 170"/>
            <p:cNvSpPr/>
            <p:nvPr/>
          </p:nvSpPr>
          <p:spPr>
            <a:xfrm>
              <a:off x="5546771" y="6164017"/>
              <a:ext cx="182880" cy="182880"/>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endParaRPr lang="en-US" sz="1582" b="1" dirty="0">
                <a:solidFill>
                  <a:schemeClr val="tx1">
                    <a:lumMod val="50000"/>
                    <a:lumOff val="50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172" name="TextBox 171"/>
            <p:cNvSpPr txBox="1"/>
            <p:nvPr/>
          </p:nvSpPr>
          <p:spPr>
            <a:xfrm>
              <a:off x="5658531" y="6151913"/>
              <a:ext cx="1222241" cy="215444"/>
            </a:xfrm>
            <a:prstGeom prst="rect">
              <a:avLst/>
            </a:prstGeom>
            <a:noFill/>
          </p:spPr>
          <p:txBody>
            <a:bodyPr wrap="none" rtlCol="0">
              <a:spAutoFit/>
            </a:bodyPr>
            <a:lstStyle/>
            <a:p>
              <a:r>
                <a:rPr lang="en-US" sz="791" b="1" dirty="0">
                  <a:latin typeface="Calibri" panose="020F0502020204030204" pitchFamily="34" charset="0"/>
                  <a:ea typeface="Verdana" panose="020B0604030504040204" pitchFamily="34" charset="0"/>
                  <a:cs typeface="Calibri" panose="020F0502020204030204" pitchFamily="34" charset="0"/>
                </a:rPr>
                <a:t>Meetings / Workshops</a:t>
              </a:r>
            </a:p>
          </p:txBody>
        </p:sp>
      </p:grpSp>
      <p:grpSp>
        <p:nvGrpSpPr>
          <p:cNvPr id="173" name="Group 172"/>
          <p:cNvGrpSpPr/>
          <p:nvPr/>
        </p:nvGrpSpPr>
        <p:grpSpPr>
          <a:xfrm>
            <a:off x="9376650" y="5918291"/>
            <a:ext cx="714530" cy="213435"/>
            <a:chOff x="5546771" y="6151913"/>
            <a:chExt cx="764650" cy="215444"/>
          </a:xfrm>
        </p:grpSpPr>
        <p:sp>
          <p:nvSpPr>
            <p:cNvPr id="174" name="Rectangle 173"/>
            <p:cNvSpPr/>
            <p:nvPr/>
          </p:nvSpPr>
          <p:spPr>
            <a:xfrm>
              <a:off x="5546771" y="6164017"/>
              <a:ext cx="182880" cy="18288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endParaRPr lang="en-US" sz="1582" b="1" dirty="0">
                <a:solidFill>
                  <a:schemeClr val="tx1">
                    <a:lumMod val="50000"/>
                    <a:lumOff val="50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175" name="TextBox 174"/>
            <p:cNvSpPr txBox="1"/>
            <p:nvPr/>
          </p:nvSpPr>
          <p:spPr>
            <a:xfrm>
              <a:off x="5668691" y="6151913"/>
              <a:ext cx="642730" cy="215444"/>
            </a:xfrm>
            <a:prstGeom prst="rect">
              <a:avLst/>
            </a:prstGeom>
            <a:noFill/>
          </p:spPr>
          <p:txBody>
            <a:bodyPr wrap="none" rtlCol="0">
              <a:spAutoFit/>
            </a:bodyPr>
            <a:lstStyle/>
            <a:p>
              <a:r>
                <a:rPr lang="en-US" sz="791" b="1" dirty="0">
                  <a:latin typeface="Calibri" panose="020F0502020204030204" pitchFamily="34" charset="0"/>
                  <a:ea typeface="Verdana" panose="020B0604030504040204" pitchFamily="34" charset="0"/>
                  <a:cs typeface="Calibri" panose="020F0502020204030204" pitchFamily="34" charset="0"/>
                </a:rPr>
                <a:t>Fieldwork</a:t>
              </a:r>
            </a:p>
          </p:txBody>
        </p:sp>
      </p:grpSp>
      <p:grpSp>
        <p:nvGrpSpPr>
          <p:cNvPr id="176" name="Group 175"/>
          <p:cNvGrpSpPr/>
          <p:nvPr/>
        </p:nvGrpSpPr>
        <p:grpSpPr>
          <a:xfrm>
            <a:off x="10071684" y="5918291"/>
            <a:ext cx="1060726" cy="213435"/>
            <a:chOff x="5546771" y="6151913"/>
            <a:chExt cx="1135129" cy="215444"/>
          </a:xfrm>
        </p:grpSpPr>
        <p:sp>
          <p:nvSpPr>
            <p:cNvPr id="177" name="Rectangle 176"/>
            <p:cNvSpPr/>
            <p:nvPr/>
          </p:nvSpPr>
          <p:spPr>
            <a:xfrm>
              <a:off x="5546771" y="6164017"/>
              <a:ext cx="182880" cy="182880"/>
            </a:xfrm>
            <a:prstGeom prst="rect">
              <a:avLst/>
            </a:prstGeom>
            <a:solidFill>
              <a:srgbClr val="5757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587" tIns="45295" rIns="90587" bIns="45295" numCol="1" spcCol="0" rtlCol="0" fromWordArt="0" anchor="ctr" anchorCtr="0" forceAA="0" compatLnSpc="1">
              <a:prstTxWarp prst="textNoShape">
                <a:avLst/>
              </a:prstTxWarp>
              <a:noAutofit/>
            </a:bodyPr>
            <a:lstStyle/>
            <a:p>
              <a:pPr algn="ctr">
                <a:buSzPct val="65000"/>
              </a:pPr>
              <a:endParaRPr lang="en-US" sz="1582" b="1" dirty="0">
                <a:solidFill>
                  <a:schemeClr val="tx1">
                    <a:lumMod val="50000"/>
                    <a:lumOff val="50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178" name="TextBox 177"/>
            <p:cNvSpPr txBox="1"/>
            <p:nvPr/>
          </p:nvSpPr>
          <p:spPr>
            <a:xfrm>
              <a:off x="5668691" y="6151913"/>
              <a:ext cx="1013209" cy="215444"/>
            </a:xfrm>
            <a:prstGeom prst="rect">
              <a:avLst/>
            </a:prstGeom>
            <a:noFill/>
          </p:spPr>
          <p:txBody>
            <a:bodyPr wrap="none" rtlCol="0">
              <a:spAutoFit/>
            </a:bodyPr>
            <a:lstStyle/>
            <a:p>
              <a:r>
                <a:rPr lang="en-US" sz="791" b="1" dirty="0">
                  <a:latin typeface="Calibri" panose="020F0502020204030204" pitchFamily="34" charset="0"/>
                  <a:ea typeface="Verdana" panose="020B0604030504040204" pitchFamily="34" charset="0"/>
                  <a:cs typeface="Calibri" panose="020F0502020204030204" pitchFamily="34" charset="0"/>
                </a:rPr>
                <a:t>Quality Assurance</a:t>
              </a:r>
            </a:p>
          </p:txBody>
        </p:sp>
      </p:grpSp>
      <p:sp>
        <p:nvSpPr>
          <p:cNvPr id="179" name="TextBox 178"/>
          <p:cNvSpPr txBox="1"/>
          <p:nvPr/>
        </p:nvSpPr>
        <p:spPr>
          <a:xfrm>
            <a:off x="7314255" y="1494650"/>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Project Management Approach</a:t>
            </a:r>
          </a:p>
        </p:txBody>
      </p:sp>
      <p:sp>
        <p:nvSpPr>
          <p:cNvPr id="58" name="Triangle 28">
            <a:extLst>
              <a:ext uri="{FF2B5EF4-FFF2-40B4-BE49-F238E27FC236}">
                <a16:creationId xmlns:a16="http://schemas.microsoft.com/office/drawing/2014/main" id="{51A79C84-DF31-4F15-B619-C516DB11820C}"/>
              </a:ext>
            </a:extLst>
          </p:cNvPr>
          <p:cNvSpPr/>
          <p:nvPr/>
        </p:nvSpPr>
        <p:spPr>
          <a:xfrm rot="16200000">
            <a:off x="11061924"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0E011633-1B99-6152-C156-BD64078241EF}"/>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661876302"/>
      </p:ext>
    </p:extLst>
  </p:cSld>
  <p:clrMapOvr>
    <a:masterClrMapping/>
  </p:clrMapOvr>
  <p:transition spd="med">
    <p:pull/>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 </a:t>
            </a:r>
          </a:p>
        </p:txBody>
      </p:sp>
      <p:sp>
        <p:nvSpPr>
          <p:cNvPr id="49" name="Content Placeholder 7"/>
          <p:cNvSpPr>
            <a:spLocks noGrp="1"/>
          </p:cNvSpPr>
          <p:nvPr>
            <p:ph idx="1"/>
          </p:nvPr>
        </p:nvSpPr>
        <p:spPr>
          <a:xfrm>
            <a:off x="522379" y="1300844"/>
            <a:ext cx="10433553" cy="947374"/>
          </a:xfrm>
        </p:spPr>
        <p:txBody>
          <a:bodyPr/>
          <a:lstStyle/>
          <a:p>
            <a:pPr algn="just">
              <a:spcAft>
                <a:spcPts val="300"/>
              </a:spcAft>
            </a:pPr>
            <a:r>
              <a:rPr lang="en-US" sz="1100" dirty="0"/>
              <a:t>We recognize that the quality service and advice we deliver enables our clients to make good decisions and protects their businesses and reputations. Quality is our passion - engrained in our culture and reinforced by our processes and systems. The cornerstone of quality in Deloitte is the caliber of our people and the consultative environment in which they work. </a:t>
            </a:r>
          </a:p>
          <a:p>
            <a:pPr algn="just">
              <a:spcAft>
                <a:spcPts val="300"/>
              </a:spcAft>
            </a:pPr>
            <a:r>
              <a:rPr lang="en-US" sz="1100" dirty="0"/>
              <a:t>Although an iterative process, there are three distinct phases to our Quality Program: Planning, Assurance and Control.</a:t>
            </a:r>
            <a:endParaRPr lang="en-US" sz="1100" dirty="0">
              <a:cs typeface="Arial" charset="0"/>
            </a:endParaRPr>
          </a:p>
        </p:txBody>
      </p:sp>
      <p:sp>
        <p:nvSpPr>
          <p:cNvPr id="53" name="AutoShape 2"/>
          <p:cNvSpPr>
            <a:spLocks noChangeArrowheads="1"/>
          </p:cNvSpPr>
          <p:nvPr/>
        </p:nvSpPr>
        <p:spPr bwMode="auto">
          <a:xfrm>
            <a:off x="507811" y="2291419"/>
            <a:ext cx="3122865" cy="246654"/>
          </a:xfrm>
          <a:prstGeom prst="chevron">
            <a:avLst>
              <a:gd name="adj" fmla="val 136792"/>
            </a:avLst>
          </a:prstGeom>
          <a:solidFill>
            <a:srgbClr val="00ABAB"/>
          </a:solidFill>
          <a:ln w="25400" cap="flat" cmpd="sng" algn="ctr">
            <a:noFill/>
            <a:prstDash val="solid"/>
            <a:headEnd/>
            <a:tailEnd/>
          </a:ln>
          <a:effectLst/>
        </p:spPr>
        <p:txBody>
          <a:bodyPr wrap="none" lIns="89752" tIns="89752" rIns="89752" bIns="89752" anchor="ctr"/>
          <a:lstStyle/>
          <a:p>
            <a:pPr algn="ctr" defTabSz="897739">
              <a:defRPr/>
            </a:pPr>
            <a:r>
              <a:rPr lang="en-GB" sz="1191" b="1" kern="0" dirty="0">
                <a:solidFill>
                  <a:srgbClr val="FFFFFF"/>
                </a:solidFill>
                <a:latin typeface="Calibri" panose="020F0502020204030204" pitchFamily="34" charset="0"/>
              </a:rPr>
              <a:t>    Quality</a:t>
            </a:r>
            <a:r>
              <a:rPr lang="en-GB" sz="1191" b="1" kern="0" dirty="0">
                <a:solidFill>
                  <a:sysClr val="windowText" lastClr="000000"/>
                </a:solidFill>
                <a:latin typeface="Calibri" panose="020F0502020204030204" pitchFamily="34" charset="0"/>
              </a:rPr>
              <a:t> </a:t>
            </a:r>
            <a:r>
              <a:rPr lang="en-GB" sz="1191" b="1" kern="0" dirty="0">
                <a:solidFill>
                  <a:srgbClr val="FFFFFF"/>
                </a:solidFill>
                <a:latin typeface="Calibri" panose="020F0502020204030204" pitchFamily="34" charset="0"/>
              </a:rPr>
              <a:t>Planning</a:t>
            </a:r>
          </a:p>
        </p:txBody>
      </p:sp>
      <p:sp>
        <p:nvSpPr>
          <p:cNvPr id="56" name="AutoShape 3"/>
          <p:cNvSpPr>
            <a:spLocks noChangeArrowheads="1"/>
          </p:cNvSpPr>
          <p:nvPr/>
        </p:nvSpPr>
        <p:spPr bwMode="auto">
          <a:xfrm>
            <a:off x="507908" y="3982809"/>
            <a:ext cx="10448025" cy="218498"/>
          </a:xfrm>
          <a:prstGeom prst="homePlate">
            <a:avLst>
              <a:gd name="adj" fmla="val 112342"/>
            </a:avLst>
          </a:prstGeom>
          <a:solidFill>
            <a:srgbClr val="7F7F7F"/>
          </a:solidFill>
          <a:ln w="25400" cap="flat" cmpd="sng" algn="ctr">
            <a:noFill/>
            <a:prstDash val="solid"/>
            <a:headEnd/>
            <a:tailEnd/>
          </a:ln>
          <a:effectLst/>
        </p:spPr>
        <p:txBody>
          <a:bodyPr lIns="89752" tIns="89752" rIns="89752" bIns="89752" anchor="ctr"/>
          <a:lstStyle/>
          <a:p>
            <a:pPr marL="12488" indent="-12488" algn="ctr" defTabSz="897739" eaLnBrk="0" hangingPunct="0">
              <a:lnSpc>
                <a:spcPct val="110000"/>
              </a:lnSpc>
              <a:defRPr/>
            </a:pPr>
            <a:r>
              <a:rPr lang="en-GB" sz="1191" b="1" kern="0" dirty="0">
                <a:solidFill>
                  <a:srgbClr val="FFFFFF"/>
                </a:solidFill>
                <a:latin typeface="Calibri" panose="020F0502020204030204" pitchFamily="34" charset="0"/>
              </a:rPr>
              <a:t>Deloitte Quality Control Lead</a:t>
            </a:r>
          </a:p>
        </p:txBody>
      </p:sp>
      <p:sp>
        <p:nvSpPr>
          <p:cNvPr id="57" name="Rectangle 4"/>
          <p:cNvSpPr txBox="1">
            <a:spLocks noChangeArrowheads="1"/>
          </p:cNvSpPr>
          <p:nvPr/>
        </p:nvSpPr>
        <p:spPr bwMode="auto">
          <a:xfrm>
            <a:off x="507811" y="2594210"/>
            <a:ext cx="3122865" cy="1340196"/>
          </a:xfrm>
          <a:prstGeom prst="rect">
            <a:avLst/>
          </a:prstGeom>
          <a:solidFill>
            <a:srgbClr val="00ABAB"/>
          </a:solidFill>
          <a:ln w="25400" cap="flat" cmpd="sng" algn="ctr">
            <a:noFill/>
            <a:prstDash val="solid"/>
            <a:headEnd/>
            <a:tailEnd/>
          </a:ln>
          <a:effectLst/>
        </p:spPr>
        <p:txBody>
          <a:bodyPr lIns="89752" tIns="44878" rIns="89752" bIns="44878"/>
          <a:lstStyle/>
          <a:p>
            <a:pPr defTabSz="939821" fontAlgn="base">
              <a:lnSpc>
                <a:spcPct val="80000"/>
              </a:lnSpc>
              <a:spcBef>
                <a:spcPct val="0"/>
              </a:spcBef>
              <a:spcAft>
                <a:spcPts val="791"/>
              </a:spcAft>
              <a:defRPr/>
            </a:pPr>
            <a:r>
              <a:rPr lang="en-GB" sz="591" b="1" kern="0" dirty="0">
                <a:solidFill>
                  <a:srgbClr val="00A1DE"/>
                </a:solidFill>
                <a:latin typeface="Calibri" panose="020F0502020204030204" pitchFamily="34" charset="0"/>
              </a:rPr>
              <a:t>     </a:t>
            </a:r>
          </a:p>
        </p:txBody>
      </p:sp>
      <p:sp>
        <p:nvSpPr>
          <p:cNvPr id="58" name="AutoShape 5"/>
          <p:cNvSpPr>
            <a:spLocks noChangeArrowheads="1"/>
          </p:cNvSpPr>
          <p:nvPr/>
        </p:nvSpPr>
        <p:spPr bwMode="auto">
          <a:xfrm>
            <a:off x="4104953" y="2280486"/>
            <a:ext cx="3122865" cy="246655"/>
          </a:xfrm>
          <a:prstGeom prst="chevron">
            <a:avLst>
              <a:gd name="adj" fmla="val 131943"/>
            </a:avLst>
          </a:prstGeom>
          <a:solidFill>
            <a:srgbClr val="0097A9"/>
          </a:solidFill>
          <a:ln w="25400" cap="flat" cmpd="sng" algn="ctr">
            <a:noFill/>
            <a:prstDash val="solid"/>
            <a:headEnd/>
            <a:tailEnd/>
          </a:ln>
          <a:effectLst/>
        </p:spPr>
        <p:txBody>
          <a:bodyPr wrap="none" lIns="89752" tIns="89752" rIns="89752" bIns="89752" anchor="ctr"/>
          <a:lstStyle/>
          <a:p>
            <a:pPr algn="ctr" defTabSz="897739">
              <a:defRPr/>
            </a:pPr>
            <a:r>
              <a:rPr lang="en-GB" sz="1191" b="1" kern="0" dirty="0">
                <a:solidFill>
                  <a:srgbClr val="FFFFFF"/>
                </a:solidFill>
                <a:latin typeface="Calibri" panose="020F0502020204030204" pitchFamily="34" charset="0"/>
              </a:rPr>
              <a:t>  Quality Assurance</a:t>
            </a:r>
          </a:p>
        </p:txBody>
      </p:sp>
      <p:sp>
        <p:nvSpPr>
          <p:cNvPr id="59" name="AutoShape 6"/>
          <p:cNvSpPr>
            <a:spLocks noChangeArrowheads="1"/>
          </p:cNvSpPr>
          <p:nvPr/>
        </p:nvSpPr>
        <p:spPr bwMode="auto">
          <a:xfrm>
            <a:off x="7704053" y="2277351"/>
            <a:ext cx="3251881" cy="260718"/>
          </a:xfrm>
          <a:prstGeom prst="chevron">
            <a:avLst>
              <a:gd name="adj" fmla="val 127034"/>
            </a:avLst>
          </a:prstGeom>
          <a:solidFill>
            <a:srgbClr val="005560"/>
          </a:solidFill>
          <a:ln w="25400" cap="flat" cmpd="sng" algn="ctr">
            <a:noFill/>
            <a:prstDash val="solid"/>
            <a:headEnd/>
            <a:tailEnd/>
          </a:ln>
          <a:effectLst/>
        </p:spPr>
        <p:txBody>
          <a:bodyPr wrap="none" lIns="89752" tIns="89752" rIns="89752" bIns="89752" anchor="ctr"/>
          <a:lstStyle/>
          <a:p>
            <a:pPr algn="ctr" defTabSz="897739">
              <a:defRPr/>
            </a:pPr>
            <a:r>
              <a:rPr lang="en-GB" sz="1191" b="1" kern="0" dirty="0">
                <a:solidFill>
                  <a:srgbClr val="FFFFFF"/>
                </a:solidFill>
                <a:latin typeface="Calibri" panose="020F0502020204030204" pitchFamily="34" charset="0"/>
              </a:rPr>
              <a:t>    Quality Control</a:t>
            </a:r>
          </a:p>
        </p:txBody>
      </p:sp>
      <p:sp>
        <p:nvSpPr>
          <p:cNvPr id="60" name="Rectangle 7"/>
          <p:cNvSpPr>
            <a:spLocks noChangeArrowheads="1"/>
          </p:cNvSpPr>
          <p:nvPr/>
        </p:nvSpPr>
        <p:spPr bwMode="auto">
          <a:xfrm>
            <a:off x="4104953" y="2592543"/>
            <a:ext cx="3122865" cy="1341653"/>
          </a:xfrm>
          <a:prstGeom prst="rect">
            <a:avLst/>
          </a:prstGeom>
          <a:solidFill>
            <a:srgbClr val="0097A9"/>
          </a:solidFill>
          <a:ln w="25400" cap="flat" cmpd="sng" algn="ctr">
            <a:noFill/>
            <a:prstDash val="solid"/>
            <a:headEnd/>
            <a:tailEnd/>
          </a:ln>
          <a:effectLst/>
        </p:spPr>
        <p:txBody>
          <a:bodyPr lIns="89752" tIns="44878" rIns="89752" bIns="44878"/>
          <a:lstStyle/>
          <a:p>
            <a:pPr defTabSz="939821" fontAlgn="base">
              <a:lnSpc>
                <a:spcPct val="80000"/>
              </a:lnSpc>
              <a:spcBef>
                <a:spcPct val="0"/>
              </a:spcBef>
              <a:spcAft>
                <a:spcPts val="791"/>
              </a:spcAft>
              <a:defRPr/>
            </a:pPr>
            <a:r>
              <a:rPr lang="en-GB" sz="591" kern="0" dirty="0">
                <a:solidFill>
                  <a:srgbClr val="00A1DE"/>
                </a:solidFill>
                <a:latin typeface="Calibri" panose="020F0502020204030204" pitchFamily="34" charset="0"/>
              </a:rPr>
              <a:t>     </a:t>
            </a:r>
          </a:p>
        </p:txBody>
      </p:sp>
      <p:sp>
        <p:nvSpPr>
          <p:cNvPr id="61" name="Rectangle 8"/>
          <p:cNvSpPr>
            <a:spLocks noChangeArrowheads="1"/>
          </p:cNvSpPr>
          <p:nvPr/>
        </p:nvSpPr>
        <p:spPr bwMode="auto">
          <a:xfrm>
            <a:off x="7704054" y="2592543"/>
            <a:ext cx="3251881" cy="1341653"/>
          </a:xfrm>
          <a:prstGeom prst="rect">
            <a:avLst/>
          </a:prstGeom>
          <a:solidFill>
            <a:srgbClr val="005560"/>
          </a:solidFill>
          <a:ln w="25400" cap="flat" cmpd="sng" algn="ctr">
            <a:noFill/>
            <a:prstDash val="solid"/>
            <a:headEnd/>
            <a:tailEnd/>
          </a:ln>
          <a:effectLst/>
        </p:spPr>
        <p:txBody>
          <a:bodyPr lIns="89752" tIns="44878" rIns="89752" bIns="44878"/>
          <a:lstStyle/>
          <a:p>
            <a:pPr marL="187023" indent="-187023" defTabSz="939821" fontAlgn="base">
              <a:lnSpc>
                <a:spcPct val="80000"/>
              </a:lnSpc>
              <a:spcBef>
                <a:spcPct val="0"/>
              </a:spcBef>
              <a:spcAft>
                <a:spcPts val="791"/>
              </a:spcAft>
              <a:tabLst>
                <a:tab pos="5610840" algn="l"/>
              </a:tabLst>
              <a:defRPr/>
            </a:pPr>
            <a:r>
              <a:rPr lang="en-GB" sz="591" kern="0" dirty="0">
                <a:solidFill>
                  <a:srgbClr val="00A1DE"/>
                </a:solidFill>
                <a:latin typeface="Calibri" panose="020F0502020204030204" pitchFamily="34" charset="0"/>
              </a:rPr>
              <a:t>     </a:t>
            </a:r>
          </a:p>
        </p:txBody>
      </p:sp>
      <p:sp>
        <p:nvSpPr>
          <p:cNvPr id="62" name="AutoShape 9"/>
          <p:cNvSpPr>
            <a:spLocks noChangeArrowheads="1"/>
          </p:cNvSpPr>
          <p:nvPr/>
        </p:nvSpPr>
        <p:spPr bwMode="auto">
          <a:xfrm>
            <a:off x="9143006" y="2642758"/>
            <a:ext cx="1675286" cy="360715"/>
          </a:xfrm>
          <a:prstGeom prst="homePlate">
            <a:avLst>
              <a:gd name="adj" fmla="val 90636"/>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89752" tIns="89752" rIns="89752" bIns="89752" anchor="ctr"/>
          <a:lstStyle/>
          <a:p>
            <a:pPr algn="ctr" defTabSz="897739" eaLnBrk="0" hangingPunct="0">
              <a:defRPr/>
            </a:pPr>
            <a:r>
              <a:rPr lang="en-GB" sz="991" kern="0" dirty="0">
                <a:solidFill>
                  <a:srgbClr val="000000"/>
                </a:solidFill>
                <a:latin typeface="Calibri" panose="020F0502020204030204" pitchFamily="34" charset="0"/>
                <a:cs typeface="Arial" charset="0"/>
              </a:rPr>
              <a:t>Accurate Deliverables</a:t>
            </a:r>
          </a:p>
          <a:p>
            <a:pPr algn="ctr" defTabSz="897739" eaLnBrk="0" hangingPunct="0">
              <a:defRPr/>
            </a:pPr>
            <a:r>
              <a:rPr lang="en-GB" sz="991" kern="0" dirty="0">
                <a:solidFill>
                  <a:srgbClr val="000000"/>
                </a:solidFill>
                <a:latin typeface="Calibri" panose="020F0502020204030204" pitchFamily="34" charset="0"/>
                <a:cs typeface="Arial" charset="0"/>
              </a:rPr>
              <a:t> Meeting Expectations</a:t>
            </a:r>
          </a:p>
        </p:txBody>
      </p:sp>
      <p:sp>
        <p:nvSpPr>
          <p:cNvPr id="63" name="AutoShape 10"/>
          <p:cNvSpPr>
            <a:spLocks noChangeArrowheads="1"/>
          </p:cNvSpPr>
          <p:nvPr/>
        </p:nvSpPr>
        <p:spPr bwMode="auto">
          <a:xfrm>
            <a:off x="7843052" y="3142114"/>
            <a:ext cx="1561432" cy="360715"/>
          </a:xfrm>
          <a:prstGeom prst="homePlate">
            <a:avLst>
              <a:gd name="adj" fmla="val 76727"/>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89752" tIns="89752" rIns="89752" bIns="89752" anchor="ctr"/>
          <a:lstStyle/>
          <a:p>
            <a:pPr algn="ctr" defTabSz="897739" eaLnBrk="0" hangingPunct="0">
              <a:defRPr/>
            </a:pPr>
            <a:r>
              <a:rPr lang="en-GB" sz="991" kern="0" dirty="0">
                <a:solidFill>
                  <a:srgbClr val="000000"/>
                </a:solidFill>
                <a:latin typeface="Calibri" panose="020F0502020204030204" pitchFamily="34" charset="0"/>
                <a:cs typeface="Arial" charset="0"/>
              </a:rPr>
              <a:t>Document  Quality Issues</a:t>
            </a:r>
          </a:p>
        </p:txBody>
      </p:sp>
      <p:sp>
        <p:nvSpPr>
          <p:cNvPr id="64" name="AutoShape 11"/>
          <p:cNvSpPr>
            <a:spLocks noChangeArrowheads="1"/>
          </p:cNvSpPr>
          <p:nvPr/>
        </p:nvSpPr>
        <p:spPr bwMode="auto">
          <a:xfrm>
            <a:off x="625592" y="3514534"/>
            <a:ext cx="1561432" cy="360715"/>
          </a:xfrm>
          <a:prstGeom prst="homePlate">
            <a:avLst>
              <a:gd name="adj" fmla="val 86916"/>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89752" tIns="89752" rIns="89752" bIns="89752" anchor="ctr"/>
          <a:lstStyle/>
          <a:p>
            <a:pPr algn="ctr" defTabSz="897739" eaLnBrk="0" hangingPunct="0">
              <a:defRPr/>
            </a:pPr>
            <a:r>
              <a:rPr lang="en-GB" sz="991" kern="0" dirty="0">
                <a:solidFill>
                  <a:srgbClr val="000000"/>
                </a:solidFill>
                <a:latin typeface="Calibri" panose="020F0502020204030204" pitchFamily="34" charset="0"/>
                <a:cs typeface="Arial" charset="0"/>
              </a:rPr>
              <a:t>Define Client Expectations</a:t>
            </a:r>
          </a:p>
        </p:txBody>
      </p:sp>
      <p:sp>
        <p:nvSpPr>
          <p:cNvPr id="65" name="AutoShape 12"/>
          <p:cNvSpPr>
            <a:spLocks noChangeArrowheads="1"/>
          </p:cNvSpPr>
          <p:nvPr/>
        </p:nvSpPr>
        <p:spPr bwMode="auto">
          <a:xfrm>
            <a:off x="1316829" y="3085065"/>
            <a:ext cx="1561432" cy="360715"/>
          </a:xfrm>
          <a:prstGeom prst="homePlate">
            <a:avLst>
              <a:gd name="adj" fmla="val 93403"/>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89752" tIns="89752" rIns="89752" bIns="89752" anchor="ctr"/>
          <a:lstStyle/>
          <a:p>
            <a:pPr algn="ctr" defTabSz="897739" eaLnBrk="0" hangingPunct="0">
              <a:defRPr/>
            </a:pPr>
            <a:r>
              <a:rPr lang="en-GB" sz="991" kern="0" dirty="0">
                <a:solidFill>
                  <a:srgbClr val="000000"/>
                </a:solidFill>
                <a:latin typeface="Calibri" panose="020F0502020204030204" pitchFamily="34" charset="0"/>
                <a:cs typeface="Arial" charset="0"/>
              </a:rPr>
              <a:t>Communicate Quality Standards</a:t>
            </a:r>
          </a:p>
        </p:txBody>
      </p:sp>
      <p:sp>
        <p:nvSpPr>
          <p:cNvPr id="66" name="AutoShape 13"/>
          <p:cNvSpPr>
            <a:spLocks noChangeArrowheads="1"/>
          </p:cNvSpPr>
          <p:nvPr/>
        </p:nvSpPr>
        <p:spPr bwMode="auto">
          <a:xfrm>
            <a:off x="1932955" y="2649295"/>
            <a:ext cx="1631913" cy="360715"/>
          </a:xfrm>
          <a:prstGeom prst="homePlate">
            <a:avLst>
              <a:gd name="adj" fmla="val 107328"/>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89752" tIns="89752" rIns="89752" bIns="89752" anchor="ctr"/>
          <a:lstStyle/>
          <a:p>
            <a:pPr algn="ctr" defTabSz="897739" eaLnBrk="0" hangingPunct="0">
              <a:defRPr/>
            </a:pPr>
            <a:r>
              <a:rPr lang="en-GB" sz="991" kern="0" dirty="0">
                <a:solidFill>
                  <a:srgbClr val="000000"/>
                </a:solidFill>
                <a:latin typeface="Calibri" panose="020F0502020204030204" pitchFamily="34" charset="0"/>
                <a:cs typeface="Arial" charset="0"/>
              </a:rPr>
              <a:t>Establish Templates and Procedures</a:t>
            </a:r>
          </a:p>
        </p:txBody>
      </p:sp>
      <p:cxnSp>
        <p:nvCxnSpPr>
          <p:cNvPr id="67" name="AutoShape 14"/>
          <p:cNvCxnSpPr>
            <a:cxnSpLocks noChangeShapeType="1"/>
            <a:stCxn id="66" idx="3"/>
            <a:endCxn id="72" idx="1"/>
          </p:cNvCxnSpPr>
          <p:nvPr/>
        </p:nvCxnSpPr>
        <p:spPr bwMode="auto">
          <a:xfrm>
            <a:off x="3564868" y="2829653"/>
            <a:ext cx="657868" cy="852656"/>
          </a:xfrm>
          <a:prstGeom prst="bentConnector3">
            <a:avLst>
              <a:gd name="adj1" fmla="val 50000"/>
            </a:avLst>
          </a:prstGeom>
          <a:noFill/>
          <a:ln w="38100">
            <a:solidFill>
              <a:srgbClr val="343434"/>
            </a:solidFill>
            <a:round/>
            <a:headEnd/>
            <a:tailEnd type="triangle" w="med" len="med"/>
          </a:ln>
        </p:spPr>
      </p:cxnSp>
      <p:sp>
        <p:nvSpPr>
          <p:cNvPr id="68" name="Rectangle 15"/>
          <p:cNvSpPr>
            <a:spLocks noChangeArrowheads="1"/>
          </p:cNvSpPr>
          <p:nvPr/>
        </p:nvSpPr>
        <p:spPr bwMode="auto">
          <a:xfrm>
            <a:off x="507811" y="4222933"/>
            <a:ext cx="3122865" cy="729401"/>
          </a:xfrm>
          <a:prstGeom prst="rect">
            <a:avLst/>
          </a:prstGeom>
          <a:solidFill>
            <a:srgbClr val="00ABAB"/>
          </a:solidFill>
          <a:ln w="25400" cap="flat" cmpd="sng" algn="ctr">
            <a:noFill/>
            <a:prstDash val="solid"/>
            <a:headEnd type="none" w="sm" len="sm"/>
            <a:tailEnd type="none" w="sm" len="sm"/>
          </a:ln>
          <a:effectLst/>
        </p:spPr>
        <p:txBody>
          <a:bodyPr lIns="89752" tIns="45295" rIns="89752" bIns="89752" anchor="t"/>
          <a:lstStyle/>
          <a:p>
            <a:pPr algn="just" defTabSz="897739">
              <a:spcBef>
                <a:spcPct val="50000"/>
              </a:spcBef>
              <a:defRPr/>
            </a:pPr>
            <a:r>
              <a:rPr lang="en-GB" sz="1041" kern="0" dirty="0">
                <a:solidFill>
                  <a:srgbClr val="FFFFFF"/>
                </a:solidFill>
                <a:latin typeface="Calibri" panose="020F0502020204030204" pitchFamily="34" charset="0"/>
              </a:rPr>
              <a:t>This process identifies the quality standards that are expected by and relevant </a:t>
            </a:r>
            <a:r>
              <a:rPr lang="en-GB" sz="1041" kern="0" dirty="0">
                <a:solidFill>
                  <a:schemeClr val="bg1"/>
                </a:solidFill>
                <a:latin typeface="Calibri" panose="020F0502020204030204" pitchFamily="34" charset="0"/>
              </a:rPr>
              <a:t>to </a:t>
            </a:r>
            <a:r>
              <a:rPr lang="en-US" sz="1041" kern="0" dirty="0">
                <a:solidFill>
                  <a:schemeClr val="bg1"/>
                </a:solidFill>
                <a:latin typeface="Calibri" panose="020F0502020204030204" pitchFamily="34" charset="0"/>
              </a:rPr>
              <a:t>stc</a:t>
            </a:r>
            <a:r>
              <a:rPr lang="en-GB" sz="1041" kern="0" dirty="0">
                <a:solidFill>
                  <a:schemeClr val="bg1"/>
                </a:solidFill>
                <a:latin typeface="Calibri" panose="020F0502020204030204" pitchFamily="34" charset="0"/>
              </a:rPr>
              <a:t> and </a:t>
            </a:r>
            <a:r>
              <a:rPr lang="en-GB" sz="1041" kern="0" dirty="0">
                <a:solidFill>
                  <a:srgbClr val="FFFFFF"/>
                </a:solidFill>
                <a:latin typeface="Calibri" panose="020F0502020204030204" pitchFamily="34" charset="0"/>
              </a:rPr>
              <a:t>determines how to fulfil them.</a:t>
            </a:r>
            <a:endParaRPr lang="en-GB" sz="1041" b="1" kern="0" dirty="0">
              <a:solidFill>
                <a:srgbClr val="FFFFFF"/>
              </a:solidFill>
              <a:latin typeface="Calibri" panose="020F0502020204030204" pitchFamily="34" charset="0"/>
            </a:endParaRPr>
          </a:p>
        </p:txBody>
      </p:sp>
      <p:sp>
        <p:nvSpPr>
          <p:cNvPr id="69" name="Rectangle 16"/>
          <p:cNvSpPr>
            <a:spLocks noChangeArrowheads="1"/>
          </p:cNvSpPr>
          <p:nvPr/>
        </p:nvSpPr>
        <p:spPr bwMode="auto">
          <a:xfrm>
            <a:off x="4104953" y="4222933"/>
            <a:ext cx="3122865" cy="729401"/>
          </a:xfrm>
          <a:prstGeom prst="rect">
            <a:avLst/>
          </a:prstGeom>
          <a:solidFill>
            <a:srgbClr val="0097A9"/>
          </a:solidFill>
          <a:ln w="25400" cap="flat" cmpd="sng" algn="ctr">
            <a:noFill/>
            <a:prstDash val="solid"/>
            <a:headEnd type="none" w="sm" len="sm"/>
            <a:tailEnd type="none" w="sm" len="sm"/>
          </a:ln>
          <a:effectLst/>
        </p:spPr>
        <p:txBody>
          <a:bodyPr lIns="89752" tIns="45295" rIns="89752" bIns="89752" anchor="t"/>
          <a:lstStyle/>
          <a:p>
            <a:pPr algn="just" defTabSz="897739">
              <a:spcBef>
                <a:spcPct val="50000"/>
              </a:spcBef>
              <a:defRPr/>
            </a:pPr>
            <a:r>
              <a:rPr lang="en-GB" sz="1041" kern="0" dirty="0">
                <a:solidFill>
                  <a:srgbClr val="FFFFFF"/>
                </a:solidFill>
                <a:latin typeface="Calibri" panose="020F0502020204030204" pitchFamily="34" charset="0"/>
              </a:rPr>
              <a:t>This process focuses on each deliverable meeting relevant quality standards; and is accomplished through peer reviews, client reviews, and product reviews.</a:t>
            </a:r>
          </a:p>
        </p:txBody>
      </p:sp>
      <p:sp>
        <p:nvSpPr>
          <p:cNvPr id="70" name="Rectangle 17"/>
          <p:cNvSpPr>
            <a:spLocks noChangeArrowheads="1"/>
          </p:cNvSpPr>
          <p:nvPr/>
        </p:nvSpPr>
        <p:spPr bwMode="auto">
          <a:xfrm>
            <a:off x="7675168" y="4222933"/>
            <a:ext cx="3280759" cy="729401"/>
          </a:xfrm>
          <a:prstGeom prst="rect">
            <a:avLst/>
          </a:prstGeom>
          <a:solidFill>
            <a:srgbClr val="005560"/>
          </a:solidFill>
          <a:ln w="25400" cap="flat" cmpd="sng" algn="ctr">
            <a:noFill/>
            <a:prstDash val="solid"/>
            <a:headEnd type="none" w="sm" len="sm"/>
            <a:tailEnd type="none" w="sm" len="sm"/>
          </a:ln>
          <a:effectLst/>
        </p:spPr>
        <p:txBody>
          <a:bodyPr lIns="89752" tIns="45295" rIns="89752" bIns="89752" anchor="t"/>
          <a:lstStyle/>
          <a:p>
            <a:pPr algn="just" defTabSz="897739">
              <a:spcBef>
                <a:spcPct val="50000"/>
              </a:spcBef>
              <a:defRPr/>
            </a:pPr>
            <a:r>
              <a:rPr lang="en-GB" sz="1041" kern="0" dirty="0">
                <a:solidFill>
                  <a:srgbClr val="FFFFFF"/>
                </a:solidFill>
                <a:latin typeface="Calibri" panose="020F0502020204030204" pitchFamily="34" charset="0"/>
              </a:rPr>
              <a:t>This process monitors and manages quality issues so that compliance is maintained, including objective reports of quality issues to Deloitte </a:t>
            </a:r>
            <a:r>
              <a:rPr lang="en-GB" sz="1041" kern="0" dirty="0">
                <a:solidFill>
                  <a:schemeClr val="bg1"/>
                </a:solidFill>
                <a:latin typeface="Calibri" panose="020F0502020204030204" pitchFamily="34" charset="0"/>
              </a:rPr>
              <a:t>leadership and </a:t>
            </a:r>
            <a:r>
              <a:rPr lang="en-US" sz="1041" kern="0" dirty="0">
                <a:solidFill>
                  <a:schemeClr val="bg1"/>
                </a:solidFill>
                <a:latin typeface="Calibri" panose="020F0502020204030204" pitchFamily="34" charset="0"/>
              </a:rPr>
              <a:t>stc</a:t>
            </a:r>
            <a:r>
              <a:rPr lang="en-GB" sz="1041" kern="0" dirty="0">
                <a:solidFill>
                  <a:schemeClr val="bg1"/>
                </a:solidFill>
                <a:latin typeface="Calibri" panose="020F0502020204030204" pitchFamily="34" charset="0"/>
              </a:rPr>
              <a:t>.</a:t>
            </a:r>
          </a:p>
        </p:txBody>
      </p:sp>
      <p:sp>
        <p:nvSpPr>
          <p:cNvPr id="71" name="AutoShape 19"/>
          <p:cNvSpPr>
            <a:spLocks noChangeArrowheads="1"/>
          </p:cNvSpPr>
          <p:nvPr/>
        </p:nvSpPr>
        <p:spPr bwMode="auto">
          <a:xfrm>
            <a:off x="4979624" y="3072482"/>
            <a:ext cx="1561432" cy="360715"/>
          </a:xfrm>
          <a:prstGeom prst="homePlate">
            <a:avLst>
              <a:gd name="adj" fmla="val 106044"/>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89752" tIns="89752" rIns="89752" bIns="89752" anchor="ctr"/>
          <a:lstStyle/>
          <a:p>
            <a:pPr algn="ctr" defTabSz="897739" eaLnBrk="0" hangingPunct="0">
              <a:defRPr/>
            </a:pPr>
            <a:r>
              <a:rPr lang="en-GB" sz="991" kern="0" dirty="0">
                <a:solidFill>
                  <a:srgbClr val="000000"/>
                </a:solidFill>
                <a:latin typeface="Calibri" panose="020F0502020204030204" pitchFamily="34" charset="0"/>
                <a:cs typeface="Arial" charset="0"/>
              </a:rPr>
              <a:t>Quality Reporting</a:t>
            </a:r>
          </a:p>
        </p:txBody>
      </p:sp>
      <p:sp>
        <p:nvSpPr>
          <p:cNvPr id="72" name="AutoShape 20"/>
          <p:cNvSpPr>
            <a:spLocks noChangeArrowheads="1"/>
          </p:cNvSpPr>
          <p:nvPr/>
        </p:nvSpPr>
        <p:spPr bwMode="auto">
          <a:xfrm>
            <a:off x="4222736" y="3501951"/>
            <a:ext cx="1561432" cy="360715"/>
          </a:xfrm>
          <a:prstGeom prst="homePlate">
            <a:avLst>
              <a:gd name="adj" fmla="val 82981"/>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89752" tIns="89752" rIns="89752" bIns="89752" anchor="ctr"/>
          <a:lstStyle/>
          <a:p>
            <a:pPr algn="ctr" defTabSz="897739" eaLnBrk="0" hangingPunct="0">
              <a:defRPr/>
            </a:pPr>
            <a:r>
              <a:rPr lang="en-GB" sz="991" kern="0" dirty="0">
                <a:solidFill>
                  <a:srgbClr val="000000"/>
                </a:solidFill>
                <a:latin typeface="Calibri" panose="020F0502020204030204" pitchFamily="34" charset="0"/>
                <a:cs typeface="Arial" charset="0"/>
              </a:rPr>
              <a:t>Deliverable Review Process</a:t>
            </a:r>
          </a:p>
        </p:txBody>
      </p:sp>
      <p:sp>
        <p:nvSpPr>
          <p:cNvPr id="73" name="AutoShape 21"/>
          <p:cNvSpPr>
            <a:spLocks noChangeArrowheads="1"/>
          </p:cNvSpPr>
          <p:nvPr/>
        </p:nvSpPr>
        <p:spPr bwMode="auto">
          <a:xfrm>
            <a:off x="5634174" y="2649295"/>
            <a:ext cx="1561432" cy="360715"/>
          </a:xfrm>
          <a:prstGeom prst="homePlate">
            <a:avLst>
              <a:gd name="adj" fmla="val 73646"/>
            </a:avLst>
          </a:prstGeom>
          <a:solidFill>
            <a:srgbClr val="FFFFFF"/>
          </a:solidFill>
          <a:ln w="6350" algn="ctr">
            <a:noFill/>
            <a:miter lim="800000"/>
            <a:headEnd type="none" w="sm" len="sm"/>
            <a:tailEnd type="none" w="sm" len="sm"/>
          </a:ln>
          <a:effectLst/>
          <a:scene3d>
            <a:camera prst="orthographicFront"/>
            <a:lightRig rig="threePt" dir="t"/>
          </a:scene3d>
          <a:sp3d>
            <a:bevelT/>
            <a:bevelB/>
          </a:sp3d>
        </p:spPr>
        <p:txBody>
          <a:bodyPr lIns="89752" tIns="89752" rIns="89752" bIns="89752" anchor="ctr"/>
          <a:lstStyle/>
          <a:p>
            <a:pPr algn="ctr" defTabSz="897739" eaLnBrk="0" hangingPunct="0">
              <a:defRPr/>
            </a:pPr>
            <a:r>
              <a:rPr lang="en-GB" sz="991" kern="0" dirty="0">
                <a:solidFill>
                  <a:srgbClr val="000000"/>
                </a:solidFill>
                <a:latin typeface="Calibri" panose="020F0502020204030204" pitchFamily="34" charset="0"/>
                <a:cs typeface="Arial" charset="0"/>
              </a:rPr>
              <a:t>Stakeholder Feedback</a:t>
            </a:r>
          </a:p>
        </p:txBody>
      </p:sp>
      <p:cxnSp>
        <p:nvCxnSpPr>
          <p:cNvPr id="74" name="AutoShape 14"/>
          <p:cNvCxnSpPr>
            <a:cxnSpLocks noChangeShapeType="1"/>
            <a:endCxn id="63" idx="1"/>
          </p:cNvCxnSpPr>
          <p:nvPr/>
        </p:nvCxnSpPr>
        <p:spPr bwMode="auto">
          <a:xfrm>
            <a:off x="7227826" y="2829650"/>
            <a:ext cx="615230" cy="492817"/>
          </a:xfrm>
          <a:prstGeom prst="bentConnector3">
            <a:avLst>
              <a:gd name="adj1" fmla="val 50000"/>
            </a:avLst>
          </a:prstGeom>
          <a:noFill/>
          <a:ln w="38100">
            <a:solidFill>
              <a:srgbClr val="343434"/>
            </a:solidFill>
            <a:round/>
            <a:headEnd/>
            <a:tailEnd type="triangle" w="med" len="med"/>
          </a:ln>
        </p:spPr>
      </p:cxnSp>
      <p:sp>
        <p:nvSpPr>
          <p:cNvPr id="7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roject and Quality Management</a:t>
            </a:r>
          </a:p>
        </p:txBody>
      </p:sp>
      <p:sp>
        <p:nvSpPr>
          <p:cNvPr id="2" name="Rectangle 1"/>
          <p:cNvSpPr/>
          <p:nvPr/>
        </p:nvSpPr>
        <p:spPr>
          <a:xfrm>
            <a:off x="501908" y="5253449"/>
            <a:ext cx="10454020" cy="769441"/>
          </a:xfrm>
          <a:prstGeom prst="rect">
            <a:avLst/>
          </a:prstGeom>
        </p:spPr>
        <p:txBody>
          <a:bodyPr wrap="square">
            <a:spAutoFit/>
          </a:bodyPr>
          <a:lstStyle/>
          <a:p>
            <a:pPr algn="just">
              <a:spcAft>
                <a:spcPts val="300"/>
              </a:spcAft>
              <a:buSzPct val="100000"/>
            </a:pPr>
            <a:r>
              <a:rPr lang="en-US" sz="1100" dirty="0">
                <a:latin typeface="Calibri" panose="020F0502020204030204" pitchFamily="34" charset="0"/>
              </a:rPr>
              <a:t>The Quality Control Plan depicted above has been designed to manage the quality of work through-out the duration of the engagement. The Quality Control Plan is based on a Quality Control framework that has been established by DTT member firms, refined through years of implementation, and has been successfully used by Deloitte professionals on large public and private sector engagements.  This Quality Control Plan includes items specific to the needs with the goal of producing uniform, clear, concise, deliverables and work products of the highest possible quality throughout our length of service to stc.</a:t>
            </a:r>
          </a:p>
        </p:txBody>
      </p:sp>
      <p:sp>
        <p:nvSpPr>
          <p:cNvPr id="28" name="Triangle 28">
            <a:extLst>
              <a:ext uri="{FF2B5EF4-FFF2-40B4-BE49-F238E27FC236}">
                <a16:creationId xmlns:a16="http://schemas.microsoft.com/office/drawing/2014/main" id="{33E6CA5D-D20F-4D56-AEA6-E19610D2F91C}"/>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3" name="Rectangle 2">
            <a:extLst>
              <a:ext uri="{FF2B5EF4-FFF2-40B4-BE49-F238E27FC236}">
                <a16:creationId xmlns:a16="http://schemas.microsoft.com/office/drawing/2014/main" id="{A71851E5-5B8F-88FA-D384-04496D70C951}"/>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332247531"/>
      </p:ext>
    </p:extLst>
  </p:cSld>
  <p:clrMapOvr>
    <a:masterClrMapping/>
  </p:clrMapOvr>
  <p:transition spd="med">
    <p:pull/>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922788"/>
            <a:ext cx="6049823" cy="2866798"/>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50" b="1" i="0" u="none" strike="noStrike" kern="1200" cap="none" spc="0" normalizeH="0" baseline="0" noProof="0" dirty="0">
                <a:ln>
                  <a:noFill/>
                </a:ln>
                <a:solidFill>
                  <a:srgbClr val="0097A9"/>
                </a:solidFill>
                <a:effectLst/>
                <a:uLnTx/>
                <a:uFillTx/>
                <a:latin typeface="Calibri" panose="020F0502020204030204" pitchFamily="34" charset="0"/>
                <a:ea typeface="Verdana" panose="020B0604030504040204" pitchFamily="34" charset="0"/>
                <a:cs typeface="Calibri" panose="020F0502020204030204" pitchFamily="34" charset="0"/>
              </a:rPr>
              <a:t>Risk Assessment</a:t>
            </a:r>
          </a:p>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Understand and document the significant threats and hazards that could adversely impact stc products, services and processes. This involves facilitating workshops with relevant stakeholders to understand and document the probability, severity, and impact of these threats and hazards. </a:t>
            </a:r>
          </a:p>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We will do the following activities:</a:t>
            </a:r>
          </a:p>
          <a:p>
            <a:pPr marL="169914" marR="0" lvl="0" indent="-169914" algn="just" defTabSz="914400" rtl="0" eaLnBrk="1" fontAlgn="base" latinLnBrk="0" hangingPunct="1">
              <a:lnSpc>
                <a:spcPct val="100000"/>
              </a:lnSpc>
              <a:spcBef>
                <a:spcPts val="0"/>
              </a:spcBef>
              <a:spcAft>
                <a:spcPts val="1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velop a customized TRA template tailored to stc need, utilizing the existing risk management framework.</a:t>
            </a:r>
          </a:p>
          <a:p>
            <a:pPr marL="169914" marR="0" lvl="0" indent="-169914" algn="just" defTabSz="914400" rtl="0" eaLnBrk="1" fontAlgn="base" latinLnBrk="0" hangingPunct="1">
              <a:lnSpc>
                <a:spcPct val="100000"/>
              </a:lnSpc>
              <a:spcBef>
                <a:spcPts val="0"/>
              </a:spcBef>
              <a:spcAft>
                <a:spcPts val="1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dentify the threats for the in-scope location (i.e. stc Head office in Riyadh and other locations across the Kingdom), possible likelihood, probability of occurrence and the potential impact of the threats.</a:t>
            </a:r>
          </a:p>
          <a:p>
            <a:pPr marL="169914" marR="0" lvl="0" indent="-169914" algn="just" defTabSz="914400" rtl="0" eaLnBrk="1" fontAlgn="base" latinLnBrk="0" hangingPunct="1">
              <a:lnSpc>
                <a:spcPct val="100000"/>
              </a:lnSpc>
              <a:spcBef>
                <a:spcPts val="0"/>
              </a:spcBef>
              <a:spcAft>
                <a:spcPts val="1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dentify inherent risks associated with various asset categories defined in BETH3V: Buildings, Equipment (hardware), Technology (software), Human Resources, 3rd parties (stakeholders), and Vital Records.</a:t>
            </a:r>
          </a:p>
          <a:p>
            <a:pPr marL="169914" marR="0" lvl="0" indent="-169914" algn="just" defTabSz="914400" rtl="0" eaLnBrk="1" fontAlgn="base" latinLnBrk="0" hangingPunct="1">
              <a:lnSpc>
                <a:spcPct val="100000"/>
              </a:lnSpc>
              <a:spcBef>
                <a:spcPts val="0"/>
              </a:spcBef>
              <a:spcAft>
                <a:spcPts val="1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dentify the existing physical and environmental mitigating controls / measures.</a:t>
            </a:r>
          </a:p>
          <a:p>
            <a:pPr marL="169914" marR="0" lvl="0" indent="-169914" algn="just" defTabSz="914400" rtl="0" eaLnBrk="1" fontAlgn="base" latinLnBrk="0" hangingPunct="1">
              <a:lnSpc>
                <a:spcPct val="100000"/>
              </a:lnSpc>
              <a:spcBef>
                <a:spcPts val="0"/>
              </a:spcBef>
              <a:spcAft>
                <a:spcPts val="1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Measure the risk exposure level after evaluating the identified mitigating measures implemented in stc, using the existing risk management approach.</a:t>
            </a:r>
          </a:p>
          <a:p>
            <a:pPr marL="169914" marR="0" lvl="0" indent="-169914" algn="just" defTabSz="914400" rtl="0" eaLnBrk="1" fontAlgn="base" latinLnBrk="0" hangingPunct="1">
              <a:lnSpc>
                <a:spcPct val="100000"/>
              </a:lnSpc>
              <a:spcBef>
                <a:spcPts val="0"/>
              </a:spcBef>
              <a:spcAft>
                <a:spcPts val="1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velop a consolidated TRA report outlining all the results captured throughout the TRA exercise.</a:t>
            </a:r>
          </a:p>
          <a:p>
            <a:pPr marL="169914" marR="0" lvl="0" indent="-169914" algn="just" defTabSz="914400" rtl="0" eaLnBrk="1" fontAlgn="base" latinLnBrk="0" hangingPunct="1">
              <a:lnSpc>
                <a:spcPct val="100000"/>
              </a:lnSpc>
              <a:spcBef>
                <a:spcPts val="0"/>
              </a:spcBef>
              <a:spcAft>
                <a:spcPts val="1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velop a risk assessment presentation for the Senior Management outlining all the key results captured throughout the analysis and assessment exercises.</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1: BCM Risk Assessment (1/2)</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45872" y="4932504"/>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578654" y="4917988"/>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10686" y="5365262"/>
            <a:ext cx="6049823" cy="883865"/>
          </a:xfrm>
          <a:prstGeom prst="rect">
            <a:avLst/>
          </a:prstGeom>
          <a:noFill/>
          <a:ln w="3175" algn="ctr">
            <a:solidFill>
              <a:srgbClr val="21B6B6"/>
            </a:solidFill>
            <a:miter lim="800000"/>
            <a:headEnd/>
            <a:tailEnd/>
          </a:ln>
        </p:spPr>
        <p:txBody>
          <a:bodyPr wrap="square" lIns="88071" tIns="88071" rIns="88071" bIns="88071" rtlCol="0" anchor="ctr"/>
          <a:lstStyle/>
          <a:p>
            <a:pPr marL="169914" indent="-169914" algn="just" fontAlgn="base">
              <a:buClr>
                <a:srgbClr val="21B6B6"/>
              </a:buClr>
              <a:buFont typeface="Arial" panose="020B0604020202020204" pitchFamily="34" charset="0"/>
              <a:buChar char="•"/>
            </a:pPr>
            <a:r>
              <a:rPr lang="en-US" sz="1000" dirty="0">
                <a:latin typeface="Calibri" panose="020F0502020204030204" pitchFamily="34" charset="0"/>
                <a:ea typeface="Verdana" panose="020B0604030504040204" pitchFamily="34" charset="0"/>
                <a:cs typeface="Calibri" panose="020F0502020204030204" pitchFamily="34" charset="0"/>
              </a:rPr>
              <a:t>Risk Assessment methodology and template</a:t>
            </a:r>
          </a:p>
          <a:p>
            <a:pPr marL="169914" indent="-169914" algn="just" fontAlgn="base">
              <a:buClr>
                <a:srgbClr val="21B6B6"/>
              </a:buClr>
              <a:buFont typeface="Arial" panose="020B0604020202020204" pitchFamily="34" charset="0"/>
              <a:buChar char="•"/>
            </a:pPr>
            <a:r>
              <a:rPr lang="en-US" sz="1000" dirty="0">
                <a:latin typeface="Calibri" panose="020F0502020204030204" pitchFamily="34" charset="0"/>
                <a:ea typeface="Verdana" panose="020B0604030504040204" pitchFamily="34" charset="0"/>
                <a:cs typeface="Calibri" panose="020F0502020204030204" pitchFamily="34" charset="0"/>
              </a:rPr>
              <a:t>BC Risk Register</a:t>
            </a:r>
          </a:p>
          <a:p>
            <a:pPr marL="169914" indent="-169914" algn="just" fontAlgn="base">
              <a:buClr>
                <a:srgbClr val="21B6B6"/>
              </a:buClr>
              <a:buFont typeface="Arial" panose="020B0604020202020204" pitchFamily="34" charset="0"/>
              <a:buChar char="•"/>
            </a:pPr>
            <a:r>
              <a:rPr lang="en-US" sz="1000" dirty="0">
                <a:latin typeface="Calibri" panose="020F0502020204030204" pitchFamily="34" charset="0"/>
                <a:ea typeface="Verdana" panose="020B0604030504040204" pitchFamily="34" charset="0"/>
                <a:cs typeface="Calibri" panose="020F0502020204030204" pitchFamily="34" charset="0"/>
              </a:rPr>
              <a:t>Consolidated BC Risk Assessment Report</a:t>
            </a:r>
          </a:p>
          <a:p>
            <a:pPr marL="169914" indent="-169914" algn="just" fontAlgn="base">
              <a:buClr>
                <a:srgbClr val="21B6B6"/>
              </a:buClr>
              <a:buFont typeface="Arial" panose="020B0604020202020204" pitchFamily="34" charset="0"/>
              <a:buChar char="•"/>
            </a:pPr>
            <a:r>
              <a:rPr lang="en-US" sz="1000" dirty="0">
                <a:latin typeface="Calibri" panose="020F0502020204030204" pitchFamily="34" charset="0"/>
                <a:ea typeface="Verdana" panose="020B0604030504040204" pitchFamily="34" charset="0"/>
                <a:cs typeface="Calibri" panose="020F0502020204030204" pitchFamily="34" charset="0"/>
              </a:rPr>
              <a:t>Presentation to Senior Management</a:t>
            </a:r>
          </a:p>
        </p:txBody>
      </p:sp>
      <p:grpSp>
        <p:nvGrpSpPr>
          <p:cNvPr id="142" name="Group 8"/>
          <p:cNvGrpSpPr>
            <a:grpSpLocks noChangeAspect="1"/>
          </p:cNvGrpSpPr>
          <p:nvPr/>
        </p:nvGrpSpPr>
        <p:grpSpPr bwMode="auto">
          <a:xfrm>
            <a:off x="6913183" y="1455166"/>
            <a:ext cx="363617" cy="363617"/>
            <a:chOff x="1346" y="303"/>
            <a:chExt cx="340" cy="340"/>
          </a:xfrm>
          <a:solidFill>
            <a:schemeClr val="accent1"/>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21B6B6"/>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solidFill>
                <a:srgbClr val="21B6B6"/>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grpSp>
      <p:sp>
        <p:nvSpPr>
          <p:cNvPr id="179" name="TextBox 178"/>
          <p:cNvSpPr txBox="1"/>
          <p:nvPr/>
        </p:nvSpPr>
        <p:spPr>
          <a:xfrm>
            <a:off x="7314251" y="1494650"/>
            <a:ext cx="3346496"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Methodologies / Sample Deliverables</a:t>
            </a:r>
          </a:p>
        </p:txBody>
      </p:sp>
      <p:pic>
        <p:nvPicPr>
          <p:cNvPr id="74" name="Picture 73"/>
          <p:cNvPicPr>
            <a:picLocks noChangeAspect="1"/>
          </p:cNvPicPr>
          <p:nvPr/>
        </p:nvPicPr>
        <p:blipFill rotWithShape="1">
          <a:blip r:embed="rId2"/>
          <a:srcRect t="5204"/>
          <a:stretch/>
        </p:blipFill>
        <p:spPr>
          <a:xfrm>
            <a:off x="6875621" y="2194759"/>
            <a:ext cx="4211317" cy="2061456"/>
          </a:xfrm>
          <a:prstGeom prst="rect">
            <a:avLst/>
          </a:prstGeom>
          <a:ln>
            <a:solidFill>
              <a:schemeClr val="bg2"/>
            </a:solidFill>
          </a:ln>
          <a:effectLst>
            <a:outerShdw blurRad="50800" dist="38100" dir="2700000" algn="tl" rotWithShape="0">
              <a:prstClr val="black">
                <a:alpha val="40000"/>
              </a:prstClr>
            </a:outerShdw>
          </a:effectLst>
        </p:spPr>
      </p:pic>
      <p:sp>
        <p:nvSpPr>
          <p:cNvPr id="75" name="TextBox 74"/>
          <p:cNvSpPr txBox="1"/>
          <p:nvPr/>
        </p:nvSpPr>
        <p:spPr>
          <a:xfrm rot="19785134">
            <a:off x="7448970" y="3281092"/>
            <a:ext cx="2795710" cy="259170"/>
          </a:xfrm>
          <a:prstGeom prst="rect">
            <a:avLst/>
          </a:prstGeom>
          <a:solidFill>
            <a:schemeClr val="bg1">
              <a:alpha val="35000"/>
            </a:schemeClr>
          </a:solidFill>
          <a:ln>
            <a:solidFill>
              <a:schemeClr val="accent6"/>
            </a:solidFill>
          </a:ln>
        </p:spPr>
        <p:txBody>
          <a:bodyPr wrap="square" rtlCol="0">
            <a:spAutoFit/>
          </a:bodyPr>
          <a:lstStyle/>
          <a:p>
            <a:pPr algn="ctr"/>
            <a:r>
              <a:rPr lang="en-US" sz="1091" b="1" dirty="0">
                <a:solidFill>
                  <a:srgbClr val="DA291C"/>
                </a:solidFill>
              </a:rPr>
              <a:t>For Illustration Purposes Only</a:t>
            </a:r>
          </a:p>
        </p:txBody>
      </p:sp>
      <p:sp>
        <p:nvSpPr>
          <p:cNvPr id="23" name="Triangle 28">
            <a:extLst>
              <a:ext uri="{FF2B5EF4-FFF2-40B4-BE49-F238E27FC236}">
                <a16:creationId xmlns:a16="http://schemas.microsoft.com/office/drawing/2014/main" id="{267075F6-4A85-489B-870C-D0B4A13AF0AE}"/>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33AA50A0-EBA0-EED4-23B5-95A79BD48065}"/>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1561488064"/>
      </p:ext>
    </p:extLst>
  </p:cSld>
  <p:clrMapOvr>
    <a:masterClrMapping/>
  </p:clrMapOvr>
  <p:transition spd="med">
    <p:pull/>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23" name="Triangle 28">
            <a:extLst>
              <a:ext uri="{FF2B5EF4-FFF2-40B4-BE49-F238E27FC236}">
                <a16:creationId xmlns:a16="http://schemas.microsoft.com/office/drawing/2014/main" id="{267075F6-4A85-489B-870C-D0B4A13AF0AE}"/>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33AA50A0-EBA0-EED4-23B5-95A79BD48065}"/>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
        <p:nvSpPr>
          <p:cNvPr id="9" name="Rectangle 8">
            <a:extLst>
              <a:ext uri="{FF2B5EF4-FFF2-40B4-BE49-F238E27FC236}">
                <a16:creationId xmlns:a16="http://schemas.microsoft.com/office/drawing/2014/main" id="{3EDC6D09-879A-1990-808B-8A2F6B00C3D3}"/>
              </a:ext>
            </a:extLst>
          </p:cNvPr>
          <p:cNvSpPr/>
          <p:nvPr/>
        </p:nvSpPr>
        <p:spPr bwMode="gray">
          <a:xfrm>
            <a:off x="469899" y="1110700"/>
            <a:ext cx="10479057" cy="5342897"/>
          </a:xfrm>
          <a:prstGeom prst="rect">
            <a:avLst/>
          </a:prstGeom>
          <a:solidFill>
            <a:schemeClr val="accent4">
              <a:alpha val="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4DA347BF-E82C-8655-8FE7-A27E4387282A}"/>
              </a:ext>
            </a:extLst>
          </p:cNvPr>
          <p:cNvSpPr txBox="1"/>
          <p:nvPr/>
        </p:nvSpPr>
        <p:spPr>
          <a:xfrm>
            <a:off x="498819" y="1133421"/>
            <a:ext cx="10450137" cy="688202"/>
          </a:xfrm>
          <a:prstGeom prst="rect">
            <a:avLst/>
          </a:prstGeom>
          <a:noFill/>
        </p:spPr>
        <p:txBody>
          <a:bodyPr wrap="square" lIns="0" rIns="0">
            <a:spAutoFit/>
          </a:bodyPr>
          <a:lstStyle/>
          <a:p>
            <a:pPr algn="just" defTabSz="1219170">
              <a:lnSpc>
                <a:spcPct val="120000"/>
              </a:lnSpc>
              <a:spcAft>
                <a:spcPts val="300"/>
              </a:spcAft>
              <a:buSzPct val="100000"/>
            </a:pPr>
            <a:r>
              <a:rPr lang="en-US" sz="1091" dirty="0">
                <a:latin typeface="Calibri" panose="020F0502020204030204" pitchFamily="34" charset="0"/>
                <a:cs typeface="Calibri" panose="020F0502020204030204" pitchFamily="34" charset="0"/>
              </a:rPr>
              <a:t>Threat Risk Assessment (TRA) methodology will be tailored / customized in alignment with the currently adopted Risk Management to meet stc needs and requirements. The TRA targets the understanding and documentation of significant threats and hazards which could adversely impact stc operations and services; a sample of key threats and risks are outlined in the diagram below:</a:t>
            </a:r>
          </a:p>
        </p:txBody>
      </p:sp>
      <p:graphicFrame>
        <p:nvGraphicFramePr>
          <p:cNvPr id="11" name="Table 10">
            <a:extLst>
              <a:ext uri="{FF2B5EF4-FFF2-40B4-BE49-F238E27FC236}">
                <a16:creationId xmlns:a16="http://schemas.microsoft.com/office/drawing/2014/main" id="{6C37F49E-B483-B3B5-28A6-469378C1AD5A}"/>
              </a:ext>
            </a:extLst>
          </p:cNvPr>
          <p:cNvGraphicFramePr>
            <a:graphicFrameLocks noGrp="1"/>
          </p:cNvGraphicFramePr>
          <p:nvPr>
            <p:extLst>
              <p:ext uri="{D42A27DB-BD31-4B8C-83A1-F6EECF244321}">
                <p14:modId xmlns:p14="http://schemas.microsoft.com/office/powerpoint/2010/main" val="2894487887"/>
              </p:ext>
            </p:extLst>
          </p:nvPr>
        </p:nvGraphicFramePr>
        <p:xfrm>
          <a:off x="653510" y="1993187"/>
          <a:ext cx="10140751" cy="4098856"/>
        </p:xfrm>
        <a:graphic>
          <a:graphicData uri="http://schemas.openxmlformats.org/drawingml/2006/table">
            <a:tbl>
              <a:tblPr firstRow="1" bandRow="1">
                <a:tableStyleId>{5C22544A-7EE6-4342-B048-85BDC9FD1C3A}</a:tableStyleId>
              </a:tblPr>
              <a:tblGrid>
                <a:gridCol w="668673">
                  <a:extLst>
                    <a:ext uri="{9D8B030D-6E8A-4147-A177-3AD203B41FA5}">
                      <a16:colId xmlns:a16="http://schemas.microsoft.com/office/drawing/2014/main" val="2998645968"/>
                    </a:ext>
                  </a:extLst>
                </a:gridCol>
                <a:gridCol w="752150">
                  <a:extLst>
                    <a:ext uri="{9D8B030D-6E8A-4147-A177-3AD203B41FA5}">
                      <a16:colId xmlns:a16="http://schemas.microsoft.com/office/drawing/2014/main" val="752375835"/>
                    </a:ext>
                  </a:extLst>
                </a:gridCol>
                <a:gridCol w="2343663">
                  <a:extLst>
                    <a:ext uri="{9D8B030D-6E8A-4147-A177-3AD203B41FA5}">
                      <a16:colId xmlns:a16="http://schemas.microsoft.com/office/drawing/2014/main" val="1925736016"/>
                    </a:ext>
                  </a:extLst>
                </a:gridCol>
                <a:gridCol w="910895">
                  <a:extLst>
                    <a:ext uri="{9D8B030D-6E8A-4147-A177-3AD203B41FA5}">
                      <a16:colId xmlns:a16="http://schemas.microsoft.com/office/drawing/2014/main" val="2022227256"/>
                    </a:ext>
                  </a:extLst>
                </a:gridCol>
                <a:gridCol w="910895">
                  <a:extLst>
                    <a:ext uri="{9D8B030D-6E8A-4147-A177-3AD203B41FA5}">
                      <a16:colId xmlns:a16="http://schemas.microsoft.com/office/drawing/2014/main" val="2843054398"/>
                    </a:ext>
                  </a:extLst>
                </a:gridCol>
                <a:gridCol w="910895">
                  <a:extLst>
                    <a:ext uri="{9D8B030D-6E8A-4147-A177-3AD203B41FA5}">
                      <a16:colId xmlns:a16="http://schemas.microsoft.com/office/drawing/2014/main" val="721633929"/>
                    </a:ext>
                  </a:extLst>
                </a:gridCol>
                <a:gridCol w="910895">
                  <a:extLst>
                    <a:ext uri="{9D8B030D-6E8A-4147-A177-3AD203B41FA5}">
                      <a16:colId xmlns:a16="http://schemas.microsoft.com/office/drawing/2014/main" val="2349038693"/>
                    </a:ext>
                  </a:extLst>
                </a:gridCol>
                <a:gridCol w="910895">
                  <a:extLst>
                    <a:ext uri="{9D8B030D-6E8A-4147-A177-3AD203B41FA5}">
                      <a16:colId xmlns:a16="http://schemas.microsoft.com/office/drawing/2014/main" val="1105863963"/>
                    </a:ext>
                  </a:extLst>
                </a:gridCol>
                <a:gridCol w="910895">
                  <a:extLst>
                    <a:ext uri="{9D8B030D-6E8A-4147-A177-3AD203B41FA5}">
                      <a16:colId xmlns:a16="http://schemas.microsoft.com/office/drawing/2014/main" val="2658591474"/>
                    </a:ext>
                  </a:extLst>
                </a:gridCol>
                <a:gridCol w="910895">
                  <a:extLst>
                    <a:ext uri="{9D8B030D-6E8A-4147-A177-3AD203B41FA5}">
                      <a16:colId xmlns:a16="http://schemas.microsoft.com/office/drawing/2014/main" val="2320334014"/>
                    </a:ext>
                  </a:extLst>
                </a:gridCol>
              </a:tblGrid>
              <a:tr h="640080">
                <a:tc>
                  <a:txBody>
                    <a:bodyPr/>
                    <a:lstStyle/>
                    <a:p>
                      <a:pPr algn="ctr"/>
                      <a:r>
                        <a:rPr lang="en-US" sz="1000" b="1" i="0" u="none" strike="noStrike" cap="none" spc="0" baseline="0" dirty="0">
                          <a:ln>
                            <a:noFill/>
                          </a:ln>
                          <a:solidFill>
                            <a:srgbClr val="FFFFFF"/>
                          </a:solidFill>
                          <a:effectLst/>
                          <a:uFillTx/>
                          <a:latin typeface="Calibri" panose="020F0502020204030204" pitchFamily="34" charset="0"/>
                          <a:ea typeface="+mn-ea"/>
                          <a:cs typeface="Calibri" panose="020F0502020204030204" pitchFamily="34" charset="0"/>
                          <a:sym typeface="Calibri"/>
                        </a:rPr>
                        <a:t>Reference</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algn="ctr"/>
                      <a:r>
                        <a:rPr lang="en-US" sz="1000" b="1" dirty="0">
                          <a:latin typeface="Calibri" panose="020F0502020204030204" pitchFamily="34" charset="0"/>
                          <a:ea typeface="Verdana" panose="020B0604030504040204" pitchFamily="34" charset="0"/>
                          <a:cs typeface="Calibri" panose="020F0502020204030204" pitchFamily="34" charset="0"/>
                        </a:rPr>
                        <a:t>Threat / Risk Categor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4"/>
                    </a:solidFill>
                  </a:tcPr>
                </a:tc>
                <a:tc>
                  <a:txBody>
                    <a:bodyPr/>
                    <a:lstStyle/>
                    <a:p>
                      <a:pPr algn="ctr"/>
                      <a:r>
                        <a:rPr lang="en-US" sz="1000" b="1" dirty="0">
                          <a:latin typeface="Calibri" panose="020F0502020204030204" pitchFamily="34" charset="0"/>
                          <a:ea typeface="Verdana" panose="020B0604030504040204" pitchFamily="34" charset="0"/>
                          <a:cs typeface="Calibri" panose="020F0502020204030204" pitchFamily="34" charset="0"/>
                        </a:rPr>
                        <a:t>Threat / Risk Description</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4"/>
                    </a:solidFill>
                  </a:tcPr>
                </a:tc>
                <a:tc>
                  <a:txBody>
                    <a:bodyPr/>
                    <a:lstStyle/>
                    <a:p>
                      <a:pPr algn="ctr"/>
                      <a:r>
                        <a:rPr lang="en-US" sz="1000" b="1" dirty="0">
                          <a:latin typeface="Calibri" panose="020F0502020204030204" pitchFamily="34" charset="0"/>
                          <a:ea typeface="Verdana" panose="020B0604030504040204" pitchFamily="34" charset="0"/>
                          <a:cs typeface="Calibri" panose="020F0502020204030204" pitchFamily="34" charset="0"/>
                        </a:rPr>
                        <a:t>Impacted Resource Type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4"/>
                    </a:solidFill>
                  </a:tcPr>
                </a:tc>
                <a:tc>
                  <a:txBody>
                    <a:bodyPr/>
                    <a:lstStyle/>
                    <a:p>
                      <a:pPr algn="ctr" fontAlgn="b"/>
                      <a:r>
                        <a:rPr lang="en-US" sz="1000" b="1" kern="1200" dirty="0">
                          <a:solidFill>
                            <a:schemeClr val="lt1"/>
                          </a:solidFill>
                          <a:latin typeface="Calibri" panose="020F0502020204030204" pitchFamily="34" charset="0"/>
                          <a:ea typeface="Verdana" panose="020B0604030504040204" pitchFamily="34" charset="0"/>
                          <a:cs typeface="Calibri" panose="020F0502020204030204" pitchFamily="34" charset="0"/>
                        </a:rPr>
                        <a:t>Likelihood</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4"/>
                    </a:solidFill>
                  </a:tcPr>
                </a:tc>
                <a:tc>
                  <a:txBody>
                    <a:bodyPr/>
                    <a:lstStyle/>
                    <a:p>
                      <a:pPr algn="ctr" fontAlgn="b"/>
                      <a:r>
                        <a:rPr lang="en-US" sz="1000" b="1" kern="1200" dirty="0">
                          <a:solidFill>
                            <a:schemeClr val="lt1"/>
                          </a:solidFill>
                          <a:latin typeface="Calibri" panose="020F0502020204030204" pitchFamily="34" charset="0"/>
                          <a:ea typeface="Verdana" panose="020B0604030504040204" pitchFamily="34" charset="0"/>
                          <a:cs typeface="Calibri" panose="020F0502020204030204" pitchFamily="34" charset="0"/>
                        </a:rPr>
                        <a:t>Impac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4"/>
                    </a:solidFill>
                  </a:tcPr>
                </a:tc>
                <a:tc>
                  <a:txBody>
                    <a:bodyPr/>
                    <a:lstStyle/>
                    <a:p>
                      <a:pPr algn="ctr" fontAlgn="b"/>
                      <a:r>
                        <a:rPr lang="en-US" sz="1000" b="1" kern="1200" dirty="0">
                          <a:solidFill>
                            <a:schemeClr val="lt1"/>
                          </a:solidFill>
                          <a:latin typeface="Calibri" panose="020F0502020204030204" pitchFamily="34" charset="0"/>
                          <a:ea typeface="Verdana" panose="020B0604030504040204" pitchFamily="34" charset="0"/>
                          <a:cs typeface="Calibri" panose="020F0502020204030204" pitchFamily="34" charset="0"/>
                        </a:rPr>
                        <a:t>Inherent Risk </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4"/>
                    </a:solidFill>
                  </a:tcPr>
                </a:tc>
                <a:tc>
                  <a:txBody>
                    <a:bodyPr/>
                    <a:lstStyle/>
                    <a:p>
                      <a:pPr algn="ctr" fontAlgn="b"/>
                      <a:r>
                        <a:rPr lang="en-US" sz="1000" b="1" kern="1200" dirty="0">
                          <a:solidFill>
                            <a:schemeClr val="lt1"/>
                          </a:solidFill>
                          <a:latin typeface="Calibri" panose="020F0502020204030204" pitchFamily="34" charset="0"/>
                          <a:ea typeface="Verdana" panose="020B0604030504040204" pitchFamily="34" charset="0"/>
                          <a:cs typeface="Calibri" panose="020F0502020204030204" pitchFamily="34" charset="0"/>
                        </a:rPr>
                        <a:t>Exciting Control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4"/>
                    </a:solidFill>
                  </a:tcPr>
                </a:tc>
                <a:tc>
                  <a:txBody>
                    <a:bodyPr/>
                    <a:lstStyle/>
                    <a:p>
                      <a:pPr algn="ctr" fontAlgn="b"/>
                      <a:r>
                        <a:rPr lang="en-US" sz="1000" b="1" kern="1200" dirty="0">
                          <a:solidFill>
                            <a:schemeClr val="lt1"/>
                          </a:solidFill>
                          <a:latin typeface="Calibri" panose="020F0502020204030204" pitchFamily="34" charset="0"/>
                          <a:ea typeface="Verdana" panose="020B0604030504040204" pitchFamily="34" charset="0"/>
                          <a:cs typeface="Calibri" panose="020F0502020204030204" pitchFamily="34" charset="0"/>
                        </a:rPr>
                        <a:t>Control Effectivenes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4"/>
                    </a:solidFill>
                  </a:tcPr>
                </a:tc>
                <a:tc>
                  <a:txBody>
                    <a:bodyPr/>
                    <a:lstStyle/>
                    <a:p>
                      <a:pPr algn="ctr" fontAlgn="b"/>
                      <a:r>
                        <a:rPr lang="en-US" sz="1000" b="1" kern="1200" dirty="0">
                          <a:solidFill>
                            <a:schemeClr val="lt1"/>
                          </a:solidFill>
                          <a:latin typeface="Calibri" panose="020F0502020204030204" pitchFamily="34" charset="0"/>
                          <a:ea typeface="Verdana" panose="020B0604030504040204" pitchFamily="34" charset="0"/>
                          <a:cs typeface="Calibri" panose="020F0502020204030204" pitchFamily="34" charset="0"/>
                        </a:rPr>
                        <a:t>Residual Risk</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1527568969"/>
                  </a:ext>
                </a:extLst>
              </a:tr>
              <a:tr h="432347">
                <a:tc>
                  <a:txBody>
                    <a:bodyPr/>
                    <a:lstStyle/>
                    <a:p>
                      <a:pPr algn="ctr"/>
                      <a:r>
                        <a:rPr lang="en-US" sz="1000" b="1" dirty="0">
                          <a:solidFill>
                            <a:schemeClr val="accent4"/>
                          </a:solidFill>
                          <a:latin typeface="Calibri" panose="020F0502020204030204" pitchFamily="34" charset="0"/>
                          <a:ea typeface="Verdana" panose="020B0604030504040204" pitchFamily="34" charset="0"/>
                          <a:cs typeface="Calibri" panose="020F0502020204030204" pitchFamily="34" charset="0"/>
                        </a:rPr>
                        <a:t>1</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alpha val="50000"/>
                      </a:schemeClr>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l" defTabSz="914400" rtl="0" latinLnBrk="0">
                        <a:lnSpc>
                          <a:spcPct val="100000"/>
                        </a:lnSpc>
                        <a:spcBef>
                          <a:spcPts val="0"/>
                        </a:spcBef>
                        <a:spcAft>
                          <a:spcPts val="0"/>
                        </a:spcAft>
                        <a:buClrTx/>
                        <a:buSzTx/>
                        <a:buFontTx/>
                        <a:buNone/>
                        <a:tabLst/>
                      </a:pPr>
                      <a:r>
                        <a:rPr lang="en-US" sz="11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Safety hazard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C00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C00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92D05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3271080356"/>
                  </a:ext>
                </a:extLst>
              </a:tr>
              <a:tr h="432347">
                <a:tc>
                  <a:txBody>
                    <a:bodyPr/>
                    <a:lstStyle/>
                    <a:p>
                      <a:pPr algn="ctr"/>
                      <a:r>
                        <a:rPr lang="en-US" sz="1000" b="1" dirty="0">
                          <a:solidFill>
                            <a:schemeClr val="accent4"/>
                          </a:solidFill>
                          <a:latin typeface="Calibri" panose="020F0502020204030204" pitchFamily="34" charset="0"/>
                          <a:ea typeface="Verdana" panose="020B0604030504040204" pitchFamily="34" charset="0"/>
                          <a:cs typeface="Calibri" panose="020F0502020204030204" pitchFamily="34" charset="0"/>
                        </a:rPr>
                        <a:t>2</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alpha val="50000"/>
                      </a:schemeClr>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l" defTabSz="914400" rtl="0" latinLnBrk="0">
                        <a:lnSpc>
                          <a:spcPct val="100000"/>
                        </a:lnSpc>
                        <a:spcBef>
                          <a:spcPts val="0"/>
                        </a:spcBef>
                        <a:spcAft>
                          <a:spcPts val="0"/>
                        </a:spcAft>
                        <a:buClrTx/>
                        <a:buSzTx/>
                        <a:buFontTx/>
                        <a:buNone/>
                        <a:tabLst/>
                      </a:pPr>
                      <a:r>
                        <a:rPr lang="en-US" sz="11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Health hazard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C00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C00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92D05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4252845196"/>
                  </a:ext>
                </a:extLst>
              </a:tr>
              <a:tr h="432347">
                <a:tc>
                  <a:txBody>
                    <a:bodyPr/>
                    <a:lstStyle/>
                    <a:p>
                      <a:pPr algn="ctr"/>
                      <a:r>
                        <a:rPr lang="en-US" sz="1000" b="1" dirty="0">
                          <a:solidFill>
                            <a:schemeClr val="accent4"/>
                          </a:solidFill>
                          <a:latin typeface="Calibri" panose="020F0502020204030204" pitchFamily="34" charset="0"/>
                          <a:ea typeface="Verdana" panose="020B0604030504040204" pitchFamily="34" charset="0"/>
                          <a:cs typeface="Calibri" panose="020F0502020204030204" pitchFamily="34" charset="0"/>
                        </a:rPr>
                        <a:t>3</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alpha val="50000"/>
                      </a:schemeClr>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l" defTabSz="914400" rtl="0" latinLnBrk="0">
                        <a:lnSpc>
                          <a:spcPct val="100000"/>
                        </a:lnSpc>
                        <a:spcBef>
                          <a:spcPts val="0"/>
                        </a:spcBef>
                        <a:spcAft>
                          <a:spcPts val="0"/>
                        </a:spcAft>
                        <a:buClrTx/>
                        <a:buSzTx/>
                        <a:buFontTx/>
                        <a:buNone/>
                        <a:tabLst/>
                      </a:pPr>
                      <a:r>
                        <a:rPr lang="en-US" sz="11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Environmental hazard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FF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92D05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460993557"/>
                  </a:ext>
                </a:extLst>
              </a:tr>
              <a:tr h="432347">
                <a:tc>
                  <a:txBody>
                    <a:bodyPr/>
                    <a:lstStyle/>
                    <a:p>
                      <a:pPr algn="ctr"/>
                      <a:r>
                        <a:rPr lang="en-US" sz="1000" b="1" dirty="0">
                          <a:solidFill>
                            <a:schemeClr val="accent4"/>
                          </a:solidFill>
                          <a:latin typeface="Calibri" panose="020F0502020204030204" pitchFamily="34" charset="0"/>
                          <a:ea typeface="Verdana" panose="020B0604030504040204" pitchFamily="34" charset="0"/>
                          <a:cs typeface="Calibri" panose="020F0502020204030204" pitchFamily="34" charset="0"/>
                        </a:rPr>
                        <a:t>4</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alpha val="50000"/>
                      </a:schemeClr>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l" defTabSz="914400" rtl="0" latinLnBrk="0">
                        <a:lnSpc>
                          <a:spcPct val="100000"/>
                        </a:lnSpc>
                        <a:spcBef>
                          <a:spcPts val="0"/>
                        </a:spcBef>
                        <a:spcAft>
                          <a:spcPts val="0"/>
                        </a:spcAft>
                        <a:buClrTx/>
                        <a:buSzTx/>
                        <a:buFontTx/>
                        <a:buNone/>
                        <a:tabLst/>
                      </a:pPr>
                      <a:r>
                        <a:rPr lang="en-US" sz="11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Property Damage</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92D05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534094976"/>
                  </a:ext>
                </a:extLst>
              </a:tr>
              <a:tr h="432347">
                <a:tc>
                  <a:txBody>
                    <a:bodyPr/>
                    <a:lstStyle/>
                    <a:p>
                      <a:pPr algn="ctr"/>
                      <a:r>
                        <a:rPr lang="en-US" sz="1000" b="1" dirty="0">
                          <a:solidFill>
                            <a:schemeClr val="accent4"/>
                          </a:solidFill>
                          <a:latin typeface="Calibri" panose="020F0502020204030204" pitchFamily="34" charset="0"/>
                          <a:ea typeface="Verdana" panose="020B0604030504040204" pitchFamily="34" charset="0"/>
                          <a:cs typeface="Calibri" panose="020F0502020204030204" pitchFamily="34" charset="0"/>
                        </a:rPr>
                        <a:t>5</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alpha val="50000"/>
                      </a:schemeClr>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l" defTabSz="914400" rtl="0" latinLnBrk="0">
                        <a:lnSpc>
                          <a:spcPct val="100000"/>
                        </a:lnSpc>
                        <a:spcBef>
                          <a:spcPts val="0"/>
                        </a:spcBef>
                        <a:spcAft>
                          <a:spcPts val="0"/>
                        </a:spcAft>
                        <a:buClrTx/>
                        <a:buSzTx/>
                        <a:buFontTx/>
                        <a:buNone/>
                        <a:tabLst/>
                      </a:pPr>
                      <a:r>
                        <a:rPr lang="en-US" sz="11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Fire, flood or storm</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92D05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2606773185"/>
                  </a:ext>
                </a:extLst>
              </a:tr>
              <a:tr h="432347">
                <a:tc>
                  <a:txBody>
                    <a:bodyPr/>
                    <a:lstStyle/>
                    <a:p>
                      <a:pPr algn="ctr"/>
                      <a:r>
                        <a:rPr lang="en-US" sz="1000" b="1" dirty="0">
                          <a:solidFill>
                            <a:schemeClr val="accent4"/>
                          </a:solidFill>
                          <a:latin typeface="Calibri" panose="020F0502020204030204" pitchFamily="34" charset="0"/>
                          <a:ea typeface="Verdana" panose="020B0604030504040204" pitchFamily="34" charset="0"/>
                          <a:cs typeface="Calibri" panose="020F0502020204030204" pitchFamily="34" charset="0"/>
                        </a:rPr>
                        <a:t>6</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alpha val="50000"/>
                      </a:schemeClr>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l" defTabSz="914400" rtl="0" latinLnBrk="0">
                        <a:lnSpc>
                          <a:spcPct val="100000"/>
                        </a:lnSpc>
                        <a:spcBef>
                          <a:spcPts val="0"/>
                        </a:spcBef>
                        <a:spcAft>
                          <a:spcPts val="0"/>
                        </a:spcAft>
                        <a:buClrTx/>
                        <a:buSzTx/>
                        <a:buFontTx/>
                        <a:buNone/>
                        <a:tabLst/>
                      </a:pPr>
                      <a:r>
                        <a:rPr lang="fr-FR" sz="11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Terrorist / sabotage </a:t>
                      </a:r>
                      <a:r>
                        <a:rPr lang="en-US" sz="1100" b="0" i="0" u="none" strike="noStrike" cap="none" spc="0" baseline="0" noProof="0" dirty="0">
                          <a:ln>
                            <a:noFill/>
                          </a:ln>
                          <a:solidFill>
                            <a:srgbClr val="000000"/>
                          </a:solidFill>
                          <a:effectLst/>
                          <a:uFillTx/>
                          <a:latin typeface="Calibri" panose="020F0502020204030204" pitchFamily="34" charset="0"/>
                          <a:ea typeface="+mn-ea"/>
                          <a:cs typeface="Calibri" panose="020F0502020204030204" pitchFamily="34" charset="0"/>
                          <a:sym typeface="Calibri"/>
                        </a:rPr>
                        <a:t>attack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accent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FF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92D05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673794964"/>
                  </a:ext>
                </a:extLst>
              </a:tr>
              <a:tr h="432347">
                <a:tc>
                  <a:txBody>
                    <a:bodyPr/>
                    <a:lstStyle/>
                    <a:p>
                      <a:pPr algn="ctr"/>
                      <a:r>
                        <a:rPr lang="en-US" sz="1000" b="1" dirty="0">
                          <a:solidFill>
                            <a:schemeClr val="accent4"/>
                          </a:solidFill>
                          <a:latin typeface="Calibri" panose="020F0502020204030204" pitchFamily="34" charset="0"/>
                          <a:ea typeface="Verdana" panose="020B0604030504040204" pitchFamily="34" charset="0"/>
                          <a:cs typeface="Calibri" panose="020F0502020204030204" pitchFamily="34" charset="0"/>
                        </a:rPr>
                        <a:t>7</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alpha val="50000"/>
                      </a:schemeClr>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l" defTabSz="914400" rtl="0" latinLnBrk="0">
                        <a:lnSpc>
                          <a:spcPct val="100000"/>
                        </a:lnSpc>
                        <a:spcBef>
                          <a:spcPts val="0"/>
                        </a:spcBef>
                        <a:spcAft>
                          <a:spcPts val="0"/>
                        </a:spcAft>
                        <a:buClrTx/>
                        <a:buSzTx/>
                        <a:buFontTx/>
                        <a:buNone/>
                        <a:tabLst/>
                      </a:pPr>
                      <a:r>
                        <a:rPr lang="en-US" sz="11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Power outage</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C00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C00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92D05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296279026"/>
                  </a:ext>
                </a:extLst>
              </a:tr>
              <a:tr h="432347">
                <a:tc>
                  <a:txBody>
                    <a:bodyPr/>
                    <a:lstStyle/>
                    <a:p>
                      <a:pPr algn="ctr"/>
                      <a:r>
                        <a:rPr lang="en-US" sz="1000" b="1" dirty="0">
                          <a:solidFill>
                            <a:schemeClr val="accent4"/>
                          </a:solidFill>
                          <a:latin typeface="Calibri" panose="020F0502020204030204" pitchFamily="34" charset="0"/>
                          <a:ea typeface="Verdana" panose="020B0604030504040204" pitchFamily="34" charset="0"/>
                          <a:cs typeface="Calibri" panose="020F0502020204030204" pitchFamily="34" charset="0"/>
                        </a:rPr>
                        <a:t>8</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alpha val="50000"/>
                      </a:schemeClr>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l" defTabSz="914400" rtl="0" latinLnBrk="0">
                        <a:lnSpc>
                          <a:spcPct val="100000"/>
                        </a:lnSpc>
                        <a:spcBef>
                          <a:spcPts val="0"/>
                        </a:spcBef>
                        <a:spcAft>
                          <a:spcPts val="0"/>
                        </a:spcAft>
                        <a:buClrTx/>
                        <a:buSzTx/>
                        <a:buFontTx/>
                        <a:buNone/>
                        <a:tabLst/>
                      </a:pPr>
                      <a:r>
                        <a:rPr lang="en-US" sz="11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Visibility into 3</a:t>
                      </a:r>
                      <a:r>
                        <a:rPr lang="en-US" sz="1100" b="0" i="0" u="none" strike="noStrike" cap="none" spc="0" baseline="30000" dirty="0">
                          <a:ln>
                            <a:noFill/>
                          </a:ln>
                          <a:solidFill>
                            <a:srgbClr val="000000"/>
                          </a:solidFill>
                          <a:effectLst/>
                          <a:uFillTx/>
                          <a:latin typeface="Calibri" panose="020F0502020204030204" pitchFamily="34" charset="0"/>
                          <a:ea typeface="+mn-ea"/>
                          <a:cs typeface="Calibri" panose="020F0502020204030204" pitchFamily="34" charset="0"/>
                          <a:sym typeface="Calibri"/>
                        </a:rPr>
                        <a:t>rd</a:t>
                      </a:r>
                      <a:r>
                        <a:rPr lang="en-US" sz="11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 party risk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chemeClr val="bg1"/>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92D050"/>
                    </a:solidFill>
                  </a:tcPr>
                </a:tc>
                <a:tc>
                  <a:txBody>
                    <a:bodyPr/>
                    <a:lstStyle/>
                    <a:p>
                      <a:pPr marL="0" marR="0" indent="0" algn="ctr" defTabSz="914400" rtl="0" latinLnBrk="0">
                        <a:lnSpc>
                          <a:spcPct val="100000"/>
                        </a:lnSpc>
                        <a:spcBef>
                          <a:spcPts val="0"/>
                        </a:spcBef>
                        <a:spcAft>
                          <a:spcPts val="0"/>
                        </a:spcAft>
                        <a:buClrTx/>
                        <a:buSzTx/>
                        <a:buFontTx/>
                        <a:buNone/>
                        <a:tabLst/>
                      </a:pPr>
                      <a:r>
                        <a:rPr lang="en-US" sz="1000" b="0" i="0" u="none" strike="noStrike" cap="none" spc="0" baseline="0" dirty="0">
                          <a:ln>
                            <a:noFill/>
                          </a:ln>
                          <a:solidFill>
                            <a:srgbClr val="000000"/>
                          </a:solidFill>
                          <a:effectLst/>
                          <a:uFillTx/>
                          <a:latin typeface="Calibri" panose="020F0502020204030204" pitchFamily="34" charset="0"/>
                          <a:ea typeface="+mn-ea"/>
                          <a:cs typeface="Calibri" panose="020F0502020204030204" pitchFamily="34" charset="0"/>
                          <a:sym typeface="Calibri"/>
                        </a:rPr>
                        <a: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3590569458"/>
                  </a:ext>
                </a:extLst>
              </a:tr>
            </a:tbl>
          </a:graphicData>
        </a:graphic>
      </p:graphicFrame>
      <p:sp>
        <p:nvSpPr>
          <p:cNvPr id="12" name="TextBox 11">
            <a:extLst>
              <a:ext uri="{FF2B5EF4-FFF2-40B4-BE49-F238E27FC236}">
                <a16:creationId xmlns:a16="http://schemas.microsoft.com/office/drawing/2014/main" id="{24CE084A-27ED-FFD3-0CE7-7C0A44188906}"/>
              </a:ext>
            </a:extLst>
          </p:cNvPr>
          <p:cNvSpPr txBox="1"/>
          <p:nvPr/>
        </p:nvSpPr>
        <p:spPr>
          <a:xfrm rot="19409072">
            <a:off x="5013561" y="3411158"/>
            <a:ext cx="5322718" cy="1446550"/>
          </a:xfrm>
          <a:prstGeom prst="rect">
            <a:avLst/>
          </a:prstGeom>
          <a:solidFill>
            <a:schemeClr val="bg1">
              <a:alpha val="35000"/>
            </a:schemeClr>
          </a:solidFill>
          <a:ln>
            <a:solidFill>
              <a:schemeClr val="tx1"/>
            </a:solidFill>
            <a:prstDash val="dash"/>
          </a:ln>
        </p:spPr>
        <p:txBody>
          <a:bodyPr wrap="square" rtlCol="0">
            <a:spAutoFit/>
          </a:bodyPr>
          <a:lstStyle/>
          <a:p>
            <a:pPr algn="ctr"/>
            <a:r>
              <a:rPr lang="en-US" sz="4400" b="1" dirty="0">
                <a:latin typeface="Calibri" panose="020F0502020204030204" pitchFamily="34" charset="0"/>
                <a:cs typeface="Calibri" panose="020F0502020204030204" pitchFamily="34" charset="0"/>
              </a:rPr>
              <a:t>For illustrative purposes only</a:t>
            </a:r>
          </a:p>
        </p:txBody>
      </p:sp>
      <p:sp>
        <p:nvSpPr>
          <p:cNvPr id="2" name="Text Placeholder 1">
            <a:extLst>
              <a:ext uri="{FF2B5EF4-FFF2-40B4-BE49-F238E27FC236}">
                <a16:creationId xmlns:a16="http://schemas.microsoft.com/office/drawing/2014/main" id="{944ECC0F-09E2-7313-036E-4E6B7E5FDAD5}"/>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1: BCM Risk Assessment (2/2)</a:t>
            </a:r>
          </a:p>
        </p:txBody>
      </p:sp>
    </p:spTree>
    <p:extLst>
      <p:ext uri="{BB962C8B-B14F-4D97-AF65-F5344CB8AC3E}">
        <p14:creationId xmlns:p14="http://schemas.microsoft.com/office/powerpoint/2010/main" val="1898465707"/>
      </p:ext>
    </p:extLst>
  </p:cSld>
  <p:clrMapOvr>
    <a:masterClrMapping/>
  </p:clrMapOvr>
  <p:transition spd="med">
    <p:pull/>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872464"/>
            <a:ext cx="6049823" cy="3715591"/>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auto" latinLnBrk="0" hangingPunct="1">
              <a:lnSpc>
                <a:spcPct val="100000"/>
              </a:lnSpc>
              <a:spcBef>
                <a:spcPts val="300"/>
              </a:spcBef>
              <a:spcAft>
                <a:spcPts val="300"/>
              </a:spcAft>
              <a:buClr>
                <a:srgbClr val="86BC25"/>
              </a:buClr>
              <a:buSzPct val="100000"/>
              <a:buFont typeface="Open Sans Light" panose="020B0306030504020204" pitchFamily="34" charset="0"/>
              <a:buNone/>
              <a:tabLst/>
              <a:defRPr/>
            </a:pPr>
            <a:r>
              <a:rPr kumimoji="0" lang="en-US" sz="1050" b="1" i="0" u="none" strike="noStrike" kern="1200" cap="none" spc="0" normalizeH="0" baseline="0" noProof="0" dirty="0">
                <a:ln>
                  <a:noFill/>
                </a:ln>
                <a:solidFill>
                  <a:srgbClr val="00ABAB"/>
                </a:solidFill>
                <a:effectLst/>
                <a:uLnTx/>
                <a:uFillTx/>
                <a:latin typeface="Calibri" panose="020F0502020204030204" pitchFamily="34" charset="0"/>
                <a:ea typeface="Verdana" panose="020B0604030504040204" pitchFamily="34" charset="0"/>
                <a:cs typeface="Calibri" panose="020F0502020204030204" pitchFamily="34" charset="0"/>
              </a:rPr>
              <a:t>Current State Assessment</a:t>
            </a:r>
          </a:p>
          <a:p>
            <a:pPr marL="171450" marR="0" lvl="0" indent="-171450" algn="just" defTabSz="914400" rtl="0" eaLnBrk="1" fontAlgn="auto" latinLnBrk="0" hangingPunct="1">
              <a:lnSpc>
                <a:spcPct val="100000"/>
              </a:lnSpc>
              <a:spcBef>
                <a:spcPts val="300"/>
              </a:spcBef>
              <a:spcAft>
                <a:spcPts val="30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A current state assessment will be carried out using Deloitte’s proprietary Capabilities Assessment of Resilience and Recoverability (CARR) methodology, which is aligned to ISO 22301:2019, ISO 22361:2022 and industry best practices and will enable a comprehensive approach to understanding stc’s current business continuity, disaster recovery, incident management and crisis management capabilities and BCMS maturity.</a:t>
            </a:r>
          </a:p>
          <a:p>
            <a:pPr marL="171450" marR="0" lvl="0" indent="-171450" algn="just" defTabSz="914400" rtl="0" eaLnBrk="1" fontAlgn="auto" latinLnBrk="0" hangingPunct="1">
              <a:lnSpc>
                <a:spcPct val="100000"/>
              </a:lnSpc>
              <a:spcBef>
                <a:spcPts val="300"/>
              </a:spcBef>
              <a:spcAft>
                <a:spcPts val="30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Key activities include:</a:t>
            </a:r>
          </a:p>
          <a:p>
            <a:pPr marL="356400" marR="0" lvl="3" indent="-176400" algn="just" defTabSz="914400" rtl="0" eaLnBrk="1" fontAlgn="auto" latinLnBrk="0" hangingPunct="1">
              <a:lnSpc>
                <a:spcPct val="100000"/>
              </a:lnSpc>
              <a:spcBef>
                <a:spcPts val="0"/>
              </a:spcBef>
              <a:spcAft>
                <a:spcPts val="0"/>
              </a:spcAft>
              <a:buClr>
                <a:srgbClr val="00ABAB"/>
              </a:buClr>
              <a:buSzPct val="100000"/>
              <a:buFont typeface="Courier New" panose="02070309020205020404" pitchFamily="49" charset="0"/>
              <a:buChar char="o"/>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llaborate with stc teams to seek existing documentation relevant to services restoration, BCM and Crisis Management such as (BCM Policy, BCM Plan high level summary of key functional processes, etc.)</a:t>
            </a:r>
          </a:p>
          <a:p>
            <a:pPr marL="356400" marR="0" lvl="3" indent="-176400" algn="just" defTabSz="914400" rtl="0" eaLnBrk="1" fontAlgn="auto" latinLnBrk="0" hangingPunct="1">
              <a:lnSpc>
                <a:spcPct val="100000"/>
              </a:lnSpc>
              <a:spcBef>
                <a:spcPts val="0"/>
              </a:spcBef>
              <a:spcAft>
                <a:spcPts val="0"/>
              </a:spcAft>
              <a:buClr>
                <a:srgbClr val="00ABAB"/>
              </a:buClr>
              <a:buSzPct val="100000"/>
              <a:buFont typeface="Courier New" panose="02070309020205020404" pitchFamily="49" charset="0"/>
              <a:buChar char="o"/>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valuate and assess key criteria of the business continuity capabilities, including but not limited to buildings, equipment, technology, third parties and vendors, vital records, structures and processes, plans and procedures, capabilities of response teams, communication channels and protocols</a:t>
            </a:r>
          </a:p>
          <a:p>
            <a:pPr marL="356400" marR="0" lvl="3" indent="-176400" algn="just" defTabSz="914400" rtl="0" eaLnBrk="1" fontAlgn="auto" latinLnBrk="0" hangingPunct="1">
              <a:lnSpc>
                <a:spcPct val="100000"/>
              </a:lnSpc>
              <a:spcBef>
                <a:spcPts val="0"/>
              </a:spcBef>
              <a:spcAft>
                <a:spcPts val="0"/>
              </a:spcAft>
              <a:buClr>
                <a:srgbClr val="00ABAB"/>
              </a:buClr>
              <a:buSzPct val="100000"/>
              <a:buFont typeface="Courier New" panose="02070309020205020404" pitchFamily="49" charset="0"/>
              <a:buChar char="o"/>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nduct interviews with key stc stakeholders from a range of key functions (such as IT Operations, Cybersecurity, Business Operations, Communications, Legal and HR, etc.) to develop an understanding of the current practices</a:t>
            </a:r>
          </a:p>
          <a:p>
            <a:pPr marL="356400" marR="0" lvl="3" indent="-176400" algn="just" defTabSz="914400" rtl="0" eaLnBrk="1" fontAlgn="auto" latinLnBrk="0" hangingPunct="1">
              <a:lnSpc>
                <a:spcPct val="100000"/>
              </a:lnSpc>
              <a:spcBef>
                <a:spcPts val="0"/>
              </a:spcBef>
              <a:spcAft>
                <a:spcPts val="0"/>
              </a:spcAft>
              <a:buClr>
                <a:srgbClr val="00ABAB"/>
              </a:buClr>
              <a:buSzPct val="100000"/>
              <a:buFont typeface="Courier New" panose="02070309020205020404" pitchFamily="49" charset="0"/>
              <a:buChar char="o"/>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eview output of any resilience exercises and Internal Audits.</a:t>
            </a:r>
            <a:endParaRPr lang="en-US" sz="1000" dirty="0">
              <a:solidFill>
                <a:prstClr val="black"/>
              </a:solidFill>
              <a:latin typeface="Calibri" panose="020F0502020204030204" pitchFamily="34" charset="0"/>
              <a:cs typeface="Calibri" panose="020F0502020204030204" pitchFamily="34" charset="0"/>
            </a:endParaRPr>
          </a:p>
          <a:p>
            <a:pPr algn="just">
              <a:spcBef>
                <a:spcPts val="300"/>
              </a:spcBef>
              <a:spcAft>
                <a:spcPts val="300"/>
              </a:spcAft>
              <a:buClr>
                <a:srgbClr val="86BC25"/>
              </a:buClr>
              <a:buSzPct val="100000"/>
              <a:defRPr/>
            </a:pPr>
            <a:r>
              <a:rPr lang="en-US" sz="1050" b="1" dirty="0">
                <a:solidFill>
                  <a:srgbClr val="00ABAB"/>
                </a:solidFill>
                <a:latin typeface="Calibri" panose="020F0502020204030204" pitchFamily="34" charset="0"/>
                <a:ea typeface="Verdana" panose="020B0604030504040204" pitchFamily="34" charset="0"/>
                <a:cs typeface="Calibri" panose="020F0502020204030204" pitchFamily="34" charset="0"/>
              </a:rPr>
              <a:t>BCM Strategy and Roadmap</a:t>
            </a:r>
          </a:p>
          <a:p>
            <a:pPr marL="171450" indent="-171450" algn="just">
              <a:spcAft>
                <a:spcPts val="300"/>
              </a:spcAft>
              <a:buClr>
                <a:srgbClr val="00ABAB"/>
              </a:buClr>
              <a:buSzPct val="100000"/>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Define Vision, Mission and objectives for stc BCMS</a:t>
            </a:r>
          </a:p>
          <a:p>
            <a:pPr marL="171450" indent="-171450" algn="just">
              <a:spcAft>
                <a:spcPts val="300"/>
              </a:spcAft>
              <a:buClr>
                <a:srgbClr val="00ABAB"/>
              </a:buClr>
              <a:buSzPct val="100000"/>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Identify gaps between the current BCM maturity and target maturity state over a period of 3 years</a:t>
            </a:r>
          </a:p>
          <a:p>
            <a:pPr marL="171450" indent="-171450" algn="just">
              <a:spcAft>
                <a:spcPts val="300"/>
              </a:spcAft>
              <a:buClr>
                <a:srgbClr val="00ABAB"/>
              </a:buClr>
              <a:buSzPct val="100000"/>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Identify initiatives and activities required to achieve the target BCM maturity state</a:t>
            </a:r>
          </a:p>
          <a:p>
            <a:pPr marL="171450" indent="-171450" algn="just">
              <a:spcAft>
                <a:spcPts val="300"/>
              </a:spcAft>
              <a:buClr>
                <a:srgbClr val="00ABAB"/>
              </a:buClr>
              <a:buSzPct val="100000"/>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Develop 3-year roadmap for implementation of the identified initiatives and activities with high-level timelines.</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2: BCM Strategy and Roadmap (1/2)</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45872" y="5699801"/>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578654" y="5685283"/>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10686" y="6084868"/>
            <a:ext cx="6049823" cy="443681"/>
          </a:xfrm>
          <a:prstGeom prst="rect">
            <a:avLst/>
          </a:prstGeom>
          <a:noFill/>
          <a:ln w="3175" algn="ctr">
            <a:solidFill>
              <a:srgbClr val="21B6B6"/>
            </a:solidFill>
            <a:miter lim="800000"/>
            <a:headEnd/>
            <a:tailEnd/>
          </a:ln>
        </p:spPr>
        <p:txBody>
          <a:bodyPr wrap="square" lIns="88071" tIns="88071" rIns="88071" bIns="88071" rtlCol="0" anchor="ctr"/>
          <a:lstStyle/>
          <a:p>
            <a:pPr marL="169914" marR="0" lvl="0" indent="-169914" algn="just" defTabSz="914400" rtl="0" eaLnBrk="1" fontAlgn="base" latinLnBrk="0" hangingPunct="1">
              <a:lnSpc>
                <a:spcPct val="100000"/>
              </a:lnSpc>
              <a:spcBef>
                <a:spcPts val="0"/>
              </a:spcBef>
              <a:spcAft>
                <a:spcPts val="1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Strategy Gap Report</a:t>
            </a:r>
          </a:p>
          <a:p>
            <a:pPr marL="169914" marR="0" lvl="0" indent="-169914" algn="just" defTabSz="914400" rtl="0" eaLnBrk="1" fontAlgn="base" latinLnBrk="0" hangingPunct="1">
              <a:lnSpc>
                <a:spcPct val="100000"/>
              </a:lnSpc>
              <a:spcBef>
                <a:spcPts val="0"/>
              </a:spcBef>
              <a:spcAft>
                <a:spcPts val="1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BCM Strategy and 3-Year Roadmap</a:t>
            </a:r>
          </a:p>
        </p:txBody>
      </p:sp>
      <p:grpSp>
        <p:nvGrpSpPr>
          <p:cNvPr id="142" name="Group 8"/>
          <p:cNvGrpSpPr>
            <a:grpSpLocks noChangeAspect="1"/>
          </p:cNvGrpSpPr>
          <p:nvPr/>
        </p:nvGrpSpPr>
        <p:grpSpPr bwMode="auto">
          <a:xfrm>
            <a:off x="6913183" y="1455166"/>
            <a:ext cx="363617" cy="363617"/>
            <a:chOff x="1346" y="303"/>
            <a:chExt cx="340" cy="340"/>
          </a:xfrm>
          <a:solidFill>
            <a:srgbClr val="00ABAB"/>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endParaRPr>
            </a:p>
          </p:txBody>
        </p:sp>
      </p:grpSp>
      <p:sp>
        <p:nvSpPr>
          <p:cNvPr id="179" name="TextBox 178"/>
          <p:cNvSpPr txBox="1"/>
          <p:nvPr/>
        </p:nvSpPr>
        <p:spPr>
          <a:xfrm>
            <a:off x="7314251" y="1494650"/>
            <a:ext cx="3346496"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Methodologies / Sample Deliverables</a:t>
            </a:r>
          </a:p>
        </p:txBody>
      </p:sp>
      <p:sp>
        <p:nvSpPr>
          <p:cNvPr id="26" name="Triangle 28">
            <a:extLst>
              <a:ext uri="{FF2B5EF4-FFF2-40B4-BE49-F238E27FC236}">
                <a16:creationId xmlns:a16="http://schemas.microsoft.com/office/drawing/2014/main" id="{43DBCC84-0953-4F3E-869C-6E6BFB243291}"/>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pic>
        <p:nvPicPr>
          <p:cNvPr id="10" name="Picture 9">
            <a:extLst>
              <a:ext uri="{FF2B5EF4-FFF2-40B4-BE49-F238E27FC236}">
                <a16:creationId xmlns:a16="http://schemas.microsoft.com/office/drawing/2014/main" id="{4935B5BD-48E3-06B0-03D1-6379F24570B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612660" y="4967923"/>
            <a:ext cx="2539277" cy="1073409"/>
          </a:xfrm>
          <a:prstGeom prst="rect">
            <a:avLst/>
          </a:prstGeom>
        </p:spPr>
      </p:pic>
      <p:pic>
        <p:nvPicPr>
          <p:cNvPr id="11" name="Picture 10">
            <a:extLst>
              <a:ext uri="{FF2B5EF4-FFF2-40B4-BE49-F238E27FC236}">
                <a16:creationId xmlns:a16="http://schemas.microsoft.com/office/drawing/2014/main" id="{263AAF58-E1FC-2499-E956-4783104F6AF2}"/>
              </a:ext>
            </a:extLst>
          </p:cNvPr>
          <p:cNvPicPr>
            <a:picLocks noChangeAspect="1"/>
          </p:cNvPicPr>
          <p:nvPr/>
        </p:nvPicPr>
        <p:blipFill>
          <a:blip r:embed="rId4"/>
          <a:stretch>
            <a:fillRect/>
          </a:stretch>
        </p:blipFill>
        <p:spPr>
          <a:xfrm>
            <a:off x="7641336" y="3354788"/>
            <a:ext cx="2565619" cy="1509921"/>
          </a:xfrm>
          <a:prstGeom prst="rect">
            <a:avLst/>
          </a:prstGeom>
        </p:spPr>
      </p:pic>
      <p:sp>
        <p:nvSpPr>
          <p:cNvPr id="60" name="TextBox 59"/>
          <p:cNvSpPr txBox="1"/>
          <p:nvPr/>
        </p:nvSpPr>
        <p:spPr>
          <a:xfrm rot="19211056">
            <a:off x="7123902" y="3934750"/>
            <a:ext cx="3600489" cy="260199"/>
          </a:xfrm>
          <a:prstGeom prst="rect">
            <a:avLst/>
          </a:prstGeom>
          <a:solidFill>
            <a:schemeClr val="bg1">
              <a:alpha val="35000"/>
            </a:schemeClr>
          </a:solidFill>
          <a:ln>
            <a:solidFill>
              <a:schemeClr val="accent6"/>
            </a:solidFill>
          </a:ln>
        </p:spPr>
        <p:txBody>
          <a:bodyPr wrap="square" rtlCol="0">
            <a:spAutoFit/>
          </a:bodyPr>
          <a:lstStyle/>
          <a:p>
            <a:pPr algn="ctr"/>
            <a:r>
              <a:rPr lang="en-US" sz="1091" b="1" dirty="0">
                <a:solidFill>
                  <a:srgbClr val="FF0000"/>
                </a:solidFill>
              </a:rPr>
              <a:t>For Illustration Purposes Only</a:t>
            </a:r>
          </a:p>
        </p:txBody>
      </p:sp>
      <p:sp>
        <p:nvSpPr>
          <p:cNvPr id="4" name="Rectangle 3">
            <a:extLst>
              <a:ext uri="{FF2B5EF4-FFF2-40B4-BE49-F238E27FC236}">
                <a16:creationId xmlns:a16="http://schemas.microsoft.com/office/drawing/2014/main" id="{D503FB75-855E-E026-13D7-A8FAE84279B8}"/>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pic>
        <p:nvPicPr>
          <p:cNvPr id="5" name="Picture 4">
            <a:extLst>
              <a:ext uri="{FF2B5EF4-FFF2-40B4-BE49-F238E27FC236}">
                <a16:creationId xmlns:a16="http://schemas.microsoft.com/office/drawing/2014/main" id="{F300FDC1-7551-ED8F-4724-78F84DCEF09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95625" y="1968175"/>
            <a:ext cx="2160718" cy="1389584"/>
          </a:xfrm>
          <a:prstGeom prst="rect">
            <a:avLst/>
          </a:prstGeom>
          <a:noFill/>
        </p:spPr>
      </p:pic>
      <p:pic>
        <p:nvPicPr>
          <p:cNvPr id="6" name="Picture 5">
            <a:extLst>
              <a:ext uri="{FF2B5EF4-FFF2-40B4-BE49-F238E27FC236}">
                <a16:creationId xmlns:a16="http://schemas.microsoft.com/office/drawing/2014/main" id="{4E334E3B-67A1-2232-EC9C-0792BFA2917D}"/>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8994534" y="2001099"/>
            <a:ext cx="2191923" cy="1334474"/>
          </a:xfrm>
          <a:prstGeom prst="rect">
            <a:avLst/>
          </a:prstGeom>
          <a:noFill/>
          <a:ln>
            <a:noFill/>
          </a:ln>
        </p:spPr>
      </p:pic>
    </p:spTree>
    <p:extLst>
      <p:ext uri="{BB962C8B-B14F-4D97-AF65-F5344CB8AC3E}">
        <p14:creationId xmlns:p14="http://schemas.microsoft.com/office/powerpoint/2010/main" val="249416326"/>
      </p:ext>
    </p:extLst>
  </p:cSld>
  <p:clrMapOvr>
    <a:masterClrMapping/>
  </p:clrMapOvr>
  <p:transition spd="med">
    <p:pull/>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885511"/>
            <a:ext cx="6049823" cy="3126297"/>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50" b="1" i="0" u="none" strike="noStrike" kern="1200" cap="none" spc="0" normalizeH="0" baseline="0" noProof="0" dirty="0">
                <a:ln>
                  <a:noFill/>
                </a:ln>
                <a:solidFill>
                  <a:srgbClr val="0097A9"/>
                </a:solidFill>
                <a:effectLst/>
                <a:uLnTx/>
                <a:uFillTx/>
                <a:latin typeface="Calibri" panose="020F0502020204030204" pitchFamily="34" charset="0"/>
                <a:ea typeface="Verdana" panose="020B0604030504040204" pitchFamily="34" charset="0"/>
                <a:cs typeface="Calibri" panose="020F0502020204030204" pitchFamily="34" charset="0"/>
              </a:rPr>
              <a:t>BCM Recovery Strategy Updates</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Based on the outcomes of BIA </a:t>
            </a:r>
            <a:r>
              <a:rPr lang="en-US" sz="1000" dirty="0">
                <a:solidFill>
                  <a:prstClr val="black"/>
                </a:solidFill>
                <a:latin typeface="Calibri"/>
                <a:ea typeface="Verdana" panose="020B0604030504040204" pitchFamily="34" charset="0"/>
                <a:cs typeface="Calibri" panose="020F0502020204030204" pitchFamily="34" charset="0"/>
              </a:rPr>
              <a:t>already conducted by stc </a:t>
            </a: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and BC Risk assessment as part of phase 1, we will review the existing BCM recovery strategies and evaluate whether they are viable or not. </a:t>
            </a:r>
          </a:p>
          <a:p>
            <a:pPr marL="0" marR="0" lvl="1"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endParaRP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For every process enabler that a recovery strategy is required to be developed or updated, we will do the following:</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Review the current recovery strategies and identify any gaps based on the outcome of latest BIA exercise (in terms of recovery of BETH3V enablers); </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Evaluate the recovery options to ensure they provide the minimum acceptable level of service for key BCM Program metrics – such as within the defined maximum tolerable period of disruption (MTPD) and recovery time objective (RTO) timeframe as well as recovery point objective (RPO);</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Present the recovery strategy options for the time-critical processes to the BCM Steering Committee / Management; and</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Recommend, based on hierarchical tiers, the most cost-effective strategy option for each time-critical service and process and obtain management approval of the selected options.</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2: BCM Strategy and Roadmap (2/2)</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77899" y="5107607"/>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610685" y="5093089"/>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42715" y="5503284"/>
            <a:ext cx="6049823" cy="596203"/>
          </a:xfrm>
          <a:prstGeom prst="rect">
            <a:avLst/>
          </a:prstGeom>
          <a:noFill/>
          <a:ln w="3175" algn="ctr">
            <a:solidFill>
              <a:srgbClr val="21B6B6"/>
            </a:solidFill>
            <a:miter lim="800000"/>
            <a:headEnd/>
            <a:tailEnd/>
          </a:ln>
        </p:spPr>
        <p:txBody>
          <a:bodyPr wrap="square" lIns="88071" tIns="88071" rIns="88071" bIns="88071" rtlCol="0" anchor="ctr"/>
          <a:lstStyle/>
          <a:p>
            <a:pPr marL="169914" marR="0" lvl="0" indent="-169914" algn="just" defTabSz="914400" rtl="0" eaLnBrk="1" fontAlgn="base" latinLnBrk="0" hangingPunct="1">
              <a:lnSpc>
                <a:spcPct val="100000"/>
              </a:lnSpc>
              <a:spcBef>
                <a:spcPts val="0"/>
              </a:spcBef>
              <a:spcAft>
                <a:spcPts val="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Updated Recovery Strategies</a:t>
            </a:r>
          </a:p>
        </p:txBody>
      </p:sp>
      <p:grpSp>
        <p:nvGrpSpPr>
          <p:cNvPr id="142" name="Group 8"/>
          <p:cNvGrpSpPr>
            <a:grpSpLocks noChangeAspect="1"/>
          </p:cNvGrpSpPr>
          <p:nvPr/>
        </p:nvGrpSpPr>
        <p:grpSpPr bwMode="auto">
          <a:xfrm>
            <a:off x="6913183" y="1455166"/>
            <a:ext cx="363617" cy="363617"/>
            <a:chOff x="1346" y="303"/>
            <a:chExt cx="340" cy="340"/>
          </a:xfrm>
          <a:solidFill>
            <a:srgbClr val="00ABAB"/>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grpSp>
      <p:sp>
        <p:nvSpPr>
          <p:cNvPr id="179" name="TextBox 178"/>
          <p:cNvSpPr txBox="1"/>
          <p:nvPr/>
        </p:nvSpPr>
        <p:spPr>
          <a:xfrm>
            <a:off x="7314251" y="1494650"/>
            <a:ext cx="3346496"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Methodologies / Sample Deliverables</a:t>
            </a:r>
          </a:p>
        </p:txBody>
      </p:sp>
      <p:sp>
        <p:nvSpPr>
          <p:cNvPr id="65" name="Triangle 28">
            <a:extLst>
              <a:ext uri="{FF2B5EF4-FFF2-40B4-BE49-F238E27FC236}">
                <a16:creationId xmlns:a16="http://schemas.microsoft.com/office/drawing/2014/main" id="{9E74D0D7-5B6F-42EF-B905-12E11A69F500}"/>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grpSp>
        <p:nvGrpSpPr>
          <p:cNvPr id="5" name="Group 4">
            <a:extLst>
              <a:ext uri="{FF2B5EF4-FFF2-40B4-BE49-F238E27FC236}">
                <a16:creationId xmlns:a16="http://schemas.microsoft.com/office/drawing/2014/main" id="{703F638E-6E06-4126-BCF5-8B0E07740092}"/>
              </a:ext>
            </a:extLst>
          </p:cNvPr>
          <p:cNvGrpSpPr/>
          <p:nvPr/>
        </p:nvGrpSpPr>
        <p:grpSpPr>
          <a:xfrm>
            <a:off x="6745209" y="1979211"/>
            <a:ext cx="4445135" cy="4101749"/>
            <a:chOff x="6763497" y="1933491"/>
            <a:chExt cx="4445135" cy="4101749"/>
          </a:xfrm>
        </p:grpSpPr>
        <p:grpSp>
          <p:nvGrpSpPr>
            <p:cNvPr id="114" name="Group 113">
              <a:extLst>
                <a:ext uri="{FF2B5EF4-FFF2-40B4-BE49-F238E27FC236}">
                  <a16:creationId xmlns:a16="http://schemas.microsoft.com/office/drawing/2014/main" id="{26DFF75B-FDC8-498B-9256-BFA6CA1A9009}"/>
                </a:ext>
              </a:extLst>
            </p:cNvPr>
            <p:cNvGrpSpPr/>
            <p:nvPr/>
          </p:nvGrpSpPr>
          <p:grpSpPr>
            <a:xfrm>
              <a:off x="6763497" y="1933491"/>
              <a:ext cx="4445135" cy="4101749"/>
              <a:chOff x="416137" y="1071864"/>
              <a:chExt cx="10566805" cy="5117316"/>
            </a:xfrm>
          </p:grpSpPr>
          <p:pic>
            <p:nvPicPr>
              <p:cNvPr id="115" name="Picture 2" descr="\\Cagmasrv1\sso$\Gestion_Deloitte\Global_Brand\- Templates\Icons\Iconography Deloitte\Icon_Caution_Green.png">
                <a:extLst>
                  <a:ext uri="{FF2B5EF4-FFF2-40B4-BE49-F238E27FC236}">
                    <a16:creationId xmlns:a16="http://schemas.microsoft.com/office/drawing/2014/main" id="{9C99FB23-91A9-4A7E-85CF-AF92EF9FA4AE}"/>
                  </a:ext>
                </a:extLst>
              </p:cNvPr>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rot="13841104">
                <a:off x="4008287" y="5462639"/>
                <a:ext cx="385917" cy="31138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30" descr="C:\Users\jsauvageau\Desktop\9.png">
                <a:extLst>
                  <a:ext uri="{FF2B5EF4-FFF2-40B4-BE49-F238E27FC236}">
                    <a16:creationId xmlns:a16="http://schemas.microsoft.com/office/drawing/2014/main" id="{30802117-60F5-438E-A223-03152BE6D70C}"/>
                  </a:ext>
                </a:extLst>
              </p:cNvPr>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rot="16967243">
                <a:off x="3458852" y="3665821"/>
                <a:ext cx="457200" cy="320069"/>
              </a:xfrm>
              <a:prstGeom prst="rect">
                <a:avLst/>
              </a:prstGeom>
              <a:noFill/>
              <a:extLst>
                <a:ext uri="{909E8E84-426E-40DD-AFC4-6F175D3DCCD1}">
                  <a14:hiddenFill xmlns:a14="http://schemas.microsoft.com/office/drawing/2010/main">
                    <a:solidFill>
                      <a:srgbClr val="FFFFFF"/>
                    </a:solidFill>
                  </a14:hiddenFill>
                </a:ext>
              </a:extLst>
            </p:spPr>
          </p:pic>
          <p:cxnSp>
            <p:nvCxnSpPr>
              <p:cNvPr id="117" name="Straight Connector 116">
                <a:extLst>
                  <a:ext uri="{FF2B5EF4-FFF2-40B4-BE49-F238E27FC236}">
                    <a16:creationId xmlns:a16="http://schemas.microsoft.com/office/drawing/2014/main" id="{0BBB879E-B8FA-40D3-99E7-AC358631E1CD}"/>
                  </a:ext>
                </a:extLst>
              </p:cNvPr>
              <p:cNvCxnSpPr/>
              <p:nvPr/>
            </p:nvCxnSpPr>
            <p:spPr>
              <a:xfrm flipH="1">
                <a:off x="2951917" y="5400770"/>
                <a:ext cx="612282" cy="334425"/>
              </a:xfrm>
              <a:prstGeom prst="line">
                <a:avLst/>
              </a:prstGeom>
              <a:noFill/>
              <a:ln w="12700" cap="flat" cmpd="sng" algn="ctr">
                <a:solidFill>
                  <a:sysClr val="windowText" lastClr="000000"/>
                </a:solidFill>
                <a:prstDash val="solid"/>
                <a:headEnd type="none"/>
                <a:tailEnd type="none"/>
              </a:ln>
              <a:effectLst/>
            </p:spPr>
          </p:cxnSp>
          <p:cxnSp>
            <p:nvCxnSpPr>
              <p:cNvPr id="118" name="Straight Connector 117">
                <a:extLst>
                  <a:ext uri="{FF2B5EF4-FFF2-40B4-BE49-F238E27FC236}">
                    <a16:creationId xmlns:a16="http://schemas.microsoft.com/office/drawing/2014/main" id="{D173C9D8-E960-4636-91D7-53B4AEED3F7C}"/>
                  </a:ext>
                </a:extLst>
              </p:cNvPr>
              <p:cNvCxnSpPr/>
              <p:nvPr/>
            </p:nvCxnSpPr>
            <p:spPr>
              <a:xfrm flipV="1">
                <a:off x="965957" y="5744123"/>
                <a:ext cx="1985960" cy="15862"/>
              </a:xfrm>
              <a:prstGeom prst="line">
                <a:avLst/>
              </a:prstGeom>
              <a:noFill/>
              <a:ln w="12700" cap="flat" cmpd="sng" algn="ctr">
                <a:solidFill>
                  <a:sysClr val="windowText" lastClr="000000"/>
                </a:solidFill>
                <a:prstDash val="solid"/>
                <a:headEnd type="none"/>
                <a:tailEnd type="none"/>
              </a:ln>
              <a:effectLst/>
            </p:spPr>
          </p:cxnSp>
          <p:sp>
            <p:nvSpPr>
              <p:cNvPr id="119" name="Rectangle 118">
                <a:extLst>
                  <a:ext uri="{FF2B5EF4-FFF2-40B4-BE49-F238E27FC236}">
                    <a16:creationId xmlns:a16="http://schemas.microsoft.com/office/drawing/2014/main" id="{FFD53FB2-FD28-427A-B4F9-6680B6668ADA}"/>
                  </a:ext>
                </a:extLst>
              </p:cNvPr>
              <p:cNvSpPr/>
              <p:nvPr/>
            </p:nvSpPr>
            <p:spPr>
              <a:xfrm>
                <a:off x="756513" y="5843598"/>
                <a:ext cx="2653445" cy="345582"/>
              </a:xfrm>
              <a:prstGeom prst="rect">
                <a:avLst/>
              </a:prstGeom>
            </p:spPr>
            <p:txBody>
              <a:bodyPr wrap="square" lIns="0" tIns="0" rIns="0" bIns="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Obtained through the BC Risk Assessment</a:t>
                </a:r>
              </a:p>
            </p:txBody>
          </p:sp>
          <p:sp>
            <p:nvSpPr>
              <p:cNvPr id="120" name="Rectangle 119">
                <a:extLst>
                  <a:ext uri="{FF2B5EF4-FFF2-40B4-BE49-F238E27FC236}">
                    <a16:creationId xmlns:a16="http://schemas.microsoft.com/office/drawing/2014/main" id="{A73D442E-F761-45E1-8009-DBA7796A6A8E}"/>
                  </a:ext>
                </a:extLst>
              </p:cNvPr>
              <p:cNvSpPr/>
              <p:nvPr/>
            </p:nvSpPr>
            <p:spPr>
              <a:xfrm>
                <a:off x="914529" y="5520125"/>
                <a:ext cx="2262194" cy="193839"/>
              </a:xfrm>
              <a:prstGeom prst="rect">
                <a:avLst/>
              </a:prstGeom>
              <a:ln>
                <a:noFill/>
              </a:ln>
            </p:spPr>
            <p:txBody>
              <a:bodyPr wrap="square" lIns="0" tIns="0" rIns="0" bIns="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a:rPr>
                  <a:t>Exposures</a:t>
                </a:r>
                <a:endParaRPr kumimoji="0" lang="en-US" sz="1000" b="0" i="0" u="none" strike="noStrike" kern="0" cap="none" spc="0" normalizeH="0" baseline="0" noProof="0" dirty="0">
                  <a:ln>
                    <a:noFill/>
                  </a:ln>
                  <a:solidFill>
                    <a:prstClr val="black"/>
                  </a:solidFill>
                  <a:effectLst/>
                  <a:uLnTx/>
                  <a:uFillTx/>
                  <a:latin typeface="Calibri"/>
                </a:endParaRPr>
              </a:p>
            </p:txBody>
          </p:sp>
          <p:cxnSp>
            <p:nvCxnSpPr>
              <p:cNvPr id="121" name="Straight Connector 120">
                <a:extLst>
                  <a:ext uri="{FF2B5EF4-FFF2-40B4-BE49-F238E27FC236}">
                    <a16:creationId xmlns:a16="http://schemas.microsoft.com/office/drawing/2014/main" id="{FCF4338E-BD82-45FA-9198-768530E0C66B}"/>
                  </a:ext>
                </a:extLst>
              </p:cNvPr>
              <p:cNvCxnSpPr/>
              <p:nvPr/>
            </p:nvCxnSpPr>
            <p:spPr>
              <a:xfrm>
                <a:off x="2972855" y="3113942"/>
                <a:ext cx="591344" cy="429808"/>
              </a:xfrm>
              <a:prstGeom prst="line">
                <a:avLst/>
              </a:prstGeom>
              <a:noFill/>
              <a:ln w="12700" cap="flat" cmpd="sng" algn="ctr">
                <a:solidFill>
                  <a:srgbClr val="575757"/>
                </a:solidFill>
                <a:prstDash val="solid"/>
                <a:headEnd type="none"/>
                <a:tailEnd type="none"/>
              </a:ln>
              <a:effectLst/>
            </p:spPr>
          </p:cxnSp>
          <p:cxnSp>
            <p:nvCxnSpPr>
              <p:cNvPr id="122" name="Straight Connector 121">
                <a:extLst>
                  <a:ext uri="{FF2B5EF4-FFF2-40B4-BE49-F238E27FC236}">
                    <a16:creationId xmlns:a16="http://schemas.microsoft.com/office/drawing/2014/main" id="{53F2F43F-C450-47A6-96D2-32D3E73D7994}"/>
                  </a:ext>
                </a:extLst>
              </p:cNvPr>
              <p:cNvCxnSpPr/>
              <p:nvPr/>
            </p:nvCxnSpPr>
            <p:spPr>
              <a:xfrm>
                <a:off x="816834" y="3113942"/>
                <a:ext cx="2166167" cy="0"/>
              </a:xfrm>
              <a:prstGeom prst="line">
                <a:avLst/>
              </a:prstGeom>
              <a:noFill/>
              <a:ln w="12700" cap="flat" cmpd="sng" algn="ctr">
                <a:solidFill>
                  <a:srgbClr val="575757"/>
                </a:solidFill>
                <a:prstDash val="solid"/>
                <a:headEnd type="none"/>
                <a:tailEnd type="none"/>
              </a:ln>
              <a:effectLst/>
            </p:spPr>
          </p:cxnSp>
          <p:sp>
            <p:nvSpPr>
              <p:cNvPr id="123" name="Rectangle 122">
                <a:extLst>
                  <a:ext uri="{FF2B5EF4-FFF2-40B4-BE49-F238E27FC236}">
                    <a16:creationId xmlns:a16="http://schemas.microsoft.com/office/drawing/2014/main" id="{DFFA4199-CB7C-41EA-A2FB-DEE2078C3BE4}"/>
                  </a:ext>
                </a:extLst>
              </p:cNvPr>
              <p:cNvSpPr/>
              <p:nvPr/>
            </p:nvSpPr>
            <p:spPr>
              <a:xfrm>
                <a:off x="673420" y="3236284"/>
                <a:ext cx="2247309" cy="1036747"/>
              </a:xfrm>
              <a:prstGeom prst="rect">
                <a:avLst/>
              </a:prstGeom>
            </p:spPr>
            <p:txBody>
              <a:bodyPr wrap="square" lIns="0" tIns="0" rIns="0" bIns="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900" b="0" i="0" u="none" strike="noStrike" kern="0" cap="none" spc="0" normalizeH="0" baseline="0" noProof="0" dirty="0">
                    <a:ln>
                      <a:noFill/>
                    </a:ln>
                    <a:solidFill>
                      <a:prstClr val="black">
                        <a:lumMod val="65000"/>
                        <a:lumOff val="35000"/>
                      </a:prstClr>
                    </a:solidFill>
                    <a:effectLst/>
                    <a:uLnTx/>
                    <a:uFillTx/>
                    <a:latin typeface="Calibri"/>
                  </a:rPr>
                  <a:t>Obtained from BIA as well as management requirements for incident  response</a:t>
                </a:r>
              </a:p>
            </p:txBody>
          </p:sp>
          <p:sp>
            <p:nvSpPr>
              <p:cNvPr id="124" name="Rectangle 123">
                <a:extLst>
                  <a:ext uri="{FF2B5EF4-FFF2-40B4-BE49-F238E27FC236}">
                    <a16:creationId xmlns:a16="http://schemas.microsoft.com/office/drawing/2014/main" id="{F1CF3F56-58E2-48DF-A254-06BEB9AC04DF}"/>
                  </a:ext>
                </a:extLst>
              </p:cNvPr>
              <p:cNvSpPr/>
              <p:nvPr/>
            </p:nvSpPr>
            <p:spPr>
              <a:xfrm>
                <a:off x="719433" y="2876098"/>
                <a:ext cx="2652915" cy="186949"/>
              </a:xfrm>
              <a:prstGeom prst="rect">
                <a:avLst/>
              </a:prstGeom>
            </p:spPr>
            <p:txBody>
              <a:bodyPr wrap="square" lIns="0" tIns="0" rIns="0" bIns="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prstClr val="black">
                        <a:lumMod val="65000"/>
                        <a:lumOff val="35000"/>
                      </a:prstClr>
                    </a:solidFill>
                    <a:effectLst/>
                    <a:uLnTx/>
                    <a:uFillTx/>
                    <a:latin typeface="Calibri"/>
                  </a:rPr>
                  <a:t>Requirements</a:t>
                </a:r>
                <a:endParaRPr kumimoji="0" lang="en-US" sz="1000" b="0" i="0" u="none" strike="noStrike" kern="0" cap="none" spc="0" normalizeH="0" baseline="0" noProof="0" dirty="0">
                  <a:ln>
                    <a:noFill/>
                  </a:ln>
                  <a:solidFill>
                    <a:prstClr val="black">
                      <a:lumMod val="65000"/>
                      <a:lumOff val="35000"/>
                    </a:prstClr>
                  </a:solidFill>
                  <a:effectLst/>
                  <a:uLnTx/>
                  <a:uFillTx/>
                  <a:latin typeface="Calibri"/>
                </a:endParaRPr>
              </a:p>
            </p:txBody>
          </p:sp>
          <p:sp>
            <p:nvSpPr>
              <p:cNvPr id="125" name="Right Bracket 124">
                <a:extLst>
                  <a:ext uri="{FF2B5EF4-FFF2-40B4-BE49-F238E27FC236}">
                    <a16:creationId xmlns:a16="http://schemas.microsoft.com/office/drawing/2014/main" id="{195B0742-3995-4D09-A5AF-1A6C535EAC2D}"/>
                  </a:ext>
                </a:extLst>
              </p:cNvPr>
              <p:cNvSpPr/>
              <p:nvPr/>
            </p:nvSpPr>
            <p:spPr>
              <a:xfrm rot="16200000">
                <a:off x="2619557" y="447889"/>
                <a:ext cx="183889" cy="4370604"/>
              </a:xfrm>
              <a:prstGeom prst="rightBracket">
                <a:avLst/>
              </a:prstGeom>
              <a:noFill/>
              <a:ln w="25400" cap="flat" cmpd="sng" algn="ctr">
                <a:solidFill>
                  <a:sysClr val="windowText" lastClr="000000">
                    <a:lumMod val="65000"/>
                    <a:lumOff val="35000"/>
                  </a:sys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a typeface="+mn-ea"/>
                  <a:cs typeface="+mn-cs"/>
                </a:endParaRPr>
              </a:p>
            </p:txBody>
          </p:sp>
          <p:sp>
            <p:nvSpPr>
              <p:cNvPr id="126" name="Rectangle 125">
                <a:extLst>
                  <a:ext uri="{FF2B5EF4-FFF2-40B4-BE49-F238E27FC236}">
                    <a16:creationId xmlns:a16="http://schemas.microsoft.com/office/drawing/2014/main" id="{55F1EC29-20EB-42CC-AC87-B666072D29D1}"/>
                  </a:ext>
                </a:extLst>
              </p:cNvPr>
              <p:cNvSpPr/>
              <p:nvPr/>
            </p:nvSpPr>
            <p:spPr>
              <a:xfrm>
                <a:off x="416137" y="1072863"/>
                <a:ext cx="4420389" cy="1151941"/>
              </a:xfrm>
              <a:prstGeom prst="rect">
                <a:avLst/>
              </a:prstGeom>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3565A"/>
                    </a:solidFill>
                    <a:effectLst/>
                    <a:uLnTx/>
                    <a:uFillTx/>
                    <a:latin typeface="Calibri"/>
                  </a:rPr>
                  <a:t>Drivers</a:t>
                </a:r>
                <a:r>
                  <a:rPr kumimoji="0" lang="en-US" sz="900" b="0" i="0" u="none" strike="noStrike" kern="0" cap="none" spc="0" normalizeH="0" baseline="0" noProof="0" dirty="0">
                    <a:ln>
                      <a:noFill/>
                    </a:ln>
                    <a:solidFill>
                      <a:srgbClr val="53565A"/>
                    </a:solidFill>
                    <a:effectLst/>
                    <a:uLnTx/>
                    <a:uFillTx/>
                    <a:latin typeface="Calibri"/>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3565A"/>
                    </a:solidFill>
                    <a:effectLst/>
                    <a:uLnTx/>
                    <a:uFillTx/>
                    <a:latin typeface="Calibri"/>
                  </a:rPr>
                  <a:t>An understanding of core functions and current operating environment, as well as the exposures that may impact the continuity of operations</a:t>
                </a:r>
              </a:p>
            </p:txBody>
          </p:sp>
          <p:cxnSp>
            <p:nvCxnSpPr>
              <p:cNvPr id="127" name="Straight Connector 126">
                <a:extLst>
                  <a:ext uri="{FF2B5EF4-FFF2-40B4-BE49-F238E27FC236}">
                    <a16:creationId xmlns:a16="http://schemas.microsoft.com/office/drawing/2014/main" id="{01E9083D-EDC1-42B4-BF8B-983FFBAADE92}"/>
                  </a:ext>
                </a:extLst>
              </p:cNvPr>
              <p:cNvCxnSpPr/>
              <p:nvPr/>
            </p:nvCxnSpPr>
            <p:spPr>
              <a:xfrm flipH="1" flipV="1">
                <a:off x="9047790" y="3742030"/>
                <a:ext cx="1523967" cy="0"/>
              </a:xfrm>
              <a:prstGeom prst="line">
                <a:avLst/>
              </a:prstGeom>
              <a:noFill/>
              <a:ln w="12700" cap="flat" cmpd="sng" algn="ctr">
                <a:solidFill>
                  <a:srgbClr val="0076A8"/>
                </a:solidFill>
                <a:prstDash val="solid"/>
                <a:headEnd type="none"/>
                <a:tailEnd type="none"/>
              </a:ln>
              <a:effectLst/>
            </p:spPr>
          </p:cxnSp>
          <p:sp>
            <p:nvSpPr>
              <p:cNvPr id="128" name="Rectangle 127">
                <a:extLst>
                  <a:ext uri="{FF2B5EF4-FFF2-40B4-BE49-F238E27FC236}">
                    <a16:creationId xmlns:a16="http://schemas.microsoft.com/office/drawing/2014/main" id="{B5FEB471-F7F7-46EA-97C5-C4B9ADB83070}"/>
                  </a:ext>
                </a:extLst>
              </p:cNvPr>
              <p:cNvSpPr/>
              <p:nvPr/>
            </p:nvSpPr>
            <p:spPr>
              <a:xfrm>
                <a:off x="9206796" y="3905240"/>
                <a:ext cx="1427695" cy="518373"/>
              </a:xfrm>
              <a:prstGeom prst="rect">
                <a:avLst/>
              </a:prstGeom>
            </p:spPr>
            <p:txBody>
              <a:bodyPr wrap="square" lIns="0" tIns="0" rIns="0" bIns="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900" b="0" i="0" u="none" strike="noStrike" kern="0" cap="none" spc="0" normalizeH="0" baseline="0" noProof="0" dirty="0">
                    <a:ln>
                      <a:noFill/>
                    </a:ln>
                    <a:solidFill>
                      <a:srgbClr val="0076A8"/>
                    </a:solidFill>
                    <a:effectLst/>
                    <a:uLnTx/>
                    <a:uFillTx/>
                    <a:latin typeface="Calibri"/>
                  </a:rPr>
                  <a:t>Proposed strategy options</a:t>
                </a:r>
              </a:p>
            </p:txBody>
          </p:sp>
          <p:sp>
            <p:nvSpPr>
              <p:cNvPr id="129" name="Rectangle 128">
                <a:extLst>
                  <a:ext uri="{FF2B5EF4-FFF2-40B4-BE49-F238E27FC236}">
                    <a16:creationId xmlns:a16="http://schemas.microsoft.com/office/drawing/2014/main" id="{BDF2FD14-0A1C-4D39-A87D-DFBE62CD9BBC}"/>
                  </a:ext>
                </a:extLst>
              </p:cNvPr>
              <p:cNvSpPr/>
              <p:nvPr/>
            </p:nvSpPr>
            <p:spPr>
              <a:xfrm>
                <a:off x="9103458" y="3459383"/>
                <a:ext cx="1879484" cy="191990"/>
              </a:xfrm>
              <a:prstGeom prst="rect">
                <a:avLst/>
              </a:prstGeom>
            </p:spPr>
            <p:txBody>
              <a:bodyPr wrap="square" lIns="0" tIns="0" rIns="0" bIns="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76A8"/>
                    </a:solidFill>
                    <a:effectLst/>
                    <a:uLnTx/>
                    <a:uFillTx/>
                    <a:latin typeface="Calibri"/>
                  </a:rPr>
                  <a:t>Solutions</a:t>
                </a:r>
                <a:endParaRPr kumimoji="0" lang="en-US" sz="1000" b="0" i="0" u="none" strike="noStrike" kern="0" cap="none" spc="0" normalizeH="0" baseline="0" noProof="0" dirty="0">
                  <a:ln>
                    <a:noFill/>
                  </a:ln>
                  <a:solidFill>
                    <a:srgbClr val="0076A8"/>
                  </a:solidFill>
                  <a:effectLst/>
                  <a:uLnTx/>
                  <a:uFillTx/>
                  <a:latin typeface="Calibri"/>
                </a:endParaRPr>
              </a:p>
            </p:txBody>
          </p:sp>
          <p:cxnSp>
            <p:nvCxnSpPr>
              <p:cNvPr id="130" name="Straight Connector 129">
                <a:extLst>
                  <a:ext uri="{FF2B5EF4-FFF2-40B4-BE49-F238E27FC236}">
                    <a16:creationId xmlns:a16="http://schemas.microsoft.com/office/drawing/2014/main" id="{EAFEA556-86F3-4099-8809-D89FCC1D3D80}"/>
                  </a:ext>
                </a:extLst>
              </p:cNvPr>
              <p:cNvCxnSpPr/>
              <p:nvPr/>
            </p:nvCxnSpPr>
            <p:spPr>
              <a:xfrm flipH="1">
                <a:off x="8243841" y="3736065"/>
                <a:ext cx="786975" cy="421690"/>
              </a:xfrm>
              <a:prstGeom prst="line">
                <a:avLst/>
              </a:prstGeom>
              <a:noFill/>
              <a:ln w="12700" cap="flat" cmpd="sng" algn="ctr">
                <a:solidFill>
                  <a:srgbClr val="0076A8"/>
                </a:solidFill>
                <a:prstDash val="solid"/>
                <a:headEnd type="none"/>
                <a:tailEnd type="none"/>
              </a:ln>
              <a:effectLst/>
            </p:spPr>
          </p:cxnSp>
          <p:sp>
            <p:nvSpPr>
              <p:cNvPr id="131" name="Right Bracket 130">
                <a:extLst>
                  <a:ext uri="{FF2B5EF4-FFF2-40B4-BE49-F238E27FC236}">
                    <a16:creationId xmlns:a16="http://schemas.microsoft.com/office/drawing/2014/main" id="{E7A8B8ED-C79E-4F18-A014-9382CEBCAEA2}"/>
                  </a:ext>
                </a:extLst>
              </p:cNvPr>
              <p:cNvSpPr/>
              <p:nvPr/>
            </p:nvSpPr>
            <p:spPr>
              <a:xfrm rot="16200000">
                <a:off x="8412548" y="512580"/>
                <a:ext cx="202662" cy="4241223"/>
              </a:xfrm>
              <a:prstGeom prst="rightBracket">
                <a:avLst/>
              </a:prstGeom>
              <a:noFill/>
              <a:ln w="25400" cap="flat" cmpd="sng" algn="ctr">
                <a:solidFill>
                  <a:sysClr val="windowText" lastClr="000000">
                    <a:lumMod val="65000"/>
                    <a:lumOff val="35000"/>
                  </a:sys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a typeface="+mn-ea"/>
                  <a:cs typeface="+mn-cs"/>
                </a:endParaRPr>
              </a:p>
            </p:txBody>
          </p:sp>
          <p:sp>
            <p:nvSpPr>
              <p:cNvPr id="132" name="Rectangle 131">
                <a:extLst>
                  <a:ext uri="{FF2B5EF4-FFF2-40B4-BE49-F238E27FC236}">
                    <a16:creationId xmlns:a16="http://schemas.microsoft.com/office/drawing/2014/main" id="{7E1373C3-20ED-482C-9F2B-57C581B2D8CB}"/>
                  </a:ext>
                </a:extLst>
              </p:cNvPr>
              <p:cNvSpPr/>
              <p:nvPr/>
            </p:nvSpPr>
            <p:spPr>
              <a:xfrm>
                <a:off x="6225288" y="1071864"/>
                <a:ext cx="4409205" cy="1121699"/>
              </a:xfrm>
              <a:prstGeom prst="rect">
                <a:avLst/>
              </a:prstGeom>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53565A"/>
                    </a:solidFill>
                    <a:effectLst/>
                    <a:uLnTx/>
                    <a:uFillTx/>
                    <a:latin typeface="Calibri"/>
                  </a:rPr>
                  <a:t>Design:</a:t>
                </a:r>
                <a:endParaRPr kumimoji="0" lang="en-US" sz="900" b="0" i="0" u="none" strike="noStrike" kern="0" cap="none" spc="0" normalizeH="0" baseline="0" noProof="0" dirty="0">
                  <a:ln>
                    <a:noFill/>
                  </a:ln>
                  <a:solidFill>
                    <a:srgbClr val="53565A"/>
                  </a:solidFill>
                  <a:effectLst/>
                  <a:uLnTx/>
                  <a:uFillTx/>
                  <a:latin typeface="Calibri"/>
                </a:endParaRPr>
              </a:p>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3565A"/>
                    </a:solidFill>
                    <a:effectLst/>
                    <a:uLnTx/>
                    <a:uFillTx/>
                    <a:latin typeface="Calibri"/>
                  </a:rPr>
                  <a:t>Solutions proposed to enable continuity in line with prioritization and resources required for resuming time-critical departments</a:t>
                </a:r>
              </a:p>
            </p:txBody>
          </p:sp>
          <p:grpSp>
            <p:nvGrpSpPr>
              <p:cNvPr id="133" name="Group 132">
                <a:extLst>
                  <a:ext uri="{FF2B5EF4-FFF2-40B4-BE49-F238E27FC236}">
                    <a16:creationId xmlns:a16="http://schemas.microsoft.com/office/drawing/2014/main" id="{4996737E-8188-4606-81E6-94F73C75FDBD}"/>
                  </a:ext>
                </a:extLst>
              </p:cNvPr>
              <p:cNvGrpSpPr/>
              <p:nvPr/>
            </p:nvGrpSpPr>
            <p:grpSpPr>
              <a:xfrm>
                <a:off x="3971128" y="4732668"/>
                <a:ext cx="568809" cy="1090615"/>
                <a:chOff x="3612819" y="5053571"/>
                <a:chExt cx="568809" cy="1090615"/>
              </a:xfrm>
            </p:grpSpPr>
            <p:sp>
              <p:nvSpPr>
                <p:cNvPr id="135" name="Rectangle 134">
                  <a:extLst>
                    <a:ext uri="{FF2B5EF4-FFF2-40B4-BE49-F238E27FC236}">
                      <a16:creationId xmlns:a16="http://schemas.microsoft.com/office/drawing/2014/main" id="{677BBDB7-9D31-41AF-BFDE-7987C429BA16}"/>
                    </a:ext>
                  </a:extLst>
                </p:cNvPr>
                <p:cNvSpPr/>
                <p:nvPr/>
              </p:nvSpPr>
              <p:spPr>
                <a:xfrm rot="14172054">
                  <a:off x="3163231" y="5503159"/>
                  <a:ext cx="1090615" cy="191440"/>
                </a:xfrm>
                <a:prstGeom prst="rect">
                  <a:avLst/>
                </a:prstGeom>
              </p:spPr>
              <p:txBody>
                <a:bodyPr wrap="square" lIns="0" tIns="0" rIns="0" bIns="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Calibri"/>
                    </a:rPr>
                    <a:t>Exposures</a:t>
                  </a:r>
                </a:p>
              </p:txBody>
            </p:sp>
            <p:pic>
              <p:nvPicPr>
                <p:cNvPr id="136" name="Picture 2" descr="\\Cagmasrv1\sso$\Gestion_Deloitte\Global_Brand\- Templates\Icons\Iconography Deloitte\Icon_Caution_Green.png">
                  <a:extLst>
                    <a:ext uri="{FF2B5EF4-FFF2-40B4-BE49-F238E27FC236}">
                      <a16:creationId xmlns:a16="http://schemas.microsoft.com/office/drawing/2014/main" id="{41454D45-719E-4DEC-9C62-2518A0F90C3C}"/>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rot="14025754">
                  <a:off x="3754286" y="5210883"/>
                  <a:ext cx="457200" cy="397485"/>
                </a:xfrm>
                <a:prstGeom prst="rect">
                  <a:avLst/>
                </a:prstGeom>
                <a:noFill/>
                <a:extLst>
                  <a:ext uri="{909E8E84-426E-40DD-AFC4-6F175D3DCCD1}">
                    <a14:hiddenFill xmlns:a14="http://schemas.microsoft.com/office/drawing/2010/main">
                      <a:solidFill>
                        <a:srgbClr val="FFFFFF"/>
                      </a:solidFill>
                    </a14:hiddenFill>
                  </a:ext>
                </a:extLst>
              </p:spPr>
            </p:pic>
          </p:grpSp>
          <p:sp>
            <p:nvSpPr>
              <p:cNvPr id="134" name="Rectangle 133">
                <a:extLst>
                  <a:ext uri="{FF2B5EF4-FFF2-40B4-BE49-F238E27FC236}">
                    <a16:creationId xmlns:a16="http://schemas.microsoft.com/office/drawing/2014/main" id="{A8C130AB-F254-4BA6-9F9A-08987E57F709}"/>
                  </a:ext>
                </a:extLst>
              </p:cNvPr>
              <p:cNvSpPr/>
              <p:nvPr/>
            </p:nvSpPr>
            <p:spPr>
              <a:xfrm rot="5716210" flipV="1">
                <a:off x="3282919" y="3390716"/>
                <a:ext cx="1221646" cy="290443"/>
              </a:xfrm>
              <a:prstGeom prst="rect">
                <a:avLst/>
              </a:prstGeom>
            </p:spPr>
            <p:txBody>
              <a:bodyPr wrap="square" lIns="0" tIns="0" rIns="0" bIns="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Calibri"/>
                  </a:rPr>
                  <a:t>Requirements</a:t>
                </a:r>
                <a:endParaRPr kumimoji="0" lang="en-US" sz="900" b="0" i="0" u="none" strike="noStrike" kern="0" cap="none" spc="0" normalizeH="0" baseline="0" noProof="0" dirty="0">
                  <a:ln>
                    <a:noFill/>
                  </a:ln>
                  <a:solidFill>
                    <a:srgbClr val="FFFFFF"/>
                  </a:solidFill>
                  <a:effectLst/>
                  <a:uLnTx/>
                  <a:uFillTx/>
                  <a:latin typeface="Calibri"/>
                </a:endParaRPr>
              </a:p>
            </p:txBody>
          </p:sp>
        </p:grpSp>
        <p:grpSp>
          <p:nvGrpSpPr>
            <p:cNvPr id="137" name="Group 29">
              <a:extLst>
                <a:ext uri="{FF2B5EF4-FFF2-40B4-BE49-F238E27FC236}">
                  <a16:creationId xmlns:a16="http://schemas.microsoft.com/office/drawing/2014/main" id="{BC3B006B-6223-4D25-A527-9C80147454C6}"/>
                </a:ext>
              </a:extLst>
            </p:cNvPr>
            <p:cNvGrpSpPr>
              <a:grpSpLocks noChangeAspect="1"/>
            </p:cNvGrpSpPr>
            <p:nvPr/>
          </p:nvGrpSpPr>
          <p:grpSpPr bwMode="auto">
            <a:xfrm>
              <a:off x="9736445" y="4414117"/>
              <a:ext cx="623276" cy="623276"/>
              <a:chOff x="2899" y="653"/>
              <a:chExt cx="340" cy="340"/>
            </a:xfrm>
            <a:solidFill>
              <a:srgbClr val="86BC25"/>
            </a:solidFill>
          </p:grpSpPr>
          <p:sp>
            <p:nvSpPr>
              <p:cNvPr id="138" name="Freeform 30">
                <a:extLst>
                  <a:ext uri="{FF2B5EF4-FFF2-40B4-BE49-F238E27FC236}">
                    <a16:creationId xmlns:a16="http://schemas.microsoft.com/office/drawing/2014/main" id="{6A14FC28-E764-4DC2-A387-937EDF88D6C9}"/>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solidFill>
                <a:srgbClr val="0076A8"/>
              </a:solidFill>
              <a:ln>
                <a:solidFill>
                  <a:srgbClr val="0076A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Calibri"/>
                </a:endParaRPr>
              </a:p>
            </p:txBody>
          </p:sp>
          <p:sp>
            <p:nvSpPr>
              <p:cNvPr id="139" name="Freeform 31">
                <a:extLst>
                  <a:ext uri="{FF2B5EF4-FFF2-40B4-BE49-F238E27FC236}">
                    <a16:creationId xmlns:a16="http://schemas.microsoft.com/office/drawing/2014/main" id="{B2C9864E-52A7-49A0-910B-85EF29FFE909}"/>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solidFill>
                <a:srgbClr val="0076A8"/>
              </a:solidFill>
              <a:ln>
                <a:solidFill>
                  <a:srgbClr val="0076A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Calibri"/>
                </a:endParaRPr>
              </a:p>
            </p:txBody>
          </p:sp>
          <p:sp>
            <p:nvSpPr>
              <p:cNvPr id="140" name="Freeform 32">
                <a:extLst>
                  <a:ext uri="{FF2B5EF4-FFF2-40B4-BE49-F238E27FC236}">
                    <a16:creationId xmlns:a16="http://schemas.microsoft.com/office/drawing/2014/main" id="{A94E22D9-FF46-40A1-8424-01ABFF6EDD2F}"/>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rgbClr val="0076A8"/>
              </a:solidFill>
              <a:ln>
                <a:solidFill>
                  <a:srgbClr val="0076A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Calibri"/>
                </a:endParaRPr>
              </a:p>
            </p:txBody>
          </p:sp>
        </p:grpSp>
        <p:grpSp>
          <p:nvGrpSpPr>
            <p:cNvPr id="141" name="Group 540">
              <a:extLst>
                <a:ext uri="{FF2B5EF4-FFF2-40B4-BE49-F238E27FC236}">
                  <a16:creationId xmlns:a16="http://schemas.microsoft.com/office/drawing/2014/main" id="{175F2076-ACCD-4056-A54B-95D00B54DCC0}"/>
                </a:ext>
              </a:extLst>
            </p:cNvPr>
            <p:cNvGrpSpPr>
              <a:grpSpLocks noChangeAspect="1"/>
            </p:cNvGrpSpPr>
            <p:nvPr/>
          </p:nvGrpSpPr>
          <p:grpSpPr bwMode="auto">
            <a:xfrm>
              <a:off x="8135566" y="3850045"/>
              <a:ext cx="658347" cy="658347"/>
              <a:chOff x="4969" y="2016"/>
              <a:chExt cx="340" cy="340"/>
            </a:xfrm>
            <a:solidFill>
              <a:srgbClr val="75787B"/>
            </a:solidFill>
          </p:grpSpPr>
          <p:sp>
            <p:nvSpPr>
              <p:cNvPr id="145" name="Freeform 541">
                <a:extLst>
                  <a:ext uri="{FF2B5EF4-FFF2-40B4-BE49-F238E27FC236}">
                    <a16:creationId xmlns:a16="http://schemas.microsoft.com/office/drawing/2014/main" id="{EBFB0199-A8A8-4FD8-B0EB-B9695DAFB513}"/>
                  </a:ext>
                </a:extLst>
              </p:cNvPr>
              <p:cNvSpPr>
                <a:spLocks/>
              </p:cNvSpPr>
              <p:nvPr/>
            </p:nvSpPr>
            <p:spPr bwMode="auto">
              <a:xfrm>
                <a:off x="5047" y="2094"/>
                <a:ext cx="184" cy="184"/>
              </a:xfrm>
              <a:custGeom>
                <a:avLst/>
                <a:gdLst>
                  <a:gd name="T0" fmla="*/ 267 w 277"/>
                  <a:gd name="T1" fmla="*/ 139 h 277"/>
                  <a:gd name="T2" fmla="*/ 256 w 277"/>
                  <a:gd name="T3" fmla="*/ 149 h 277"/>
                  <a:gd name="T4" fmla="*/ 256 w 277"/>
                  <a:gd name="T5" fmla="*/ 256 h 277"/>
                  <a:gd name="T6" fmla="*/ 21 w 277"/>
                  <a:gd name="T7" fmla="*/ 256 h 277"/>
                  <a:gd name="T8" fmla="*/ 21 w 277"/>
                  <a:gd name="T9" fmla="*/ 21 h 277"/>
                  <a:gd name="T10" fmla="*/ 128 w 277"/>
                  <a:gd name="T11" fmla="*/ 21 h 277"/>
                  <a:gd name="T12" fmla="*/ 139 w 277"/>
                  <a:gd name="T13" fmla="*/ 11 h 277"/>
                  <a:gd name="T14" fmla="*/ 128 w 277"/>
                  <a:gd name="T15" fmla="*/ 0 h 277"/>
                  <a:gd name="T16" fmla="*/ 11 w 277"/>
                  <a:gd name="T17" fmla="*/ 0 h 277"/>
                  <a:gd name="T18" fmla="*/ 0 w 277"/>
                  <a:gd name="T19" fmla="*/ 11 h 277"/>
                  <a:gd name="T20" fmla="*/ 0 w 277"/>
                  <a:gd name="T21" fmla="*/ 267 h 277"/>
                  <a:gd name="T22" fmla="*/ 11 w 277"/>
                  <a:gd name="T23" fmla="*/ 277 h 277"/>
                  <a:gd name="T24" fmla="*/ 267 w 277"/>
                  <a:gd name="T25" fmla="*/ 277 h 277"/>
                  <a:gd name="T26" fmla="*/ 277 w 277"/>
                  <a:gd name="T27" fmla="*/ 267 h 277"/>
                  <a:gd name="T28" fmla="*/ 277 w 277"/>
                  <a:gd name="T29" fmla="*/ 149 h 277"/>
                  <a:gd name="T30" fmla="*/ 267 w 277"/>
                  <a:gd name="T31"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7">
                    <a:moveTo>
                      <a:pt x="267" y="139"/>
                    </a:moveTo>
                    <a:cubicBezTo>
                      <a:pt x="261" y="139"/>
                      <a:pt x="256" y="143"/>
                      <a:pt x="256" y="149"/>
                    </a:cubicBezTo>
                    <a:cubicBezTo>
                      <a:pt x="256" y="256"/>
                      <a:pt x="256" y="256"/>
                      <a:pt x="256" y="256"/>
                    </a:cubicBezTo>
                    <a:cubicBezTo>
                      <a:pt x="21" y="256"/>
                      <a:pt x="21" y="256"/>
                      <a:pt x="21" y="256"/>
                    </a:cubicBezTo>
                    <a:cubicBezTo>
                      <a:pt x="21" y="21"/>
                      <a:pt x="21" y="21"/>
                      <a:pt x="21" y="21"/>
                    </a:cubicBezTo>
                    <a:cubicBezTo>
                      <a:pt x="128" y="21"/>
                      <a:pt x="128" y="21"/>
                      <a:pt x="128" y="21"/>
                    </a:cubicBezTo>
                    <a:cubicBezTo>
                      <a:pt x="134" y="21"/>
                      <a:pt x="139" y="17"/>
                      <a:pt x="139" y="11"/>
                    </a:cubicBezTo>
                    <a:cubicBezTo>
                      <a:pt x="139" y="5"/>
                      <a:pt x="134" y="0"/>
                      <a:pt x="128"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49"/>
                      <a:pt x="277" y="149"/>
                      <a:pt x="277" y="149"/>
                    </a:cubicBezTo>
                    <a:cubicBezTo>
                      <a:pt x="277" y="143"/>
                      <a:pt x="273" y="139"/>
                      <a:pt x="26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Calibri"/>
                </a:endParaRPr>
              </a:p>
            </p:txBody>
          </p:sp>
          <p:sp>
            <p:nvSpPr>
              <p:cNvPr id="146" name="Freeform 542">
                <a:extLst>
                  <a:ext uri="{FF2B5EF4-FFF2-40B4-BE49-F238E27FC236}">
                    <a16:creationId xmlns:a16="http://schemas.microsoft.com/office/drawing/2014/main" id="{CC297328-BB40-49E9-983A-8BC9BAB42575}"/>
                  </a:ext>
                </a:extLst>
              </p:cNvPr>
              <p:cNvSpPr>
                <a:spLocks/>
              </p:cNvSpPr>
              <p:nvPr/>
            </p:nvSpPr>
            <p:spPr bwMode="auto">
              <a:xfrm>
                <a:off x="5131" y="2094"/>
                <a:ext cx="100" cy="99"/>
              </a:xfrm>
              <a:custGeom>
                <a:avLst/>
                <a:gdLst>
                  <a:gd name="T0" fmla="*/ 150 w 150"/>
                  <a:gd name="T1" fmla="*/ 7 h 149"/>
                  <a:gd name="T2" fmla="*/ 144 w 150"/>
                  <a:gd name="T3" fmla="*/ 1 h 149"/>
                  <a:gd name="T4" fmla="*/ 140 w 150"/>
                  <a:gd name="T5" fmla="*/ 0 h 149"/>
                  <a:gd name="T6" fmla="*/ 54 w 150"/>
                  <a:gd name="T7" fmla="*/ 0 h 149"/>
                  <a:gd name="T8" fmla="*/ 44 w 150"/>
                  <a:gd name="T9" fmla="*/ 11 h 149"/>
                  <a:gd name="T10" fmla="*/ 54 w 150"/>
                  <a:gd name="T11" fmla="*/ 21 h 149"/>
                  <a:gd name="T12" fmla="*/ 114 w 150"/>
                  <a:gd name="T13" fmla="*/ 21 h 149"/>
                  <a:gd name="T14" fmla="*/ 4 w 150"/>
                  <a:gd name="T15" fmla="*/ 131 h 149"/>
                  <a:gd name="T16" fmla="*/ 4 w 150"/>
                  <a:gd name="T17" fmla="*/ 146 h 149"/>
                  <a:gd name="T18" fmla="*/ 12 w 150"/>
                  <a:gd name="T19" fmla="*/ 149 h 149"/>
                  <a:gd name="T20" fmla="*/ 19 w 150"/>
                  <a:gd name="T21" fmla="*/ 146 h 149"/>
                  <a:gd name="T22" fmla="*/ 129 w 150"/>
                  <a:gd name="T23" fmla="*/ 36 h 149"/>
                  <a:gd name="T24" fmla="*/ 129 w 150"/>
                  <a:gd name="T25" fmla="*/ 96 h 149"/>
                  <a:gd name="T26" fmla="*/ 140 w 150"/>
                  <a:gd name="T27" fmla="*/ 107 h 149"/>
                  <a:gd name="T28" fmla="*/ 150 w 150"/>
                  <a:gd name="T29" fmla="*/ 96 h 149"/>
                  <a:gd name="T30" fmla="*/ 150 w 150"/>
                  <a:gd name="T31" fmla="*/ 11 h 149"/>
                  <a:gd name="T32" fmla="*/ 150 w 150"/>
                  <a:gd name="T33"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49">
                    <a:moveTo>
                      <a:pt x="150" y="7"/>
                    </a:moveTo>
                    <a:cubicBezTo>
                      <a:pt x="148" y="4"/>
                      <a:pt x="146" y="2"/>
                      <a:pt x="144" y="1"/>
                    </a:cubicBezTo>
                    <a:cubicBezTo>
                      <a:pt x="142" y="0"/>
                      <a:pt x="141" y="0"/>
                      <a:pt x="140" y="0"/>
                    </a:cubicBezTo>
                    <a:cubicBezTo>
                      <a:pt x="54" y="0"/>
                      <a:pt x="54" y="0"/>
                      <a:pt x="54" y="0"/>
                    </a:cubicBezTo>
                    <a:cubicBezTo>
                      <a:pt x="48" y="0"/>
                      <a:pt x="44" y="5"/>
                      <a:pt x="44" y="11"/>
                    </a:cubicBezTo>
                    <a:cubicBezTo>
                      <a:pt x="44" y="17"/>
                      <a:pt x="48" y="21"/>
                      <a:pt x="54" y="21"/>
                    </a:cubicBezTo>
                    <a:cubicBezTo>
                      <a:pt x="114" y="21"/>
                      <a:pt x="114" y="21"/>
                      <a:pt x="114" y="21"/>
                    </a:cubicBezTo>
                    <a:cubicBezTo>
                      <a:pt x="4" y="131"/>
                      <a:pt x="4" y="131"/>
                      <a:pt x="4" y="131"/>
                    </a:cubicBezTo>
                    <a:cubicBezTo>
                      <a:pt x="0" y="135"/>
                      <a:pt x="0" y="142"/>
                      <a:pt x="4" y="146"/>
                    </a:cubicBezTo>
                    <a:cubicBezTo>
                      <a:pt x="6" y="148"/>
                      <a:pt x="9" y="149"/>
                      <a:pt x="12" y="149"/>
                    </a:cubicBezTo>
                    <a:cubicBezTo>
                      <a:pt x="14" y="149"/>
                      <a:pt x="17" y="148"/>
                      <a:pt x="19" y="146"/>
                    </a:cubicBezTo>
                    <a:cubicBezTo>
                      <a:pt x="129" y="36"/>
                      <a:pt x="129" y="36"/>
                      <a:pt x="129" y="36"/>
                    </a:cubicBezTo>
                    <a:cubicBezTo>
                      <a:pt x="129" y="96"/>
                      <a:pt x="129" y="96"/>
                      <a:pt x="129" y="96"/>
                    </a:cubicBezTo>
                    <a:cubicBezTo>
                      <a:pt x="129" y="102"/>
                      <a:pt x="134" y="107"/>
                      <a:pt x="140" y="107"/>
                    </a:cubicBezTo>
                    <a:cubicBezTo>
                      <a:pt x="146" y="107"/>
                      <a:pt x="150" y="102"/>
                      <a:pt x="150" y="96"/>
                    </a:cubicBezTo>
                    <a:cubicBezTo>
                      <a:pt x="150" y="11"/>
                      <a:pt x="150" y="11"/>
                      <a:pt x="150" y="11"/>
                    </a:cubicBezTo>
                    <a:cubicBezTo>
                      <a:pt x="150" y="9"/>
                      <a:pt x="150" y="8"/>
                      <a:pt x="15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Calibri"/>
                </a:endParaRPr>
              </a:p>
            </p:txBody>
          </p:sp>
          <p:sp>
            <p:nvSpPr>
              <p:cNvPr id="147" name="Freeform 543">
                <a:extLst>
                  <a:ext uri="{FF2B5EF4-FFF2-40B4-BE49-F238E27FC236}">
                    <a16:creationId xmlns:a16="http://schemas.microsoft.com/office/drawing/2014/main" id="{AE00F5A9-ADEB-4CAB-9C46-4F0A89AA97D3}"/>
                  </a:ext>
                </a:extLst>
              </p:cNvPr>
              <p:cNvSpPr>
                <a:spLocks noEditPoints="1"/>
              </p:cNvSpPr>
              <p:nvPr/>
            </p:nvSpPr>
            <p:spPr bwMode="auto">
              <a:xfrm>
                <a:off x="4969"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Calibri"/>
                </a:endParaRPr>
              </a:p>
            </p:txBody>
          </p:sp>
        </p:grpSp>
        <p:grpSp>
          <p:nvGrpSpPr>
            <p:cNvPr id="148" name="Group 432">
              <a:extLst>
                <a:ext uri="{FF2B5EF4-FFF2-40B4-BE49-F238E27FC236}">
                  <a16:creationId xmlns:a16="http://schemas.microsoft.com/office/drawing/2014/main" id="{73D08FFE-32F0-4EC0-88E4-C7D5CB3782BF}"/>
                </a:ext>
              </a:extLst>
            </p:cNvPr>
            <p:cNvGrpSpPr>
              <a:grpSpLocks noChangeAspect="1"/>
            </p:cNvGrpSpPr>
            <p:nvPr/>
          </p:nvGrpSpPr>
          <p:grpSpPr bwMode="auto">
            <a:xfrm>
              <a:off x="8109661" y="4712728"/>
              <a:ext cx="621448" cy="623276"/>
              <a:chOff x="3505" y="1546"/>
              <a:chExt cx="340" cy="341"/>
            </a:xfrm>
            <a:noFill/>
          </p:grpSpPr>
          <p:sp>
            <p:nvSpPr>
              <p:cNvPr id="149" name="Freeform 433">
                <a:extLst>
                  <a:ext uri="{FF2B5EF4-FFF2-40B4-BE49-F238E27FC236}">
                    <a16:creationId xmlns:a16="http://schemas.microsoft.com/office/drawing/2014/main" id="{88ECD15B-9984-4E77-9B5A-4373C3081F0F}"/>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solidFill>
                  <a:sysClr val="windowText" lastClr="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Calibri"/>
                </a:endParaRPr>
              </a:p>
            </p:txBody>
          </p:sp>
          <p:sp>
            <p:nvSpPr>
              <p:cNvPr id="150" name="Freeform 434">
                <a:extLst>
                  <a:ext uri="{FF2B5EF4-FFF2-40B4-BE49-F238E27FC236}">
                    <a16:creationId xmlns:a16="http://schemas.microsoft.com/office/drawing/2014/main" id="{E02F9B06-B615-4C80-8E04-34A38AA25747}"/>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ysClr val="windowText" lastClr="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Calibri"/>
                </a:endParaRPr>
              </a:p>
            </p:txBody>
          </p:sp>
        </p:grpSp>
        <p:sp>
          <p:nvSpPr>
            <p:cNvPr id="151" name="Diagonal Stripe 150">
              <a:extLst>
                <a:ext uri="{FF2B5EF4-FFF2-40B4-BE49-F238E27FC236}">
                  <a16:creationId xmlns:a16="http://schemas.microsoft.com/office/drawing/2014/main" id="{C4A0BC46-1014-4FB0-83BE-CF4BE9815D92}"/>
                </a:ext>
              </a:extLst>
            </p:cNvPr>
            <p:cNvSpPr/>
            <p:nvPr/>
          </p:nvSpPr>
          <p:spPr>
            <a:xfrm>
              <a:off x="8849627" y="4762445"/>
              <a:ext cx="734559" cy="621978"/>
            </a:xfrm>
            <a:prstGeom prst="diagStripe">
              <a:avLst/>
            </a:prstGeom>
            <a:solidFill>
              <a:sysClr val="windowText" lastClr="000000"/>
            </a:solidFill>
            <a:ln w="12700" cap="flat" cmpd="sng" algn="ctr">
              <a:noFill/>
              <a:prstDash val="solid"/>
            </a:ln>
            <a:effectLst/>
          </p:spPr>
          <p:txBody>
            <a:bodyPr wrap="square" lIns="36000" tIns="36000" rIns="36000" bIns="36000" rtlCol="0" anchor="ctr">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sp>
          <p:nvSpPr>
            <p:cNvPr id="152" name="Diagonal Stripe 151">
              <a:extLst>
                <a:ext uri="{FF2B5EF4-FFF2-40B4-BE49-F238E27FC236}">
                  <a16:creationId xmlns:a16="http://schemas.microsoft.com/office/drawing/2014/main" id="{8E4C5006-B6A8-4C9F-B526-AAC3D6AAE473}"/>
                </a:ext>
              </a:extLst>
            </p:cNvPr>
            <p:cNvSpPr/>
            <p:nvPr/>
          </p:nvSpPr>
          <p:spPr>
            <a:xfrm flipV="1">
              <a:off x="8887706" y="4080095"/>
              <a:ext cx="679142" cy="664436"/>
            </a:xfrm>
            <a:prstGeom prst="diagStripe">
              <a:avLst/>
            </a:prstGeom>
            <a:solidFill>
              <a:srgbClr val="75787B"/>
            </a:solidFill>
            <a:ln w="12700" cap="flat" cmpd="sng" algn="ctr">
              <a:noFill/>
              <a:prstDash val="solid"/>
            </a:ln>
            <a:effectLst/>
          </p:spPr>
          <p:txBody>
            <a:bodyPr wrap="square" lIns="36000" tIns="36000" rIns="36000" bIns="36000" rtlCol="0" anchor="ctr">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E5566D5B-DCCD-2174-D0C8-0AA12435C4A4}"/>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224379556"/>
      </p:ext>
    </p:extLst>
  </p:cSld>
  <p:clrMapOvr>
    <a:masterClrMapping/>
  </p:clrMapOvr>
  <p:transition spd="med">
    <p:pull/>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971326"/>
            <a:ext cx="6049823" cy="3393926"/>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50" b="1" i="0" u="none" strike="noStrike" kern="1200" cap="none" spc="0" normalizeH="0" baseline="0" noProof="0" dirty="0">
                <a:ln>
                  <a:noFill/>
                </a:ln>
                <a:solidFill>
                  <a:srgbClr val="0097A9"/>
                </a:solidFill>
                <a:effectLst/>
                <a:uLnTx/>
                <a:uFillTx/>
                <a:latin typeface="Calibri" panose="020F0502020204030204" pitchFamily="34" charset="0"/>
                <a:ea typeface="Verdana" panose="020B0604030504040204" pitchFamily="34" charset="0"/>
                <a:cs typeface="Calibri" panose="020F0502020204030204" pitchFamily="34" charset="0"/>
              </a:rPr>
              <a:t>Incident Management, Crisis Management and Communication</a:t>
            </a:r>
          </a:p>
          <a:p>
            <a:pPr marL="0" marR="0" lvl="1"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Review and update incident management plans and crisis management plan to ensure a structured and systematic process for responding to incidents of different severity that may significantly or strategically impact stc. We will do the following activities:</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Review and update the overall emergency response, incident management and crisis management structure.</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Specify process and criteria for activation of different teams, escalation criteria and deactivation mechanisms.</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lang="en-US" sz="1000" dirty="0">
                <a:solidFill>
                  <a:prstClr val="black"/>
                </a:solidFill>
                <a:latin typeface="Calibri"/>
                <a:ea typeface="Verdana" panose="020B0604030504040204" pitchFamily="34" charset="0"/>
                <a:cs typeface="Calibri" panose="020F0502020204030204" pitchFamily="34" charset="0"/>
              </a:rPr>
              <a:t>Identify protocols</a:t>
            </a: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 of crisis command center and relationship between the departmental emergency response / incident management teams, centralized incident management team and crisis management team.</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Contain procedures to mobilize and deploy internal and external resources.</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Oversee execution of response activities and provide guidance as appropriate.</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Outline the approval process for sending messages to external parties concerning the crisis.</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Document internal and external communication procedures and protocols.</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Identify appropriate channels for communication.</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Document procedures for determining and communicating that the crisis is over.</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Update Crisis Communication Plan that will provide directives and instructions on how to manage communications internally and externally in the event of disasters and crises. </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Review documents and communication policies at the time of current crises and disasters (if any).</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Define the roles and responsibilities of communication teams, the mechanism, communication structure, and possible internal and external communication message models.</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tab pos="457200" algn="l"/>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Documenting procedures and protocols for internal and external communication, and defining appropriate channels for communication.</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3: Plans Review and Enhancement (1/3)</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77899" y="546247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610685" y="5447964"/>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42715" y="5843990"/>
            <a:ext cx="6049823" cy="772580"/>
          </a:xfrm>
          <a:prstGeom prst="rect">
            <a:avLst/>
          </a:prstGeom>
          <a:noFill/>
          <a:ln w="3175" algn="ctr">
            <a:solidFill>
              <a:srgbClr val="21B6B6"/>
            </a:solidFill>
            <a:miter lim="800000"/>
            <a:headEnd/>
            <a:tailEnd/>
          </a:ln>
        </p:spPr>
        <p:txBody>
          <a:bodyPr wrap="square" lIns="88071" tIns="88071" rIns="88071" bIns="88071" rtlCol="0" anchor="ctr"/>
          <a:lstStyle/>
          <a:p>
            <a:pPr marL="169914" indent="-169914" algn="just" fontAlgn="base">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Incident Management Plans</a:t>
            </a:r>
          </a:p>
          <a:p>
            <a:pPr marL="169914" indent="-169914" algn="just" fontAlgn="base">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Crisis Management Plan </a:t>
            </a:r>
          </a:p>
          <a:p>
            <a:pPr marL="169914" indent="-169914" algn="just" fontAlgn="base">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Crisis Communication Plan</a:t>
            </a:r>
          </a:p>
          <a:p>
            <a:pPr marL="169914" indent="-169914" algn="just" fontAlgn="base">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Emergency Response Plan template</a:t>
            </a:r>
          </a:p>
        </p:txBody>
      </p:sp>
      <p:grpSp>
        <p:nvGrpSpPr>
          <p:cNvPr id="142" name="Group 8"/>
          <p:cNvGrpSpPr>
            <a:grpSpLocks noChangeAspect="1"/>
          </p:cNvGrpSpPr>
          <p:nvPr/>
        </p:nvGrpSpPr>
        <p:grpSpPr bwMode="auto">
          <a:xfrm>
            <a:off x="6913183" y="1455166"/>
            <a:ext cx="363617" cy="363617"/>
            <a:chOff x="1346" y="303"/>
            <a:chExt cx="340" cy="340"/>
          </a:xfrm>
          <a:solidFill>
            <a:srgbClr val="00ABAB"/>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grpSp>
      <p:sp>
        <p:nvSpPr>
          <p:cNvPr id="179" name="TextBox 178"/>
          <p:cNvSpPr txBox="1"/>
          <p:nvPr/>
        </p:nvSpPr>
        <p:spPr>
          <a:xfrm>
            <a:off x="7314251" y="1494650"/>
            <a:ext cx="3346496"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Methodologies / Sample Deliverables</a:t>
            </a:r>
          </a:p>
        </p:txBody>
      </p:sp>
      <p:sp>
        <p:nvSpPr>
          <p:cNvPr id="30" name="TextBox 29"/>
          <p:cNvSpPr txBox="1"/>
          <p:nvPr/>
        </p:nvSpPr>
        <p:spPr>
          <a:xfrm rot="20096695">
            <a:off x="7173583" y="3661917"/>
            <a:ext cx="3360069" cy="259170"/>
          </a:xfrm>
          <a:prstGeom prst="rect">
            <a:avLst/>
          </a:prstGeom>
          <a:solidFill>
            <a:schemeClr val="bg1">
              <a:alpha val="35000"/>
            </a:schemeClr>
          </a:solidFill>
          <a:ln>
            <a:solidFill>
              <a:schemeClr val="accent6"/>
            </a:solidFill>
          </a:ln>
        </p:spPr>
        <p:txBody>
          <a:bodyPr wrap="square" rtlCol="0">
            <a:spAutoFit/>
          </a:bodyPr>
          <a:lstStyle/>
          <a:p>
            <a:pPr algn="ctr"/>
            <a:r>
              <a:rPr lang="en-US" sz="1091" b="1" dirty="0">
                <a:solidFill>
                  <a:srgbClr val="FF0000"/>
                </a:solidFill>
              </a:rPr>
              <a:t>For Illustration Purposes Only</a:t>
            </a:r>
          </a:p>
        </p:txBody>
      </p:sp>
      <p:pic>
        <p:nvPicPr>
          <p:cNvPr id="25" name="Picture 24"/>
          <p:cNvPicPr>
            <a:picLocks noChangeAspect="1"/>
          </p:cNvPicPr>
          <p:nvPr/>
        </p:nvPicPr>
        <p:blipFill>
          <a:blip r:embed="rId3"/>
          <a:stretch>
            <a:fillRect/>
          </a:stretch>
        </p:blipFill>
        <p:spPr>
          <a:xfrm>
            <a:off x="7314255" y="2087768"/>
            <a:ext cx="2878835" cy="1500599"/>
          </a:xfrm>
          <a:prstGeom prst="rect">
            <a:avLst/>
          </a:prstGeom>
        </p:spPr>
      </p:pic>
      <p:pic>
        <p:nvPicPr>
          <p:cNvPr id="26" name="Picture 25"/>
          <p:cNvPicPr>
            <a:picLocks noChangeAspect="1"/>
          </p:cNvPicPr>
          <p:nvPr/>
        </p:nvPicPr>
        <p:blipFill>
          <a:blip r:embed="rId4"/>
          <a:stretch>
            <a:fillRect/>
          </a:stretch>
        </p:blipFill>
        <p:spPr>
          <a:xfrm>
            <a:off x="7276795" y="3854498"/>
            <a:ext cx="2706592" cy="1217476"/>
          </a:xfrm>
          <a:prstGeom prst="rect">
            <a:avLst/>
          </a:prstGeom>
        </p:spPr>
      </p:pic>
      <p:sp>
        <p:nvSpPr>
          <p:cNvPr id="29" name="Triangle 28">
            <a:extLst>
              <a:ext uri="{FF2B5EF4-FFF2-40B4-BE49-F238E27FC236}">
                <a16:creationId xmlns:a16="http://schemas.microsoft.com/office/drawing/2014/main" id="{C129A4FB-2E8A-4E5B-A11F-E671D91BAD95}"/>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521F47A5-23F4-E978-7DB5-8D0294D3EF6A}"/>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590059972"/>
      </p:ext>
    </p:extLst>
  </p:cSld>
  <p:clrMapOvr>
    <a:masterClrMapping/>
  </p:clrMapOvr>
  <p:transition spd="med">
    <p:pull/>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971329"/>
            <a:ext cx="6049823" cy="3475637"/>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50" b="1" i="0" u="none" strike="noStrike" kern="1200" cap="none" spc="0" normalizeH="0" baseline="0" noProof="0" dirty="0">
                <a:ln>
                  <a:noFill/>
                </a:ln>
                <a:solidFill>
                  <a:srgbClr val="0097A9"/>
                </a:solidFill>
                <a:effectLst/>
                <a:uLnTx/>
                <a:uFillTx/>
                <a:latin typeface="Calibri" panose="020F0502020204030204" pitchFamily="34" charset="0"/>
                <a:ea typeface="Verdana" panose="020B0604030504040204" pitchFamily="34" charset="0"/>
                <a:cs typeface="Calibri" panose="020F0502020204030204" pitchFamily="34" charset="0"/>
              </a:rPr>
              <a:t>Business Continuity Plan Updates</a:t>
            </a:r>
          </a:p>
          <a:p>
            <a:pPr marL="0" marR="0" lvl="0" indent="0" algn="just" defTabSz="1219170" rtl="0" eaLnBrk="1" fontAlgn="auto" latinLnBrk="0" hangingPunct="1">
              <a:lnSpc>
                <a:spcPct val="100000"/>
              </a:lnSpc>
              <a:spcBef>
                <a:spcPts val="400"/>
              </a:spcBef>
              <a:spcAft>
                <a:spcPts val="300"/>
              </a:spcAft>
              <a:buClr>
                <a:srgbClr val="86BC25"/>
              </a:buClr>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loitte will review and enhance the existing BCPs to make them consistent, easy-to-use yet complete to be used in case of activation. </a:t>
            </a:r>
          </a:p>
          <a:p>
            <a:pPr marL="0" marR="0" lvl="0" indent="0" algn="just" defTabSz="1219170" rtl="0" eaLnBrk="1" fontAlgn="auto" latinLnBrk="0" hangingPunct="1">
              <a:lnSpc>
                <a:spcPct val="100000"/>
              </a:lnSpc>
              <a:spcBef>
                <a:spcPts val="400"/>
              </a:spcBef>
              <a:spcAft>
                <a:spcPts val="300"/>
              </a:spcAft>
              <a:buClr>
                <a:srgbClr val="86BC25"/>
              </a:buClr>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sed on the updated BIAs for the in-scope sub-departments, Deloitte will develop BCPs covering the following</a:t>
            </a: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Update the BCP template by simplifying and restructuring the document to make it user-friendly, easy-to-navigate, etc.</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Provide a Quick Guide at the start of every plan to enable rapid use by end users in the case of a BCP invocation.</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Provide detailed guidance on required actions during and following a disruption.</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Specify the resources and personnel required to recover time-critical business processes as part of the overall response to a disruptive event.</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Outline the sequence of recovery of services and processes.</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Involve relevant leadership and key personnel in recovery of operations.</a:t>
            </a:r>
          </a:p>
          <a:p>
            <a:pPr marL="171279" marR="0" lvl="1" indent="-171279" algn="l" defTabSz="1219170" rtl="0" eaLnBrk="1" fontAlgn="base" latinLnBrk="0" hangingPunct="1">
              <a:lnSpc>
                <a:spcPct val="100000"/>
              </a:lnSpc>
              <a:spcBef>
                <a:spcPts val="0"/>
              </a:spcBef>
              <a:spcAft>
                <a:spcPts val="0"/>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Include clear tasks with clear beginnings and end points to report to management for managing recovery-effort progress, including:</a:t>
            </a:r>
          </a:p>
          <a:p>
            <a:pPr marL="347663" marR="0" lvl="2" indent="163513" algn="l" defTabSz="1219170" rtl="0" eaLnBrk="1" fontAlgn="base" latinLnBrk="0" hangingPunct="1">
              <a:lnSpc>
                <a:spcPct val="100000"/>
              </a:lnSpc>
              <a:spcBef>
                <a:spcPts val="0"/>
              </a:spcBef>
              <a:spcAft>
                <a:spcPts val="0"/>
              </a:spcAft>
              <a:buClr>
                <a:srgbClr val="00ABAB"/>
              </a:buClr>
              <a:buSzPct val="100000"/>
              <a:buFont typeface="Courier New" panose="02070309020205020404" pitchFamily="49" charset="0"/>
              <a:buChar char="o"/>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identifying tasks to be undertaken, </a:t>
            </a:r>
          </a:p>
          <a:p>
            <a:pPr marL="347663" marR="0" lvl="2" indent="163513" algn="l" defTabSz="1219170" rtl="0" eaLnBrk="1" fontAlgn="base" latinLnBrk="0" hangingPunct="1">
              <a:lnSpc>
                <a:spcPct val="100000"/>
              </a:lnSpc>
              <a:spcBef>
                <a:spcPts val="0"/>
              </a:spcBef>
              <a:spcAft>
                <a:spcPts val="0"/>
              </a:spcAft>
              <a:buClr>
                <a:srgbClr val="00ABAB"/>
              </a:buClr>
              <a:buSzPct val="100000"/>
              <a:buFont typeface="Courier New" panose="02070309020205020404" pitchFamily="49" charset="0"/>
              <a:buChar char="o"/>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teams to complete them, </a:t>
            </a:r>
          </a:p>
          <a:p>
            <a:pPr marL="347663" marR="0" lvl="2" indent="163513" algn="l" defTabSz="1219170" rtl="0" eaLnBrk="1" fontAlgn="base" latinLnBrk="0" hangingPunct="1">
              <a:lnSpc>
                <a:spcPct val="100000"/>
              </a:lnSpc>
              <a:spcBef>
                <a:spcPts val="0"/>
              </a:spcBef>
              <a:spcAft>
                <a:spcPts val="0"/>
              </a:spcAft>
              <a:buClr>
                <a:srgbClr val="00ABAB"/>
              </a:buClr>
              <a:buSzPct val="100000"/>
              <a:buFont typeface="Courier New" panose="02070309020205020404" pitchFamily="49" charset="0"/>
              <a:buChar char="o"/>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team assignments and </a:t>
            </a:r>
          </a:p>
          <a:p>
            <a:pPr marL="347663" marR="0" lvl="2" indent="163513" algn="l" defTabSz="1219170" rtl="0" eaLnBrk="1" fontAlgn="base" latinLnBrk="0" hangingPunct="1">
              <a:lnSpc>
                <a:spcPct val="100000"/>
              </a:lnSpc>
              <a:spcBef>
                <a:spcPts val="0"/>
              </a:spcBef>
              <a:spcAft>
                <a:spcPts val="0"/>
              </a:spcAft>
              <a:buClr>
                <a:srgbClr val="00ABAB"/>
              </a:buClr>
              <a:buSzPct val="100000"/>
              <a:buFont typeface="Courier New" panose="02070309020205020404" pitchFamily="49" charset="0"/>
              <a:buChar char="o"/>
              <a:tabLst/>
              <a:defRPr/>
            </a:pPr>
            <a:r>
              <a:rPr kumimoji="0" lang="en-US" sz="1000" b="0" i="0" u="none" strike="noStrike" kern="1200" cap="none" spc="0" normalizeH="0" baseline="0" noProof="0" dirty="0">
                <a:ln>
                  <a:noFill/>
                </a:ln>
                <a:solidFill>
                  <a:prstClr val="black"/>
                </a:solidFill>
                <a:effectLst/>
                <a:uLnTx/>
                <a:uFillTx/>
                <a:latin typeface="Calibri"/>
                <a:ea typeface="Verdana" panose="020B0604030504040204" pitchFamily="34" charset="0"/>
                <a:cs typeface="Calibri" panose="020F0502020204030204" pitchFamily="34" charset="0"/>
              </a:rPr>
              <a:t>identifying the key contacts, suppliers and resources necessary to support the recovery.</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3: Plans Review and Enhancement (2/3)</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45872" y="55332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578654" y="5518735"/>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10686" y="5910974"/>
            <a:ext cx="6049823" cy="404226"/>
          </a:xfrm>
          <a:prstGeom prst="rect">
            <a:avLst/>
          </a:prstGeom>
          <a:noFill/>
          <a:ln w="3175" algn="ctr">
            <a:solidFill>
              <a:srgbClr val="21B6B6"/>
            </a:solidFill>
            <a:miter lim="800000"/>
            <a:headEnd/>
            <a:tailEnd/>
          </a:ln>
        </p:spPr>
        <p:txBody>
          <a:bodyPr wrap="square" lIns="88071" tIns="88071" rIns="88071" bIns="88071" rtlCol="0" anchor="ctr"/>
          <a:lstStyle/>
          <a:p>
            <a:pPr marL="169914" indent="-169914" algn="just" fontAlgn="base">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Updated BCP Template</a:t>
            </a:r>
          </a:p>
          <a:p>
            <a:pPr marL="169914" indent="-169914" algn="just" fontAlgn="base">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Business Continuity Plans for time critical departments</a:t>
            </a:r>
          </a:p>
        </p:txBody>
      </p:sp>
      <p:grpSp>
        <p:nvGrpSpPr>
          <p:cNvPr id="142" name="Group 8"/>
          <p:cNvGrpSpPr>
            <a:grpSpLocks noChangeAspect="1"/>
          </p:cNvGrpSpPr>
          <p:nvPr/>
        </p:nvGrpSpPr>
        <p:grpSpPr bwMode="auto">
          <a:xfrm>
            <a:off x="6913183" y="1455166"/>
            <a:ext cx="363617" cy="363617"/>
            <a:chOff x="1346" y="303"/>
            <a:chExt cx="340" cy="340"/>
          </a:xfrm>
          <a:solidFill>
            <a:srgbClr val="00ABAB"/>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grpSp>
      <p:sp>
        <p:nvSpPr>
          <p:cNvPr id="179" name="TextBox 178"/>
          <p:cNvSpPr txBox="1"/>
          <p:nvPr/>
        </p:nvSpPr>
        <p:spPr>
          <a:xfrm>
            <a:off x="7314251" y="1494650"/>
            <a:ext cx="3346496"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Methodologies / Sample Deliverables</a:t>
            </a:r>
          </a:p>
        </p:txBody>
      </p:sp>
      <p:pic>
        <p:nvPicPr>
          <p:cNvPr id="64" name="Picture 63"/>
          <p:cNvPicPr>
            <a:picLocks noChangeAspect="1"/>
          </p:cNvPicPr>
          <p:nvPr/>
        </p:nvPicPr>
        <p:blipFill>
          <a:blip r:embed="rId2"/>
          <a:stretch>
            <a:fillRect/>
          </a:stretch>
        </p:blipFill>
        <p:spPr>
          <a:xfrm>
            <a:off x="7050418" y="4423913"/>
            <a:ext cx="3679359" cy="1823441"/>
          </a:xfrm>
          <a:prstGeom prst="rect">
            <a:avLst/>
          </a:prstGeom>
          <a:ln>
            <a:solidFill>
              <a:schemeClr val="bg2"/>
            </a:solidFill>
          </a:ln>
          <a:effectLst/>
        </p:spPr>
      </p:pic>
      <p:pic>
        <p:nvPicPr>
          <p:cNvPr id="66" name="Picture 65"/>
          <p:cNvPicPr>
            <a:picLocks noChangeAspect="1"/>
          </p:cNvPicPr>
          <p:nvPr/>
        </p:nvPicPr>
        <p:blipFill>
          <a:blip r:embed="rId3"/>
          <a:stretch>
            <a:fillRect/>
          </a:stretch>
        </p:blipFill>
        <p:spPr>
          <a:xfrm>
            <a:off x="7050419" y="1888895"/>
            <a:ext cx="3679358" cy="2426939"/>
          </a:xfrm>
          <a:prstGeom prst="rect">
            <a:avLst/>
          </a:prstGeom>
          <a:ln>
            <a:solidFill>
              <a:schemeClr val="bg2"/>
            </a:solidFill>
          </a:ln>
          <a:effectLst>
            <a:outerShdw blurRad="50800" dist="38100" dir="2700000" algn="tl" rotWithShape="0">
              <a:prstClr val="black">
                <a:alpha val="40000"/>
              </a:prstClr>
            </a:outerShdw>
          </a:effectLst>
        </p:spPr>
      </p:pic>
      <p:sp>
        <p:nvSpPr>
          <p:cNvPr id="65" name="TextBox 64"/>
          <p:cNvSpPr txBox="1"/>
          <p:nvPr/>
        </p:nvSpPr>
        <p:spPr>
          <a:xfrm rot="20096695">
            <a:off x="7173582" y="3946696"/>
            <a:ext cx="3360069" cy="259170"/>
          </a:xfrm>
          <a:prstGeom prst="rect">
            <a:avLst/>
          </a:prstGeom>
          <a:solidFill>
            <a:schemeClr val="bg1">
              <a:alpha val="35000"/>
            </a:schemeClr>
          </a:solidFill>
          <a:ln>
            <a:solidFill>
              <a:schemeClr val="accent6"/>
            </a:solidFill>
          </a:ln>
        </p:spPr>
        <p:txBody>
          <a:bodyPr wrap="square" rtlCol="0">
            <a:spAutoFit/>
          </a:bodyPr>
          <a:lstStyle/>
          <a:p>
            <a:pPr algn="ctr"/>
            <a:r>
              <a:rPr lang="en-US" sz="1091" b="1" dirty="0">
                <a:solidFill>
                  <a:srgbClr val="FF0000"/>
                </a:solidFill>
              </a:rPr>
              <a:t>For Illustration Purposes Only</a:t>
            </a:r>
          </a:p>
        </p:txBody>
      </p:sp>
      <p:sp>
        <p:nvSpPr>
          <p:cNvPr id="26" name="Triangle 28">
            <a:extLst>
              <a:ext uri="{FF2B5EF4-FFF2-40B4-BE49-F238E27FC236}">
                <a16:creationId xmlns:a16="http://schemas.microsoft.com/office/drawing/2014/main" id="{D7857CB1-46A5-42CD-9132-BE2130E7CAED}"/>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536F0B3C-A753-ED01-FA53-5B9A8A865D6E}"/>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543904501"/>
      </p:ext>
    </p:extLst>
  </p:cSld>
  <p:clrMapOvr>
    <a:masterClrMapping/>
  </p:clrMapOvr>
  <p:transition spd="med">
    <p:pull/>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971323"/>
            <a:ext cx="6049823" cy="2876434"/>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Our ITDR philosophy is to identify and evaluate the most cost effective and appropriate strategies of Information Technology (IT) Recovery based on the outcomes of the BIA and the </a:t>
            </a: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risk</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ssessment. </a:t>
            </a:r>
          </a:p>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he following activities will be conducted as part of enhancing and updating the IT DR Plan:​</a:t>
            </a:r>
          </a:p>
          <a:p>
            <a:pPr marL="169914" marR="0" lvl="0" indent="-169914" algn="just" defTabSz="914400" rtl="0" eaLnBrk="1" fontAlgn="base" latinLnBrk="0" hangingPunct="1">
              <a:lnSpc>
                <a:spcPct val="100000"/>
              </a:lnSpc>
              <a:spcBef>
                <a:spcPts val="0"/>
              </a:spcBef>
              <a:spcAft>
                <a:spcPts val="30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Establish an stc-wide centralized IT DR governance covering the different roles across different technology teams. ​</a:t>
            </a:r>
          </a:p>
          <a:p>
            <a:pPr marL="169914" marR="0" lvl="0" indent="-169914" algn="just" defTabSz="914400" rtl="0" eaLnBrk="1" fontAlgn="base" latinLnBrk="0" hangingPunct="1">
              <a:lnSpc>
                <a:spcPct val="100000"/>
              </a:lnSpc>
              <a:spcBef>
                <a:spcPts val="0"/>
              </a:spcBef>
              <a:spcAft>
                <a:spcPts val="30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fine detailed responsibilities for each member of the IT DR team as part of IT DR governance.​</a:t>
            </a:r>
          </a:p>
          <a:p>
            <a:pPr marL="169914" marR="0" lvl="0" indent="-169914" algn="just" defTabSz="914400" rtl="0" eaLnBrk="1" fontAlgn="base" latinLnBrk="0" hangingPunct="1">
              <a:lnSpc>
                <a:spcPct val="100000"/>
              </a:lnSpc>
              <a:spcBef>
                <a:spcPts val="0"/>
              </a:spcBef>
              <a:spcAft>
                <a:spcPts val="30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velop IT DR activation criteria</a:t>
            </a: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 and</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escalation protocols between centralized IT DR and technical recovery teams.</a:t>
            </a:r>
          </a:p>
          <a:p>
            <a:pPr marL="169914" marR="0" lvl="0" indent="-169914" algn="just" defTabSz="914400" rtl="0" eaLnBrk="1" fontAlgn="base" latinLnBrk="0" hangingPunct="1">
              <a:lnSpc>
                <a:spcPct val="100000"/>
              </a:lnSpc>
              <a:spcBef>
                <a:spcPts val="0"/>
              </a:spcBef>
              <a:spcAft>
                <a:spcPts val="30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fine general IT DR stages and clarify their relationship with potential scenarios that may lead to the activation of IT DR.​</a:t>
            </a:r>
          </a:p>
          <a:p>
            <a:pPr marL="169914" marR="0" lvl="0" indent="-169914" algn="just" defTabSz="914400" rtl="0" eaLnBrk="1" fontAlgn="base" latinLnBrk="0" hangingPunct="1">
              <a:lnSpc>
                <a:spcPct val="100000"/>
              </a:lnSpc>
              <a:spcBef>
                <a:spcPts val="0"/>
              </a:spcBef>
              <a:spcAft>
                <a:spcPts val="30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velop recovery phases to be executed in operational disaster or cybersecurity incident scenarios to achieve targeted RTOs and RPOs.​</a:t>
            </a:r>
          </a:p>
          <a:p>
            <a:pPr marL="169914" marR="0" lvl="0" indent="-169914" algn="just" defTabSz="914400" rtl="0" eaLnBrk="1" fontAlgn="base" latinLnBrk="0" hangingPunct="1">
              <a:lnSpc>
                <a:spcPct val="100000"/>
              </a:lnSpc>
              <a:spcBef>
                <a:spcPts val="0"/>
              </a:spcBef>
              <a:spcAft>
                <a:spcPts val="30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velop Technical Recovery Plan template to be utilized by stc to add the technical procedures.</a:t>
            </a:r>
          </a:p>
          <a:p>
            <a:pPr marL="169914" marR="0" lvl="0" indent="-169914" algn="just" defTabSz="914400" rtl="0" eaLnBrk="1" fontAlgn="base" latinLnBrk="0" hangingPunct="1">
              <a:lnSpc>
                <a:spcPct val="100000"/>
              </a:lnSpc>
              <a:spcBef>
                <a:spcPts val="0"/>
              </a:spcBef>
              <a:spcAft>
                <a:spcPts val="30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Submit the IT DR Plan and recovery arrangements to management for review and approval.</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3: Plans Review and Enhancement (3/3)</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45872" y="509461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578654" y="5080099"/>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10686" y="5468256"/>
            <a:ext cx="6049823" cy="621674"/>
          </a:xfrm>
          <a:prstGeom prst="rect">
            <a:avLst/>
          </a:prstGeom>
          <a:noFill/>
          <a:ln w="3175" algn="ctr">
            <a:solidFill>
              <a:srgbClr val="21B6B6"/>
            </a:solidFill>
            <a:miter lim="800000"/>
            <a:headEnd/>
            <a:tailEnd/>
          </a:ln>
        </p:spPr>
        <p:txBody>
          <a:bodyPr wrap="square" lIns="88071" tIns="88071" rIns="88071" bIns="88071" rtlCol="0" anchor="ctr"/>
          <a:lstStyle/>
          <a:p>
            <a:pPr marL="169914" marR="0" lvl="0" indent="-169914" algn="just" defTabSz="914400" rtl="0" eaLnBrk="1" fontAlgn="base" latinLnBrk="0" hangingPunct="1">
              <a:lnSpc>
                <a:spcPct val="100000"/>
              </a:lnSpc>
              <a:spcBef>
                <a:spcPts val="0"/>
              </a:spcBef>
              <a:spcAft>
                <a:spcPts val="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Centralized IT Disaster Recovery Plan</a:t>
            </a:r>
          </a:p>
          <a:p>
            <a:pPr marL="169914" marR="0" lvl="0" indent="-169914" algn="just" defTabSz="914400" rtl="0" eaLnBrk="1" fontAlgn="base" latinLnBrk="0" hangingPunct="1">
              <a:lnSpc>
                <a:spcPct val="100000"/>
              </a:lnSpc>
              <a:spcBef>
                <a:spcPts val="0"/>
              </a:spcBef>
              <a:spcAft>
                <a:spcPts val="0"/>
              </a:spcAft>
              <a:buClr>
                <a:srgbClr val="21B6B6"/>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echnology Recovery Plans template</a:t>
            </a:r>
          </a:p>
          <a:p>
            <a:pPr marL="169914" marR="0" lvl="0" indent="-169914" algn="just" defTabSz="914400" rtl="0" eaLnBrk="1" fontAlgn="base" latinLnBrk="0" hangingPunct="1">
              <a:lnSpc>
                <a:spcPct val="100000"/>
              </a:lnSpc>
              <a:spcBef>
                <a:spcPts val="0"/>
              </a:spcBef>
              <a:spcAft>
                <a:spcPts val="0"/>
              </a:spcAft>
              <a:buClr>
                <a:srgbClr val="21B6B6"/>
              </a:buClr>
              <a:buSzTx/>
              <a:buFont typeface="Arial" panose="020B0604020202020204" pitchFamily="34" charset="0"/>
              <a:buChar char="•"/>
              <a:tabLst/>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Technology Recovery Plans</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142" name="Group 8"/>
          <p:cNvGrpSpPr>
            <a:grpSpLocks noChangeAspect="1"/>
          </p:cNvGrpSpPr>
          <p:nvPr/>
        </p:nvGrpSpPr>
        <p:grpSpPr bwMode="auto">
          <a:xfrm>
            <a:off x="6913183" y="1455166"/>
            <a:ext cx="363617" cy="363617"/>
            <a:chOff x="1346" y="303"/>
            <a:chExt cx="340" cy="340"/>
          </a:xfrm>
          <a:solidFill>
            <a:srgbClr val="00ABAB"/>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grpSp>
      <p:sp>
        <p:nvSpPr>
          <p:cNvPr id="179" name="TextBox 178"/>
          <p:cNvSpPr txBox="1"/>
          <p:nvPr/>
        </p:nvSpPr>
        <p:spPr>
          <a:xfrm>
            <a:off x="7314251" y="1494650"/>
            <a:ext cx="3346496"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Methodologies / Sample Deliverables</a:t>
            </a:r>
          </a:p>
        </p:txBody>
      </p:sp>
      <p:pic>
        <p:nvPicPr>
          <p:cNvPr id="31" name="Picture 30">
            <a:extLst>
              <a:ext uri="{FF2B5EF4-FFF2-40B4-BE49-F238E27FC236}">
                <a16:creationId xmlns:a16="http://schemas.microsoft.com/office/drawing/2014/main" id="{D0180F91-849E-4D38-B9E6-BEFCF08F8B22}"/>
              </a:ext>
            </a:extLst>
          </p:cNvPr>
          <p:cNvPicPr>
            <a:picLocks noChangeAspect="1"/>
          </p:cNvPicPr>
          <p:nvPr/>
        </p:nvPicPr>
        <p:blipFill>
          <a:blip r:embed="rId2"/>
          <a:stretch>
            <a:fillRect/>
          </a:stretch>
        </p:blipFill>
        <p:spPr>
          <a:xfrm>
            <a:off x="7238104" y="3146522"/>
            <a:ext cx="3231018" cy="1869714"/>
          </a:xfrm>
          <a:prstGeom prst="rect">
            <a:avLst/>
          </a:prstGeom>
        </p:spPr>
      </p:pic>
      <p:sp>
        <p:nvSpPr>
          <p:cNvPr id="32" name="TextBox 31">
            <a:extLst>
              <a:ext uri="{FF2B5EF4-FFF2-40B4-BE49-F238E27FC236}">
                <a16:creationId xmlns:a16="http://schemas.microsoft.com/office/drawing/2014/main" id="{23E9C52F-EAFB-4BA9-9B25-79B9BE76AC29}"/>
              </a:ext>
            </a:extLst>
          </p:cNvPr>
          <p:cNvSpPr txBox="1"/>
          <p:nvPr/>
        </p:nvSpPr>
        <p:spPr>
          <a:xfrm rot="20096695">
            <a:off x="7173583" y="3661917"/>
            <a:ext cx="3360069" cy="259170"/>
          </a:xfrm>
          <a:prstGeom prst="rect">
            <a:avLst/>
          </a:prstGeom>
          <a:solidFill>
            <a:schemeClr val="bg1">
              <a:alpha val="35000"/>
            </a:schemeClr>
          </a:solidFill>
          <a:ln>
            <a:solidFill>
              <a:schemeClr val="accent6"/>
            </a:solidFill>
          </a:ln>
        </p:spPr>
        <p:txBody>
          <a:bodyPr wrap="square" rtlCol="0">
            <a:spAutoFit/>
          </a:bodyPr>
          <a:lstStyle/>
          <a:p>
            <a:pPr algn="ctr"/>
            <a:r>
              <a:rPr lang="en-US" sz="1091" b="1" dirty="0">
                <a:solidFill>
                  <a:srgbClr val="FF0000"/>
                </a:solidFill>
              </a:rPr>
              <a:t>For Illustration Purposes Only</a:t>
            </a:r>
          </a:p>
        </p:txBody>
      </p:sp>
      <p:pic>
        <p:nvPicPr>
          <p:cNvPr id="33" name="Picture 32">
            <a:extLst>
              <a:ext uri="{FF2B5EF4-FFF2-40B4-BE49-F238E27FC236}">
                <a16:creationId xmlns:a16="http://schemas.microsoft.com/office/drawing/2014/main" id="{8052C7C8-C957-4372-9156-76BC3FD4D17A}"/>
              </a:ext>
            </a:extLst>
          </p:cNvPr>
          <p:cNvPicPr>
            <a:picLocks noChangeAspect="1"/>
          </p:cNvPicPr>
          <p:nvPr/>
        </p:nvPicPr>
        <p:blipFill>
          <a:blip r:embed="rId3"/>
          <a:stretch>
            <a:fillRect/>
          </a:stretch>
        </p:blipFill>
        <p:spPr>
          <a:xfrm>
            <a:off x="7715324" y="1896234"/>
            <a:ext cx="2276596" cy="1118090"/>
          </a:xfrm>
          <a:prstGeom prst="rect">
            <a:avLst/>
          </a:prstGeom>
        </p:spPr>
      </p:pic>
      <p:pic>
        <p:nvPicPr>
          <p:cNvPr id="34" name="Picture 2">
            <a:extLst>
              <a:ext uri="{FF2B5EF4-FFF2-40B4-BE49-F238E27FC236}">
                <a16:creationId xmlns:a16="http://schemas.microsoft.com/office/drawing/2014/main" id="{55D69A0C-AD9F-4A25-9DF1-84F38EDE4A3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66637" y="5089923"/>
            <a:ext cx="4046313" cy="998990"/>
          </a:xfrm>
          <a:prstGeom prst="rect">
            <a:avLst/>
          </a:prstGeom>
          <a:noFill/>
          <a:ln w="9525">
            <a:noFill/>
            <a:miter lim="800000"/>
            <a:headEnd/>
            <a:tailEnd/>
          </a:ln>
          <a:effectLst/>
        </p:spPr>
      </p:pic>
      <p:sp>
        <p:nvSpPr>
          <p:cNvPr id="27" name="Triangle 28">
            <a:extLst>
              <a:ext uri="{FF2B5EF4-FFF2-40B4-BE49-F238E27FC236}">
                <a16:creationId xmlns:a16="http://schemas.microsoft.com/office/drawing/2014/main" id="{FC1C2BEC-B470-4291-B65B-74574EDFFCE7}"/>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11D209C2-67CF-44A9-3672-016D77709C72}"/>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302964695"/>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1" y="8257"/>
            <a:ext cx="11300441" cy="6841486"/>
          </a:xfrm>
          <a:prstGeom prst="rect">
            <a:avLst/>
          </a:prstGeom>
        </p:spPr>
      </p:pic>
      <p:grpSp>
        <p:nvGrpSpPr>
          <p:cNvPr id="6" name="Group 5">
            <a:extLst>
              <a:ext uri="{FF2B5EF4-FFF2-40B4-BE49-F238E27FC236}">
                <a16:creationId xmlns:a16="http://schemas.microsoft.com/office/drawing/2014/main" id="{B0BFBE09-3C6A-44C7-9D03-289EB3B4D0A7}"/>
              </a:ext>
            </a:extLst>
          </p:cNvPr>
          <p:cNvGrpSpPr/>
          <p:nvPr/>
        </p:nvGrpSpPr>
        <p:grpSpPr>
          <a:xfrm>
            <a:off x="10791565" y="6425836"/>
            <a:ext cx="364450" cy="364450"/>
            <a:chOff x="2624423" y="132075"/>
            <a:chExt cx="864729" cy="864729"/>
          </a:xfrm>
        </p:grpSpPr>
        <p:sp>
          <p:nvSpPr>
            <p:cNvPr id="9" name="Oval 8">
              <a:extLst>
                <a:ext uri="{FF2B5EF4-FFF2-40B4-BE49-F238E27FC236}">
                  <a16:creationId xmlns:a16="http://schemas.microsoft.com/office/drawing/2014/main" id="{55483B00-835E-4566-9353-F7D981928BD8}"/>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1782" b="1" dirty="0">
                <a:solidFill>
                  <a:schemeClr val="bg1"/>
                </a:solidFill>
                <a:latin typeface="Calibri" panose="020F0502020204030204" pitchFamily="34" charset="0"/>
              </a:endParaRPr>
            </a:p>
          </p:txBody>
        </p:sp>
        <p:grpSp>
          <p:nvGrpSpPr>
            <p:cNvPr id="12" name="Group 22">
              <a:extLst>
                <a:ext uri="{FF2B5EF4-FFF2-40B4-BE49-F238E27FC236}">
                  <a16:creationId xmlns:a16="http://schemas.microsoft.com/office/drawing/2014/main" id="{A0C95259-4342-46A6-B68D-4CF9DEC6145C}"/>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13" name="Freeform 23">
                <a:extLst>
                  <a:ext uri="{FF2B5EF4-FFF2-40B4-BE49-F238E27FC236}">
                    <a16:creationId xmlns:a16="http://schemas.microsoft.com/office/drawing/2014/main" id="{E6E79448-B6DB-4A98-9563-02D545B944F3}"/>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US" sz="1782" dirty="0">
                  <a:latin typeface="Calibri" panose="020F0502020204030204" pitchFamily="34" charset="0"/>
                </a:endParaRPr>
              </a:p>
            </p:txBody>
          </p:sp>
          <p:sp>
            <p:nvSpPr>
              <p:cNvPr id="14" name="Freeform 24">
                <a:extLst>
                  <a:ext uri="{FF2B5EF4-FFF2-40B4-BE49-F238E27FC236}">
                    <a16:creationId xmlns:a16="http://schemas.microsoft.com/office/drawing/2014/main" id="{939E9201-1847-488F-940F-2E436A00A10B}"/>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US" sz="1782" dirty="0">
                  <a:latin typeface="Calibri" panose="020F0502020204030204" pitchFamily="34" charset="0"/>
                </a:endParaRPr>
              </a:p>
            </p:txBody>
          </p:sp>
        </p:grpSp>
      </p:grpSp>
      <p:sp>
        <p:nvSpPr>
          <p:cNvPr id="15" name="Oval 14">
            <a:hlinkClick r:id="rId4" action="ppaction://hlinksldjump"/>
            <a:extLst>
              <a:ext uri="{FF2B5EF4-FFF2-40B4-BE49-F238E27FC236}">
                <a16:creationId xmlns:a16="http://schemas.microsoft.com/office/drawing/2014/main" id="{B201DE4F-2986-47A1-A1B4-FD9A0B785BBF}"/>
              </a:ext>
            </a:extLst>
          </p:cNvPr>
          <p:cNvSpPr/>
          <p:nvPr/>
        </p:nvSpPr>
        <p:spPr bwMode="gray">
          <a:xfrm>
            <a:off x="10751701" y="6426652"/>
            <a:ext cx="423091" cy="423091"/>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16" name="Triangle 28">
            <a:extLst>
              <a:ext uri="{FF2B5EF4-FFF2-40B4-BE49-F238E27FC236}">
                <a16:creationId xmlns:a16="http://schemas.microsoft.com/office/drawing/2014/main" id="{96A68D10-67E7-4D70-9984-78405A5FC4C3}"/>
              </a:ext>
            </a:extLst>
          </p:cNvPr>
          <p:cNvSpPr/>
          <p:nvPr/>
        </p:nvSpPr>
        <p:spPr>
          <a:xfrm rot="16200000">
            <a:off x="11053748" y="1371995"/>
            <a:ext cx="264966" cy="228419"/>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Sakkal Majalla" panose="02000000000000000000" pitchFamily="2" charset="-78"/>
              <a:cs typeface="Sakkal Majalla" panose="02000000000000000000" pitchFamily="2" charset="-78"/>
            </a:endParaRPr>
          </a:p>
        </p:txBody>
      </p:sp>
      <p:sp>
        <p:nvSpPr>
          <p:cNvPr id="18" name="Rectangle 17">
            <a:extLst>
              <a:ext uri="{FF2B5EF4-FFF2-40B4-BE49-F238E27FC236}">
                <a16:creationId xmlns:a16="http://schemas.microsoft.com/office/drawing/2014/main" id="{626F9594-1186-4B5F-8675-22509FCCA54B}"/>
              </a:ext>
            </a:extLst>
          </p:cNvPr>
          <p:cNvSpPr/>
          <p:nvPr/>
        </p:nvSpPr>
        <p:spPr bwMode="gray">
          <a:xfrm>
            <a:off x="0" y="0"/>
            <a:ext cx="11300440" cy="6841487"/>
          </a:xfrm>
          <a:prstGeom prst="rect">
            <a:avLst/>
          </a:prstGeom>
          <a:solidFill>
            <a:schemeClr val="tx1">
              <a:alpha val="48000"/>
            </a:scheme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11" name="Text Placeholder 2">
            <a:extLst>
              <a:ext uri="{FF2B5EF4-FFF2-40B4-BE49-F238E27FC236}">
                <a16:creationId xmlns:a16="http://schemas.microsoft.com/office/drawing/2014/main" id="{6DD4D66A-D889-4ED3-9DF1-AF716327167B}"/>
              </a:ext>
            </a:extLst>
          </p:cNvPr>
          <p:cNvSpPr txBox="1">
            <a:spLocks/>
          </p:cNvSpPr>
          <p:nvPr/>
        </p:nvSpPr>
        <p:spPr bwMode="gray">
          <a:xfrm>
            <a:off x="610450" y="2167363"/>
            <a:ext cx="10232998" cy="2294187"/>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sz="2382" dirty="0">
                <a:latin typeface="Calibri" panose="020F0502020204030204" pitchFamily="34" charset="0"/>
                <a:cs typeface="Calibri" panose="020F0502020204030204" pitchFamily="34" charset="0"/>
              </a:rPr>
              <a:t>Our mission in Risk Advisory (RA) in Deloitte is to protect and create value for organizations by taking a risk intelligent approach towards managing financial, regulatory, technology, and business risks.</a:t>
            </a:r>
          </a:p>
          <a:p>
            <a:endParaRPr lang="en-US" sz="2382" dirty="0">
              <a:latin typeface="Calibri" panose="020F0502020204030204" pitchFamily="34" charset="0"/>
              <a:cs typeface="Calibri" panose="020F0502020204030204" pitchFamily="34" charset="0"/>
            </a:endParaRPr>
          </a:p>
          <a:p>
            <a:r>
              <a:rPr lang="en-US" sz="2382" dirty="0">
                <a:latin typeface="Calibri" panose="020F0502020204030204" pitchFamily="34" charset="0"/>
                <a:cs typeface="Calibri" panose="020F0502020204030204" pitchFamily="34" charset="0"/>
              </a:rPr>
              <a:t>We strive to provide global, end-to-end, innovative, and risk-intelligent solutions tailored to priority industries and segments.</a:t>
            </a:r>
          </a:p>
        </p:txBody>
      </p:sp>
      <p:sp>
        <p:nvSpPr>
          <p:cNvPr id="10" name="Title 1">
            <a:extLst>
              <a:ext uri="{FF2B5EF4-FFF2-40B4-BE49-F238E27FC236}">
                <a16:creationId xmlns:a16="http://schemas.microsoft.com/office/drawing/2014/main" id="{EC016919-2EDD-472D-8BFC-124E277AD105}"/>
              </a:ext>
            </a:extLst>
          </p:cNvPr>
          <p:cNvSpPr>
            <a:spLocks noGrp="1"/>
          </p:cNvSpPr>
          <p:nvPr>
            <p:ph type="title"/>
          </p:nvPr>
        </p:nvSpPr>
        <p:spPr bwMode="gray">
          <a:xfrm>
            <a:off x="522376" y="460105"/>
            <a:ext cx="10321069" cy="157755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b="0" dirty="0">
                <a:latin typeface="Calibri" panose="020F0502020204030204" pitchFamily="34" charset="0"/>
              </a:rPr>
              <a:t>Executive Summary</a:t>
            </a:r>
          </a:p>
        </p:txBody>
      </p:sp>
    </p:spTree>
    <p:extLst>
      <p:ext uri="{BB962C8B-B14F-4D97-AF65-F5344CB8AC3E}">
        <p14:creationId xmlns:p14="http://schemas.microsoft.com/office/powerpoint/2010/main" val="1551567833"/>
      </p:ext>
    </p:extLst>
  </p:cSld>
  <p:clrMapOvr>
    <a:masterClrMapping/>
  </p:clrMapOvr>
  <p:transition spd="med">
    <p:pull/>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971324"/>
            <a:ext cx="6049823" cy="2716360"/>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auto" latinLnBrk="0" hangingPunct="1">
              <a:lnSpc>
                <a:spcPct val="100000"/>
              </a:lnSpc>
              <a:spcBef>
                <a:spcPts val="0"/>
              </a:spcBef>
              <a:spcAft>
                <a:spcPts val="591"/>
              </a:spcAft>
              <a:buClr>
                <a:srgbClr val="86BC25"/>
              </a:buClr>
              <a:buSzPct val="100000"/>
              <a:buFontTx/>
              <a:buNone/>
              <a:tabLst/>
              <a:defRPr/>
            </a:pPr>
            <a:r>
              <a:rPr kumimoji="0" lang="en-US" sz="1050" b="1" i="0" u="none" strike="noStrike" kern="1200" cap="none" spc="0" normalizeH="0" baseline="0" noProof="0" dirty="0">
                <a:ln>
                  <a:noFill/>
                </a:ln>
                <a:solidFill>
                  <a:srgbClr val="0097A9"/>
                </a:solidFill>
                <a:effectLst/>
                <a:uLnTx/>
                <a:uFillTx/>
                <a:latin typeface="Calibri" panose="020F0502020204030204" pitchFamily="34" charset="0"/>
                <a:ea typeface="Verdana" panose="020B0604030504040204" pitchFamily="34" charset="0"/>
                <a:cs typeface="Calibri" panose="020F0502020204030204" pitchFamily="34" charset="0"/>
              </a:rPr>
              <a:t>BCM Awareness &amp; Training</a:t>
            </a:r>
          </a:p>
          <a:p>
            <a:pPr marL="0" marR="0" lvl="0" indent="0" algn="just" defTabSz="914400" rtl="0" eaLnBrk="1" fontAlgn="auto" latinLnBrk="0" hangingPunct="1">
              <a:lnSpc>
                <a:spcPct val="100000"/>
              </a:lnSpc>
              <a:spcBef>
                <a:spcPts val="0"/>
              </a:spcBef>
              <a:spcAft>
                <a:spcPts val="591"/>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Open Sans Light" panose="020B0306030504020204" pitchFamily="34" charset="0"/>
                <a:cs typeface="Calibri" panose="020F0502020204030204" pitchFamily="34" charset="0"/>
              </a:rPr>
              <a:t>The aim of this phase is to promote the vision and purpose of stc’s BCMS and its benefits to various stakeholder groups. We will do this through the following:</a:t>
            </a:r>
          </a:p>
          <a:p>
            <a:pPr marL="169914" marR="0" lvl="1" indent="-169914" algn="l" defTabSz="914400" rtl="0" eaLnBrk="1" fontAlgn="base" latinLnBrk="0" hangingPunct="1">
              <a:lnSpc>
                <a:spcPct val="100000"/>
              </a:lnSpc>
              <a:spcBef>
                <a:spcPts val="0"/>
              </a:spcBef>
              <a:spcAft>
                <a:spcPts val="591"/>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pose a BCM Awareness and Training Program covering methodologies and approach, subjects and areas, types and channels, criteria / maturity measurements and levels, objectives, target audiences, RACI with HR and corporate &amp; communication.</a:t>
            </a:r>
          </a:p>
          <a:p>
            <a:pPr marL="169914" marR="0" lvl="1" indent="-169914" algn="l" defTabSz="914400" rtl="0" eaLnBrk="1" fontAlgn="base" latinLnBrk="0" hangingPunct="1">
              <a:lnSpc>
                <a:spcPct val="100000"/>
              </a:lnSpc>
              <a:spcBef>
                <a:spcPts val="0"/>
              </a:spcBef>
              <a:spcAft>
                <a:spcPts val="591"/>
              </a:spcAft>
              <a:buClr>
                <a:srgbClr val="00ABAB"/>
              </a:buClr>
              <a:buSzPct val="100000"/>
              <a:buFont typeface="Arial" panose="020B0604020202020204" pitchFamily="34" charset="0"/>
              <a:buChar char="•"/>
              <a:tabLst/>
              <a:defRPr/>
            </a:pPr>
            <a:r>
              <a:rPr lang="en-US" sz="1000" dirty="0">
                <a:solidFill>
                  <a:prstClr val="black"/>
                </a:solidFill>
                <a:latin typeface="Calibri" panose="020F0502020204030204" pitchFamily="34" charset="0"/>
                <a:cs typeface="Calibri" panose="020F0502020204030204" pitchFamily="34" charset="0"/>
              </a:rPr>
              <a:t>Review and enhance BCM awareness and training presentations.</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69914" marR="0" lvl="1" indent="-169914" algn="l" defTabSz="914400" rtl="0" eaLnBrk="1" fontAlgn="base" latinLnBrk="0" hangingPunct="1">
              <a:lnSpc>
                <a:spcPct val="100000"/>
              </a:lnSpc>
              <a:spcBef>
                <a:spcPts val="0"/>
              </a:spcBef>
              <a:spcAft>
                <a:spcPts val="591"/>
              </a:spcAft>
              <a:buClr>
                <a:srgbClr val="00ABAB"/>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nduct awareness session for senior management on BC&amp;DR Governance and management’s roles &amp; responsibilities.</a:t>
            </a:r>
          </a:p>
          <a:p>
            <a:pPr marL="169914" marR="0" lvl="1" indent="-169914" algn="l" defTabSz="914400" rtl="0" eaLnBrk="1" fontAlgn="base" latinLnBrk="0" hangingPunct="1">
              <a:lnSpc>
                <a:spcPct val="100000"/>
              </a:lnSpc>
              <a:spcBef>
                <a:spcPts val="0"/>
              </a:spcBef>
              <a:spcAft>
                <a:spcPts val="591"/>
              </a:spcAft>
              <a:buClr>
                <a:srgbClr val="00ABAB"/>
              </a:buClr>
              <a:buSzPct val="100000"/>
              <a:buFont typeface="Arial" panose="020B0604020202020204" pitchFamily="34" charset="0"/>
              <a:buChar char="•"/>
              <a:tabLst/>
              <a:defRPr/>
            </a:pPr>
            <a:r>
              <a:rPr lang="en-US" sz="1000" dirty="0">
                <a:solidFill>
                  <a:prstClr val="black"/>
                </a:solidFill>
                <a:latin typeface="Calibri" panose="020F0502020204030204" pitchFamily="34" charset="0"/>
                <a:cs typeface="Calibri" panose="020F0502020204030204" pitchFamily="34" charset="0"/>
              </a:rPr>
              <a:t>Conduct BCM awareness session for general stc staff.</a:t>
            </a:r>
          </a:p>
          <a:p>
            <a:pPr marL="169914" marR="0" lvl="1" indent="-169914" algn="l" defTabSz="914400" rtl="0" eaLnBrk="1" fontAlgn="base" latinLnBrk="0" hangingPunct="1">
              <a:lnSpc>
                <a:spcPct val="100000"/>
              </a:lnSpc>
              <a:spcBef>
                <a:spcPts val="0"/>
              </a:spcBef>
              <a:spcAft>
                <a:spcPts val="591"/>
              </a:spcAft>
              <a:buClr>
                <a:srgbClr val="00ABAB"/>
              </a:buClr>
              <a:buSzPct val="100000"/>
              <a:buFont typeface="Arial" panose="020B0604020202020204" pitchFamily="34" charset="0"/>
              <a:buChar char="•"/>
              <a:tabLst/>
              <a:defRPr/>
            </a:pPr>
            <a:r>
              <a:rPr lang="en-US" sz="1000" dirty="0">
                <a:solidFill>
                  <a:prstClr val="black"/>
                </a:solidFill>
                <a:latin typeface="Calibri" panose="020F0502020204030204" pitchFamily="34" charset="0"/>
                <a:cs typeface="Calibri" panose="020F0502020204030204" pitchFamily="34" charset="0"/>
              </a:rPr>
              <a:t>Conduct one (01) training session for IMPs and BCPs, one (01) training session for CMP and CCP and one (01) training session for IT DRP.</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4: BCM Exercising (1/4)</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45872" y="4894372"/>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578654" y="4879856"/>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10686" y="5299589"/>
            <a:ext cx="6049823" cy="936736"/>
          </a:xfrm>
          <a:prstGeom prst="rect">
            <a:avLst/>
          </a:prstGeom>
          <a:noFill/>
          <a:ln w="3175" algn="ctr">
            <a:solidFill>
              <a:srgbClr val="21B6B6"/>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endParaRPr>
          </a:p>
        </p:txBody>
      </p:sp>
      <p:sp>
        <p:nvSpPr>
          <p:cNvPr id="103" name="TextBox 102"/>
          <p:cNvSpPr txBox="1"/>
          <p:nvPr/>
        </p:nvSpPr>
        <p:spPr>
          <a:xfrm>
            <a:off x="738820" y="5361984"/>
            <a:ext cx="6025501" cy="860363"/>
          </a:xfrm>
          <a:prstGeom prst="rect">
            <a:avLst/>
          </a:prstGeom>
          <a:noFill/>
        </p:spPr>
        <p:txBody>
          <a:bodyPr wrap="square" lIns="0" tIns="45021" rIns="90051" bIns="45021" rtlCol="0">
            <a:spAutoFit/>
          </a:bodyPr>
          <a:lstStyle>
            <a:defPPr>
              <a:defRPr lang="en-US"/>
            </a:defPPr>
            <a:lvl1pPr marL="171450" indent="-171450" algn="just" fontAlgn="base">
              <a:buClr>
                <a:srgbClr val="00ABAB"/>
              </a:buClr>
              <a:buFont typeface="Arial" panose="020B0604020202020204" pitchFamily="34" charset="0"/>
              <a:buChar char="•"/>
              <a:defRPr sz="1100">
                <a:latin typeface="Calibri" panose="020F0502020204030204" pitchFamily="34" charset="0"/>
                <a:ea typeface="Verdana" panose="020B0604030504040204" pitchFamily="34" charset="0"/>
                <a:cs typeface="Calibri" panose="020F0502020204030204" pitchFamily="34" charset="0"/>
              </a:defRPr>
            </a:lvl1pPr>
          </a:lstStyle>
          <a:p>
            <a:pPr marL="169914" lvl="1" indent="-169914" algn="just" fontAlgn="base">
              <a:buClr>
                <a:srgbClr val="00ABAB"/>
              </a:buClr>
              <a:buFont typeface="Arial" panose="020B0604020202020204" pitchFamily="34" charset="0"/>
              <a:buChar char="•"/>
            </a:pPr>
            <a:r>
              <a:rPr lang="en-US" sz="1000" dirty="0">
                <a:latin typeface="Calibri" panose="020F0502020204030204" pitchFamily="34" charset="0"/>
                <a:ea typeface="Verdana" panose="020B0604030504040204" pitchFamily="34" charset="0"/>
                <a:cs typeface="Calibri" panose="020F0502020204030204" pitchFamily="34" charset="0"/>
              </a:rPr>
              <a:t>BCM Awareness and Training Program</a:t>
            </a:r>
          </a:p>
          <a:p>
            <a:pPr marL="169914" lvl="1" indent="-169914" algn="just" fontAlgn="base">
              <a:buClr>
                <a:srgbClr val="00ABAB"/>
              </a:buClr>
              <a:buFont typeface="Arial" panose="020B0604020202020204" pitchFamily="34" charset="0"/>
              <a:buChar char="•"/>
            </a:pPr>
            <a:r>
              <a:rPr lang="en-US" sz="1000" dirty="0">
                <a:latin typeface="Calibri" panose="020F0502020204030204" pitchFamily="34" charset="0"/>
                <a:ea typeface="Verdana" panose="020B0604030504040204" pitchFamily="34" charset="0"/>
                <a:cs typeface="Calibri" panose="020F0502020204030204" pitchFamily="34" charset="0"/>
              </a:rPr>
              <a:t>One (01) BCM Awareness Presentation and One (01) BCM Training Deck</a:t>
            </a:r>
          </a:p>
          <a:p>
            <a:pPr marL="169914" lvl="1" indent="-169914" algn="just" fontAlgn="base">
              <a:buClr>
                <a:srgbClr val="00ABAB"/>
              </a:buClr>
              <a:buFont typeface="Arial" panose="020B0604020202020204" pitchFamily="34" charset="0"/>
              <a:buChar char="•"/>
            </a:pPr>
            <a:r>
              <a:rPr lang="en-US" sz="1000" dirty="0">
                <a:latin typeface="Calibri" panose="020F0502020204030204" pitchFamily="34" charset="0"/>
                <a:ea typeface="Verdana" panose="020B0604030504040204" pitchFamily="34" charset="0"/>
                <a:cs typeface="Calibri" panose="020F0502020204030204" pitchFamily="34" charset="0"/>
              </a:rPr>
              <a:t>One (01) BCM awareness session for senior and middle management</a:t>
            </a:r>
          </a:p>
          <a:p>
            <a:pPr marL="169914" lvl="1" indent="-169914" algn="just" fontAlgn="base">
              <a:buClr>
                <a:srgbClr val="00ABAB"/>
              </a:buClr>
              <a:buFont typeface="Arial" panose="020B0604020202020204" pitchFamily="34" charset="0"/>
              <a:buChar char="•"/>
            </a:pPr>
            <a:r>
              <a:rPr lang="en-US" sz="1000" dirty="0">
                <a:latin typeface="Calibri" panose="020F0502020204030204" pitchFamily="34" charset="0"/>
                <a:ea typeface="Verdana" panose="020B0604030504040204" pitchFamily="34" charset="0"/>
                <a:cs typeface="Calibri" panose="020F0502020204030204" pitchFamily="34" charset="0"/>
              </a:rPr>
              <a:t>One (01) BCM awareness session for general employees</a:t>
            </a:r>
          </a:p>
          <a:p>
            <a:pPr marL="169914" lvl="1" indent="-169914" algn="just" fontAlgn="base">
              <a:buClr>
                <a:srgbClr val="00ABAB"/>
              </a:buClr>
              <a:buFont typeface="Arial" panose="020B0604020202020204" pitchFamily="34" charset="0"/>
              <a:buChar char="•"/>
            </a:pPr>
            <a:r>
              <a:rPr lang="en-US" sz="1000" dirty="0">
                <a:latin typeface="Calibri" panose="020F0502020204030204" pitchFamily="34" charset="0"/>
                <a:ea typeface="Verdana" panose="020B0604030504040204" pitchFamily="34" charset="0"/>
                <a:cs typeface="Calibri" panose="020F0502020204030204" pitchFamily="34" charset="0"/>
              </a:rPr>
              <a:t>Three (03) training sessions for IMPs and BCPs, CMP / CCP and IT DRP</a:t>
            </a:r>
            <a:endParaRPr lang="en-US" sz="1091" dirty="0">
              <a:latin typeface="Calibri" panose="020F0502020204030204" pitchFamily="34" charset="0"/>
              <a:ea typeface="Verdana" panose="020B0604030504040204" pitchFamily="34" charset="0"/>
              <a:cs typeface="Calibri" panose="020F0502020204030204" pitchFamily="34" charset="0"/>
            </a:endParaRPr>
          </a:p>
        </p:txBody>
      </p:sp>
      <p:grpSp>
        <p:nvGrpSpPr>
          <p:cNvPr id="142" name="Group 8"/>
          <p:cNvGrpSpPr>
            <a:grpSpLocks noChangeAspect="1"/>
          </p:cNvGrpSpPr>
          <p:nvPr/>
        </p:nvGrpSpPr>
        <p:grpSpPr bwMode="auto">
          <a:xfrm>
            <a:off x="6913183" y="1455166"/>
            <a:ext cx="363617" cy="363617"/>
            <a:chOff x="1346" y="303"/>
            <a:chExt cx="340" cy="340"/>
          </a:xfrm>
          <a:solidFill>
            <a:srgbClr val="00ABAB"/>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grpSp>
      <p:sp>
        <p:nvSpPr>
          <p:cNvPr id="179" name="TextBox 178"/>
          <p:cNvSpPr txBox="1"/>
          <p:nvPr/>
        </p:nvSpPr>
        <p:spPr>
          <a:xfrm>
            <a:off x="7314251" y="1494650"/>
            <a:ext cx="3346496"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Methodologies / Sample Deliverables</a:t>
            </a:r>
          </a:p>
        </p:txBody>
      </p:sp>
      <p:pic>
        <p:nvPicPr>
          <p:cNvPr id="27" name="Picture 26">
            <a:extLst>
              <a:ext uri="{FF2B5EF4-FFF2-40B4-BE49-F238E27FC236}">
                <a16:creationId xmlns:a16="http://schemas.microsoft.com/office/drawing/2014/main" id="{CAA55347-17D2-4A41-8C4B-344AA7F69806}"/>
              </a:ext>
            </a:extLst>
          </p:cNvPr>
          <p:cNvPicPr>
            <a:picLocks noChangeAspect="1"/>
          </p:cNvPicPr>
          <p:nvPr/>
        </p:nvPicPr>
        <p:blipFill>
          <a:blip r:embed="rId2"/>
          <a:stretch>
            <a:fillRect/>
          </a:stretch>
        </p:blipFill>
        <p:spPr>
          <a:xfrm>
            <a:off x="6916877" y="4628340"/>
            <a:ext cx="3867418" cy="1519986"/>
          </a:xfrm>
          <a:prstGeom prst="rect">
            <a:avLst/>
          </a:prstGeom>
        </p:spPr>
      </p:pic>
      <p:pic>
        <p:nvPicPr>
          <p:cNvPr id="28" name="Picture 27">
            <a:extLst>
              <a:ext uri="{FF2B5EF4-FFF2-40B4-BE49-F238E27FC236}">
                <a16:creationId xmlns:a16="http://schemas.microsoft.com/office/drawing/2014/main" id="{D4F57C27-7D3C-4145-87AC-810FED5C39DD}"/>
              </a:ext>
            </a:extLst>
          </p:cNvPr>
          <p:cNvPicPr>
            <a:picLocks noChangeAspect="1"/>
          </p:cNvPicPr>
          <p:nvPr/>
        </p:nvPicPr>
        <p:blipFill>
          <a:blip r:embed="rId3"/>
          <a:stretch>
            <a:fillRect/>
          </a:stretch>
        </p:blipFill>
        <p:spPr>
          <a:xfrm>
            <a:off x="6906813" y="1867433"/>
            <a:ext cx="3867418" cy="2165217"/>
          </a:xfrm>
          <a:prstGeom prst="rect">
            <a:avLst/>
          </a:prstGeom>
          <a:ln>
            <a:solidFill>
              <a:schemeClr val="bg2"/>
            </a:solidFill>
          </a:ln>
          <a:effectLst>
            <a:outerShdw blurRad="50800" dist="38100" dir="2700000" algn="tl" rotWithShape="0">
              <a:prstClr val="black">
                <a:alpha val="40000"/>
              </a:prstClr>
            </a:outerShdw>
          </a:effectLst>
        </p:spPr>
      </p:pic>
      <p:sp>
        <p:nvSpPr>
          <p:cNvPr id="29" name="TextBox 28"/>
          <p:cNvSpPr txBox="1"/>
          <p:nvPr/>
        </p:nvSpPr>
        <p:spPr>
          <a:xfrm rot="19418696">
            <a:off x="7025687" y="4160506"/>
            <a:ext cx="3369535" cy="259170"/>
          </a:xfrm>
          <a:prstGeom prst="rect">
            <a:avLst/>
          </a:prstGeom>
          <a:solidFill>
            <a:schemeClr val="bg1">
              <a:alpha val="35000"/>
            </a:schemeClr>
          </a:solidFill>
          <a:ln>
            <a:solidFill>
              <a:schemeClr val="accent6"/>
            </a:solidFill>
          </a:ln>
        </p:spPr>
        <p:txBody>
          <a:bodyPr wrap="square" rtlCol="0">
            <a:spAutoFit/>
          </a:bodyPr>
          <a:lstStyle/>
          <a:p>
            <a:pPr algn="ctr"/>
            <a:r>
              <a:rPr lang="en-US" sz="1091" b="1" dirty="0">
                <a:solidFill>
                  <a:srgbClr val="FF0000"/>
                </a:solidFill>
              </a:rPr>
              <a:t>For Illustration Purposes Only</a:t>
            </a:r>
          </a:p>
        </p:txBody>
      </p:sp>
      <p:sp>
        <p:nvSpPr>
          <p:cNvPr id="25" name="Triangle 28">
            <a:extLst>
              <a:ext uri="{FF2B5EF4-FFF2-40B4-BE49-F238E27FC236}">
                <a16:creationId xmlns:a16="http://schemas.microsoft.com/office/drawing/2014/main" id="{518AD98A-71CB-4ACE-96BB-A20E022E42E1}"/>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E0B8F44E-47BC-D174-E526-C9FD14F64EF8}"/>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871089695"/>
      </p:ext>
    </p:extLst>
  </p:cSld>
  <p:clrMapOvr>
    <a:masterClrMapping/>
  </p:clrMapOvr>
  <p:transition spd="med">
    <p:pull/>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844082"/>
            <a:ext cx="6049823" cy="2970844"/>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50" b="1" i="0" u="none" strike="noStrike" kern="1200" cap="none" spc="0" normalizeH="0" baseline="0" noProof="0" dirty="0">
                <a:ln>
                  <a:noFill/>
                </a:ln>
                <a:solidFill>
                  <a:srgbClr val="0097A9"/>
                </a:solidFill>
                <a:effectLst/>
                <a:uLnTx/>
                <a:uFillTx/>
                <a:latin typeface="Calibri" panose="020F0502020204030204" pitchFamily="34" charset="0"/>
                <a:ea typeface="Verdana" panose="020B0604030504040204" pitchFamily="34" charset="0"/>
                <a:cs typeface="Calibri" panose="020F0502020204030204" pitchFamily="34" charset="0"/>
              </a:rPr>
              <a:t>BCM Exercising</a:t>
            </a:r>
          </a:p>
          <a:p>
            <a:pPr marL="169914" marR="0" lvl="0" indent="-169914" algn="just" defTabSz="914400" rtl="0" eaLnBrk="1" fontAlgn="base" latinLnBrk="0" hangingPunct="1">
              <a:lnSpc>
                <a:spcPct val="100000"/>
              </a:lnSpc>
              <a:spcBef>
                <a:spcPts val="300"/>
              </a:spcBef>
              <a:spcAft>
                <a:spcPts val="3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velop a BCM Exercising Program for stc that defines a progressive model for increasing the maturity of exercising conducted on a periodic basis. The program will include a definition of the exercise types, recommended execution frequency, objectives, plan(s) to be exercised, location(s) to be covered, as well a definition of the relevant roles and responsibilities required for designing and executing test(s) / exercise(s).</a:t>
            </a:r>
          </a:p>
          <a:p>
            <a:pPr marL="169914" marR="0" lvl="0" indent="-169914" algn="just" defTabSz="914400" rtl="0" eaLnBrk="1" fontAlgn="base" latinLnBrk="0" hangingPunct="1">
              <a:lnSpc>
                <a:spcPct val="100000"/>
              </a:lnSpc>
              <a:spcBef>
                <a:spcPts val="300"/>
              </a:spcBef>
              <a:spcAft>
                <a:spcPts val="3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n line with the progressive maturity model defined in the Exercising Schedule, we will design different test scenarios covering key threats and risks identified during the risk assessment phase.</a:t>
            </a:r>
          </a:p>
          <a:p>
            <a:pPr marL="169914" marR="0" lvl="0" indent="-169914" algn="just" defTabSz="914400" rtl="0" eaLnBrk="1" fontAlgn="base" latinLnBrk="0" hangingPunct="1">
              <a:lnSpc>
                <a:spcPct val="100000"/>
              </a:lnSpc>
              <a:spcBef>
                <a:spcPts val="300"/>
              </a:spcBef>
              <a:spcAft>
                <a:spcPts val="3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We will conduct a maximum of seven (07) tabletop exercises for selected IMPs, BCPs, IT DRP, TRPs, CMP and CCP developed in phase 3. </a:t>
            </a:r>
          </a:p>
          <a:p>
            <a:pPr marL="169914" marR="0" lvl="0" indent="-169914" algn="just" defTabSz="914400" rtl="0" eaLnBrk="1" fontAlgn="base" latinLnBrk="0" hangingPunct="1">
              <a:lnSpc>
                <a:spcPct val="100000"/>
              </a:lnSpc>
              <a:spcBef>
                <a:spcPts val="300"/>
              </a:spcBef>
              <a:spcAft>
                <a:spcPts val="300"/>
              </a:spcAft>
              <a:buClr>
                <a:srgbClr val="00ABAB"/>
              </a:buClr>
              <a:buSzTx/>
              <a:buFont typeface="Arial" panose="020B0604020202020204" pitchFamily="34" charset="0"/>
              <a:buChar char="•"/>
              <a:tabLst/>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We will conduct a maximum of three (03) crisis simulations covering CMP and CCP.</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69914" marR="0" lvl="0" indent="-169914" algn="just" defTabSz="914400" rtl="0" eaLnBrk="1" fontAlgn="base" latinLnBrk="0" hangingPunct="1">
              <a:lnSpc>
                <a:spcPct val="100000"/>
              </a:lnSpc>
              <a:spcBef>
                <a:spcPts val="300"/>
              </a:spcBef>
              <a:spcAft>
                <a:spcPts val="3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Provide post-exercise report for documenting observations during the exercises and highlighting strength and opportunities to improve.</a:t>
            </a:r>
          </a:p>
          <a:p>
            <a:pPr marL="169914" marR="0" lvl="0" indent="-169914" algn="just" defTabSz="914400" rtl="0" eaLnBrk="1" fontAlgn="base" latinLnBrk="0" hangingPunct="1">
              <a:lnSpc>
                <a:spcPct val="100000"/>
              </a:lnSpc>
              <a:spcBef>
                <a:spcPts val="300"/>
              </a:spcBef>
              <a:spcAft>
                <a:spcPts val="30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loitte will conduct an IT DR drill for selected systems where Deloitte will propose a scenario and act as independent observer during the exercise. Deloitte will not be responsible for success or failure of the failover exercise, and will not be responsible for conducting the exercise itself.</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4: BCM Exercising (2/4)</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45872" y="4912660"/>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578654" y="4898144"/>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10686" y="5332600"/>
            <a:ext cx="6049823" cy="1119980"/>
          </a:xfrm>
          <a:prstGeom prst="rect">
            <a:avLst/>
          </a:prstGeom>
          <a:noFill/>
          <a:ln w="3175" algn="ctr">
            <a:solidFill>
              <a:srgbClr val="21B6B6"/>
            </a:solidFill>
            <a:miter lim="800000"/>
            <a:headEnd/>
            <a:tailEnd/>
          </a:ln>
        </p:spPr>
        <p:txBody>
          <a:bodyPr wrap="square" lIns="88071" tIns="88071" rIns="88071" bIns="88071" rtlCol="0" anchor="ctr"/>
          <a:lstStyle/>
          <a:p>
            <a:pPr marL="169914" marR="0" lvl="0" indent="-169914" algn="just" defTabSz="914400" rtl="0" eaLnBrk="1" fontAlgn="base"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BCM Exercising Program</a:t>
            </a:r>
          </a:p>
          <a:p>
            <a:pPr marL="169914" marR="0" lvl="0" indent="-169914" algn="just" defTabSz="914400" rtl="0" eaLnBrk="1" fontAlgn="base"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en (10) test scenarios </a:t>
            </a:r>
          </a:p>
          <a:p>
            <a:pPr marL="169914" marR="0" lvl="0" indent="-169914" algn="just" defTabSz="914400" rtl="0" eaLnBrk="1" fontAlgn="base"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Four (04) tabletop exercises covering selected IMPs and BCPs</a:t>
            </a:r>
          </a:p>
          <a:p>
            <a:pPr marL="169914" marR="0" lvl="0" indent="-169914" algn="just" defTabSz="914400" rtl="0" eaLnBrk="1" fontAlgn="base"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One (01) tabletop exercise covering CMP and CCP</a:t>
            </a:r>
          </a:p>
          <a:p>
            <a:pPr marL="169914" marR="0" lvl="0" indent="-169914" algn="just" defTabSz="914400" rtl="0" eaLnBrk="1" fontAlgn="base"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One (02) tabletop exercise covering ITDRP and selected TRPs</a:t>
            </a:r>
          </a:p>
          <a:p>
            <a:pPr marL="169914" marR="0" lvl="0" indent="-169914" algn="just" defTabSz="914400" rtl="0" eaLnBrk="1" fontAlgn="base"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T DR Failover Drill scenario and independent observation</a:t>
            </a:r>
          </a:p>
          <a:p>
            <a:pPr marL="169914" marR="0" lvl="0" indent="-169914" algn="just" defTabSz="914400" rtl="0" eaLnBrk="1" fontAlgn="base"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Post Exercise Reports for exercises</a:t>
            </a:r>
          </a:p>
        </p:txBody>
      </p:sp>
      <p:grpSp>
        <p:nvGrpSpPr>
          <p:cNvPr id="142" name="Group 8"/>
          <p:cNvGrpSpPr>
            <a:grpSpLocks noChangeAspect="1"/>
          </p:cNvGrpSpPr>
          <p:nvPr/>
        </p:nvGrpSpPr>
        <p:grpSpPr bwMode="auto">
          <a:xfrm>
            <a:off x="6913183" y="1455166"/>
            <a:ext cx="363617" cy="363617"/>
            <a:chOff x="1346" y="303"/>
            <a:chExt cx="340" cy="340"/>
          </a:xfrm>
          <a:solidFill>
            <a:srgbClr val="00ABAB"/>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grpSp>
      <p:sp>
        <p:nvSpPr>
          <p:cNvPr id="179" name="TextBox 178"/>
          <p:cNvSpPr txBox="1"/>
          <p:nvPr/>
        </p:nvSpPr>
        <p:spPr>
          <a:xfrm>
            <a:off x="7314251" y="1494650"/>
            <a:ext cx="3346496"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Methodologies / Sample Deliverables</a:t>
            </a:r>
          </a:p>
        </p:txBody>
      </p:sp>
      <p:pic>
        <p:nvPicPr>
          <p:cNvPr id="25" name="Picture 24"/>
          <p:cNvPicPr>
            <a:picLocks noChangeAspect="1"/>
          </p:cNvPicPr>
          <p:nvPr/>
        </p:nvPicPr>
        <p:blipFill>
          <a:blip r:embed="rId2"/>
          <a:stretch>
            <a:fillRect/>
          </a:stretch>
        </p:blipFill>
        <p:spPr>
          <a:xfrm>
            <a:off x="7050415" y="2845584"/>
            <a:ext cx="3909907" cy="1903295"/>
          </a:xfrm>
          <a:prstGeom prst="rect">
            <a:avLst/>
          </a:prstGeom>
        </p:spPr>
      </p:pic>
      <p:pic>
        <p:nvPicPr>
          <p:cNvPr id="26" name="Picture 25"/>
          <p:cNvPicPr>
            <a:picLocks noChangeAspect="1"/>
          </p:cNvPicPr>
          <p:nvPr/>
        </p:nvPicPr>
        <p:blipFill>
          <a:blip r:embed="rId3"/>
          <a:stretch>
            <a:fillRect/>
          </a:stretch>
        </p:blipFill>
        <p:spPr>
          <a:xfrm>
            <a:off x="7024373" y="1965117"/>
            <a:ext cx="4058987" cy="754458"/>
          </a:xfrm>
          <a:prstGeom prst="rect">
            <a:avLst/>
          </a:prstGeom>
        </p:spPr>
      </p:pic>
      <p:sp>
        <p:nvSpPr>
          <p:cNvPr id="29" name="TextBox 28"/>
          <p:cNvSpPr txBox="1"/>
          <p:nvPr/>
        </p:nvSpPr>
        <p:spPr>
          <a:xfrm rot="19418696">
            <a:off x="7219581" y="2950516"/>
            <a:ext cx="3369535" cy="259170"/>
          </a:xfrm>
          <a:prstGeom prst="rect">
            <a:avLst/>
          </a:prstGeom>
          <a:solidFill>
            <a:schemeClr val="bg1">
              <a:alpha val="35000"/>
            </a:schemeClr>
          </a:solidFill>
          <a:ln>
            <a:solidFill>
              <a:schemeClr val="accent6"/>
            </a:solidFill>
          </a:ln>
        </p:spPr>
        <p:txBody>
          <a:bodyPr wrap="square" rtlCol="0">
            <a:spAutoFit/>
          </a:bodyPr>
          <a:lstStyle/>
          <a:p>
            <a:pPr algn="ctr"/>
            <a:r>
              <a:rPr lang="en-US" sz="1091" b="1" dirty="0">
                <a:solidFill>
                  <a:srgbClr val="FF0000"/>
                </a:solidFill>
              </a:rPr>
              <a:t>For Illustration Purposes Only</a:t>
            </a:r>
          </a:p>
        </p:txBody>
      </p:sp>
      <p:sp>
        <p:nvSpPr>
          <p:cNvPr id="28" name="Triangle 28">
            <a:extLst>
              <a:ext uri="{FF2B5EF4-FFF2-40B4-BE49-F238E27FC236}">
                <a16:creationId xmlns:a16="http://schemas.microsoft.com/office/drawing/2014/main" id="{1A646E87-951E-4B68-A2F9-4ED4B18E2D5C}"/>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AA92E332-9496-95D4-A7F5-3779543B2AFB}"/>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862692228"/>
      </p:ext>
    </p:extLst>
  </p:cSld>
  <p:clrMapOvr>
    <a:masterClrMapping/>
  </p:clrMapOvr>
  <p:transition spd="med">
    <p:pull/>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610686" y="1844082"/>
            <a:ext cx="6049823" cy="3662545"/>
          </a:xfrm>
          <a:prstGeom prst="rect">
            <a:avLst/>
          </a:prstGeom>
          <a:noFill/>
          <a:ln w="3175" algn="ctr">
            <a:solidFill>
              <a:srgbClr val="21B6B6"/>
            </a:solidFill>
            <a:miter lim="800000"/>
            <a:headEnd/>
            <a:tailEnd/>
          </a:ln>
        </p:spPr>
        <p:txBody>
          <a:bodyPr wrap="square" lIns="88071" tIns="88071" rIns="88071" bIns="88071" rtlCol="0" anchor="ctr"/>
          <a:lstStyle/>
          <a:p>
            <a:pPr marL="0" marR="0" lvl="0" indent="0" algn="just" defTabSz="914400" rtl="0" eaLnBrk="1" fontAlgn="auto" latinLnBrk="0" hangingPunct="1">
              <a:lnSpc>
                <a:spcPct val="100000"/>
              </a:lnSpc>
              <a:spcBef>
                <a:spcPts val="0"/>
              </a:spcBef>
              <a:spcAft>
                <a:spcPts val="591"/>
              </a:spcAft>
              <a:buClr>
                <a:srgbClr val="86BC25"/>
              </a:buClr>
              <a:buSzTx/>
              <a:buFontTx/>
              <a:buNone/>
              <a:tabLst/>
              <a:defRPr/>
            </a:pPr>
            <a:r>
              <a:rPr kumimoji="0" lang="en-US" sz="1050" b="1" i="0" u="none" strike="noStrike" kern="1200" cap="none" spc="0" normalizeH="0" baseline="0" noProof="0" dirty="0">
                <a:ln>
                  <a:noFill/>
                </a:ln>
                <a:solidFill>
                  <a:srgbClr val="0097A9"/>
                </a:solidFill>
                <a:effectLst/>
                <a:uLnTx/>
                <a:uFillTx/>
                <a:latin typeface="Calibri" panose="020F0502020204030204" pitchFamily="34" charset="0"/>
                <a:ea typeface="Verdana" panose="020B0604030504040204" pitchFamily="34" charset="0"/>
                <a:cs typeface="Calibri" panose="020F0502020204030204" pitchFamily="34" charset="0"/>
              </a:rPr>
              <a:t>Crisis Simulations</a:t>
            </a:r>
          </a:p>
          <a:p>
            <a:pPr marR="0" lvl="0" algn="just" defTabSz="914400" rtl="0" eaLnBrk="1" fontAlgn="base" latinLnBrk="0" hangingPunct="1">
              <a:lnSpc>
                <a:spcPct val="100000"/>
              </a:lnSpc>
              <a:spcBef>
                <a:spcPts val="300"/>
              </a:spcBef>
              <a:spcAft>
                <a:spcPts val="300"/>
              </a:spcAft>
              <a:buClr>
                <a:srgbClr val="00ABAB"/>
              </a:buClr>
              <a:buSzTx/>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loitte will conduct three (03) crisis simulations covering three different scenarios. </a:t>
            </a: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Each simulation would be a 2-3 hours exercise simulation a real-life scenario, triggering incidents through different channels and monitoring the actions, reactions and activities performed by different teams following their plans.</a:t>
            </a:r>
          </a:p>
          <a:p>
            <a:pPr marR="0" lvl="0" algn="just" defTabSz="914400" rtl="0" eaLnBrk="1" fontAlgn="base" latinLnBrk="0" hangingPunct="1">
              <a:lnSpc>
                <a:spcPct val="100000"/>
              </a:lnSpc>
              <a:spcBef>
                <a:spcPts val="300"/>
              </a:spcBef>
              <a:spcAft>
                <a:spcPts val="300"/>
              </a:spcAft>
              <a:buClr>
                <a:srgbClr val="00ABAB"/>
              </a:buClr>
              <a:buSzTx/>
              <a:tabLst/>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Key activities for each simulation will include:</a:t>
            </a:r>
          </a:p>
          <a:p>
            <a:pPr marL="169914" indent="-169914" algn="just" fontAlgn="base">
              <a:spcAft>
                <a:spcPts val="300"/>
              </a:spcAft>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Develop the Master Events List i.e., exercise structure and script defining both how the exercise will run, and how the scenario itself will develop.</a:t>
            </a:r>
          </a:p>
          <a:p>
            <a:pPr marL="169914" indent="-169914" algn="just" fontAlgn="base">
              <a:spcAft>
                <a:spcPts val="300"/>
              </a:spcAft>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Develop injects which will drive the scenario throughout the exercise. Each inject drives the scenario forward with a specific purpose, and an expected action, discussion or decision for participating teams.</a:t>
            </a:r>
          </a:p>
          <a:p>
            <a:pPr marL="169914" indent="-169914" algn="just" fontAlgn="base">
              <a:spcAft>
                <a:spcPts val="300"/>
              </a:spcAft>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A Simulation Playbook will be developed identifying the instructions, guidelines, roles and responsibilities for different stakeholders participating in the simulation. </a:t>
            </a:r>
          </a:p>
          <a:p>
            <a:pPr marL="169914" indent="-169914" algn="just" fontAlgn="base">
              <a:spcAft>
                <a:spcPts val="300"/>
              </a:spcAft>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Conduct dry-run for the simulation using all exercise materials prepared, ensuring the exercise flows smoothly, all injects work with the flow of information. Any gaps identified would be resolved and materials would be updated.</a:t>
            </a:r>
          </a:p>
          <a:p>
            <a:pPr marL="169914" indent="-169914" algn="just" fontAlgn="base">
              <a:spcAft>
                <a:spcPts val="300"/>
              </a:spcAft>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Conduct full rehearsal at the designated location using all tools and equipment to ensure any issues are identified and rectified.</a:t>
            </a:r>
          </a:p>
          <a:p>
            <a:pPr marL="169914" indent="-169914" algn="just" fontAlgn="base">
              <a:spcAft>
                <a:spcPts val="300"/>
              </a:spcAft>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Deloitte’s exercise delivery team will oversee the delivery of injects, working with the responding teams throughout to ensure objectives are met.</a:t>
            </a:r>
          </a:p>
          <a:p>
            <a:pPr marL="169914" indent="-169914" algn="just" fontAlgn="base">
              <a:spcAft>
                <a:spcPts val="300"/>
              </a:spcAft>
              <a:buClr>
                <a:srgbClr val="00ABAB"/>
              </a:buClr>
              <a:buFont typeface="Arial" panose="020B0604020202020204" pitchFamily="34" charset="0"/>
              <a:buChar char="•"/>
              <a:defRPr/>
            </a:pPr>
            <a:r>
              <a:rPr lang="en-US" sz="1000" dirty="0">
                <a:solidFill>
                  <a:prstClr val="black"/>
                </a:solidFill>
                <a:latin typeface="Calibri" panose="020F0502020204030204" pitchFamily="34" charset="0"/>
                <a:ea typeface="Verdana" panose="020B0604030504040204" pitchFamily="34" charset="0"/>
                <a:cs typeface="Calibri" panose="020F0502020204030204" pitchFamily="34" charset="0"/>
              </a:rPr>
              <a:t>Conduct de-brief session with all participants providing them instant feedback, key observations and issues noted during the simulation, and brief them on the next actions.</a:t>
            </a:r>
          </a:p>
        </p:txBody>
      </p:sp>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4: BCM Exercising (3/4)</a:t>
            </a:r>
          </a:p>
        </p:txBody>
      </p:sp>
      <p:sp>
        <p:nvSpPr>
          <p:cNvPr id="94" name="TextBox 93"/>
          <p:cNvSpPr txBox="1"/>
          <p:nvPr/>
        </p:nvSpPr>
        <p:spPr>
          <a:xfrm>
            <a:off x="957160" y="1492749"/>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Key Activities</a:t>
            </a:r>
          </a:p>
        </p:txBody>
      </p:sp>
      <p:grpSp>
        <p:nvGrpSpPr>
          <p:cNvPr id="95" name="Group 39"/>
          <p:cNvGrpSpPr>
            <a:grpSpLocks noChangeAspect="1"/>
          </p:cNvGrpSpPr>
          <p:nvPr/>
        </p:nvGrpSpPr>
        <p:grpSpPr bwMode="auto">
          <a:xfrm>
            <a:off x="581670" y="1453456"/>
            <a:ext cx="364202" cy="364202"/>
            <a:chOff x="3987" y="1509"/>
            <a:chExt cx="340" cy="340"/>
          </a:xfrm>
          <a:solidFill>
            <a:srgbClr val="00ABAB"/>
          </a:solidFill>
        </p:grpSpPr>
        <p:sp>
          <p:nvSpPr>
            <p:cNvPr id="9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9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98" name="TextBox 97"/>
          <p:cNvSpPr txBox="1"/>
          <p:nvPr/>
        </p:nvSpPr>
        <p:spPr>
          <a:xfrm>
            <a:off x="945872" y="5598460"/>
            <a:ext cx="2572062"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Deliverables</a:t>
            </a:r>
          </a:p>
        </p:txBody>
      </p:sp>
      <p:grpSp>
        <p:nvGrpSpPr>
          <p:cNvPr id="3" name="Group 2"/>
          <p:cNvGrpSpPr/>
          <p:nvPr/>
        </p:nvGrpSpPr>
        <p:grpSpPr>
          <a:xfrm>
            <a:off x="578654" y="5583944"/>
            <a:ext cx="395072" cy="364202"/>
            <a:chOff x="4913652" y="4808348"/>
            <a:chExt cx="398792" cy="367631"/>
          </a:xfrm>
          <a:solidFill>
            <a:srgbClr val="00ABAB"/>
          </a:solidFill>
        </p:grpSpPr>
        <p:sp>
          <p:nvSpPr>
            <p:cNvPr id="99" name="Freeform 350"/>
            <p:cNvSpPr>
              <a:spLocks noEditPoints="1"/>
            </p:cNvSpPr>
            <p:nvPr/>
          </p:nvSpPr>
          <p:spPr bwMode="auto">
            <a:xfrm>
              <a:off x="4993127" y="4877549"/>
              <a:ext cx="241262" cy="229229"/>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sp>
          <p:nvSpPr>
            <p:cNvPr id="100" name="Freeform 351"/>
            <p:cNvSpPr>
              <a:spLocks noEditPoints="1"/>
            </p:cNvSpPr>
            <p:nvPr/>
          </p:nvSpPr>
          <p:spPr bwMode="auto">
            <a:xfrm>
              <a:off x="4913652" y="4808348"/>
              <a:ext cx="398792"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p>
          </p:txBody>
        </p:sp>
      </p:grpSp>
      <p:sp>
        <p:nvSpPr>
          <p:cNvPr id="102" name="Rectangle 101"/>
          <p:cNvSpPr/>
          <p:nvPr/>
        </p:nvSpPr>
        <p:spPr bwMode="gray">
          <a:xfrm>
            <a:off x="610686" y="5980131"/>
            <a:ext cx="6049823" cy="574727"/>
          </a:xfrm>
          <a:prstGeom prst="rect">
            <a:avLst/>
          </a:prstGeom>
          <a:noFill/>
          <a:ln w="3175" algn="ctr">
            <a:solidFill>
              <a:srgbClr val="21B6B6"/>
            </a:solidFill>
            <a:miter lim="800000"/>
            <a:headEnd/>
            <a:tailEnd/>
          </a:ln>
        </p:spPr>
        <p:txBody>
          <a:bodyPr wrap="square" lIns="88071" tIns="88071" rIns="88071" bIns="88071" rtlCol="0" anchor="ctr"/>
          <a:lstStyle/>
          <a:p>
            <a:pPr marL="169914" marR="0" lvl="0" indent="-169914" algn="just" defTabSz="914400" rtl="0" eaLnBrk="1" fontAlgn="base"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hree (03) Crisis Simulations</a:t>
            </a:r>
          </a:p>
          <a:p>
            <a:pPr marL="169914" marR="0" lvl="0" indent="-169914" algn="just" defTabSz="914400" rtl="0" eaLnBrk="1" fontAlgn="base"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Post Exercise Reports for exercises</a:t>
            </a:r>
          </a:p>
        </p:txBody>
      </p:sp>
      <p:grpSp>
        <p:nvGrpSpPr>
          <p:cNvPr id="142" name="Group 8"/>
          <p:cNvGrpSpPr>
            <a:grpSpLocks noChangeAspect="1"/>
          </p:cNvGrpSpPr>
          <p:nvPr/>
        </p:nvGrpSpPr>
        <p:grpSpPr bwMode="auto">
          <a:xfrm>
            <a:off x="6913183" y="1455166"/>
            <a:ext cx="363617" cy="363617"/>
            <a:chOff x="1346" y="303"/>
            <a:chExt cx="340" cy="340"/>
          </a:xfrm>
          <a:solidFill>
            <a:srgbClr val="00ABAB"/>
          </a:solidFill>
        </p:grpSpPr>
        <p:sp>
          <p:nvSpPr>
            <p:cNvPr id="14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sp>
          <p:nvSpPr>
            <p:cNvPr id="14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5DCACA"/>
                </a:solidFill>
                <a:latin typeface="Calibri" panose="020F0502020204030204" pitchFamily="34" charset="0"/>
                <a:cs typeface="Calibri" panose="020F0502020204030204" pitchFamily="34" charset="0"/>
              </a:endParaRPr>
            </a:p>
          </p:txBody>
        </p:sp>
      </p:grpSp>
      <p:sp>
        <p:nvSpPr>
          <p:cNvPr id="179" name="TextBox 178"/>
          <p:cNvSpPr txBox="1"/>
          <p:nvPr/>
        </p:nvSpPr>
        <p:spPr>
          <a:xfrm>
            <a:off x="7314251" y="1494650"/>
            <a:ext cx="3346496" cy="304354"/>
          </a:xfrm>
          <a:prstGeom prst="rect">
            <a:avLst/>
          </a:prstGeom>
          <a:noFill/>
        </p:spPr>
        <p:txBody>
          <a:bodyPr wrap="square" lIns="90051" tIns="45021" rIns="90051" bIns="45021" rtlCol="0">
            <a:spAutoFit/>
          </a:bodyPr>
          <a:lstStyle/>
          <a:p>
            <a:pPr algn="just" fontAlgn="base">
              <a:spcBef>
                <a:spcPts val="300"/>
              </a:spcBef>
              <a:spcAft>
                <a:spcPts val="591"/>
              </a:spcAft>
            </a:pPr>
            <a:r>
              <a:rPr lang="en-US" sz="1391" b="1" dirty="0">
                <a:solidFill>
                  <a:srgbClr val="2EBABA"/>
                </a:solidFill>
                <a:latin typeface="Calibri" panose="020F0502020204030204" pitchFamily="34" charset="0"/>
                <a:ea typeface="Verdana" panose="020B0604030504040204" pitchFamily="34" charset="0"/>
                <a:cs typeface="Calibri" panose="020F0502020204030204" pitchFamily="34" charset="0"/>
              </a:rPr>
              <a:t>Methodologies / Sample Deliverables</a:t>
            </a:r>
          </a:p>
        </p:txBody>
      </p:sp>
      <p:sp>
        <p:nvSpPr>
          <p:cNvPr id="28" name="Triangle 28">
            <a:extLst>
              <a:ext uri="{FF2B5EF4-FFF2-40B4-BE49-F238E27FC236}">
                <a16:creationId xmlns:a16="http://schemas.microsoft.com/office/drawing/2014/main" id="{1A646E87-951E-4B68-A2F9-4ED4B18E2D5C}"/>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AA92E332-9496-95D4-A7F5-3779543B2AFB}"/>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pic>
        <p:nvPicPr>
          <p:cNvPr id="5" name="Picture 4">
            <a:extLst>
              <a:ext uri="{FF2B5EF4-FFF2-40B4-BE49-F238E27FC236}">
                <a16:creationId xmlns:a16="http://schemas.microsoft.com/office/drawing/2014/main" id="{66A58566-E51D-C37A-8422-F80BEF604F1E}"/>
              </a:ext>
            </a:extLst>
          </p:cNvPr>
          <p:cNvPicPr>
            <a:picLocks noChangeAspect="1"/>
          </p:cNvPicPr>
          <p:nvPr/>
        </p:nvPicPr>
        <p:blipFill>
          <a:blip r:embed="rId2"/>
          <a:stretch>
            <a:fillRect/>
          </a:stretch>
        </p:blipFill>
        <p:spPr>
          <a:xfrm>
            <a:off x="7107276" y="2390084"/>
            <a:ext cx="1517581" cy="767827"/>
          </a:xfrm>
          <a:prstGeom prst="rect">
            <a:avLst/>
          </a:prstGeom>
          <a:ln>
            <a:solidFill>
              <a:schemeClr val="accent1"/>
            </a:solidFill>
          </a:ln>
        </p:spPr>
      </p:pic>
      <p:pic>
        <p:nvPicPr>
          <p:cNvPr id="6" name="Picture 5">
            <a:extLst>
              <a:ext uri="{FF2B5EF4-FFF2-40B4-BE49-F238E27FC236}">
                <a16:creationId xmlns:a16="http://schemas.microsoft.com/office/drawing/2014/main" id="{CF7AB2A0-A1D1-F26F-B6C6-F1C80C24236B}"/>
              </a:ext>
            </a:extLst>
          </p:cNvPr>
          <p:cNvPicPr>
            <a:picLocks noChangeAspect="1"/>
          </p:cNvPicPr>
          <p:nvPr/>
        </p:nvPicPr>
        <p:blipFill>
          <a:blip r:embed="rId3"/>
          <a:stretch>
            <a:fillRect/>
          </a:stretch>
        </p:blipFill>
        <p:spPr>
          <a:xfrm>
            <a:off x="9071624" y="2010834"/>
            <a:ext cx="1660483" cy="801804"/>
          </a:xfrm>
          <a:prstGeom prst="rect">
            <a:avLst/>
          </a:prstGeom>
          <a:ln>
            <a:solidFill>
              <a:schemeClr val="accent1"/>
            </a:solidFill>
          </a:ln>
        </p:spPr>
      </p:pic>
      <p:grpSp>
        <p:nvGrpSpPr>
          <p:cNvPr id="7" name="Group 6">
            <a:extLst>
              <a:ext uri="{FF2B5EF4-FFF2-40B4-BE49-F238E27FC236}">
                <a16:creationId xmlns:a16="http://schemas.microsoft.com/office/drawing/2014/main" id="{F38F7358-4215-D0FA-1103-77CFF6B11C45}"/>
              </a:ext>
            </a:extLst>
          </p:cNvPr>
          <p:cNvGrpSpPr/>
          <p:nvPr/>
        </p:nvGrpSpPr>
        <p:grpSpPr>
          <a:xfrm>
            <a:off x="7107276" y="4183173"/>
            <a:ext cx="2546635" cy="1325420"/>
            <a:chOff x="6553290" y="4889473"/>
            <a:chExt cx="3728529" cy="1940547"/>
          </a:xfrm>
        </p:grpSpPr>
        <p:sp>
          <p:nvSpPr>
            <p:cNvPr id="8" name="Rectangle 7">
              <a:extLst>
                <a:ext uri="{FF2B5EF4-FFF2-40B4-BE49-F238E27FC236}">
                  <a16:creationId xmlns:a16="http://schemas.microsoft.com/office/drawing/2014/main" id="{6CC884FD-AB13-D951-0791-1DACDB92EBC7}"/>
                </a:ext>
              </a:extLst>
            </p:cNvPr>
            <p:cNvSpPr/>
            <p:nvPr/>
          </p:nvSpPr>
          <p:spPr bwMode="gray">
            <a:xfrm>
              <a:off x="6553290" y="4889473"/>
              <a:ext cx="3716875" cy="1940547"/>
            </a:xfrm>
            <a:prstGeom prst="rect">
              <a:avLst/>
            </a:prstGeom>
            <a:noFill/>
            <a:ln w="9525"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050" b="1">
                <a:solidFill>
                  <a:schemeClr val="bg1"/>
                </a:solidFill>
                <a:latin typeface="Calibri Light" panose="020F0302020204030204" pitchFamily="34" charset="0"/>
              </a:endParaRPr>
            </a:p>
          </p:txBody>
        </p:sp>
        <p:pic>
          <p:nvPicPr>
            <p:cNvPr id="9" name="Picture 8">
              <a:extLst>
                <a:ext uri="{FF2B5EF4-FFF2-40B4-BE49-F238E27FC236}">
                  <a16:creationId xmlns:a16="http://schemas.microsoft.com/office/drawing/2014/main" id="{B367047E-116E-F1FB-1E89-6A157180D2E8}"/>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20266" y="5157638"/>
              <a:ext cx="3661553" cy="1642667"/>
            </a:xfrm>
            <a:prstGeom prst="rect">
              <a:avLst/>
            </a:prstGeom>
            <a:noFill/>
          </p:spPr>
        </p:pic>
        <p:sp>
          <p:nvSpPr>
            <p:cNvPr id="10" name="Rectangle 9">
              <a:extLst>
                <a:ext uri="{FF2B5EF4-FFF2-40B4-BE49-F238E27FC236}">
                  <a16:creationId xmlns:a16="http://schemas.microsoft.com/office/drawing/2014/main" id="{90A1A7AF-1653-B038-B618-EA5D0989780B}"/>
                </a:ext>
              </a:extLst>
            </p:cNvPr>
            <p:cNvSpPr/>
            <p:nvPr/>
          </p:nvSpPr>
          <p:spPr>
            <a:xfrm>
              <a:off x="6553291" y="4945173"/>
              <a:ext cx="3608104" cy="292900"/>
            </a:xfrm>
            <a:prstGeom prst="rect">
              <a:avLst/>
            </a:prstGeom>
          </p:spPr>
          <p:txBody>
            <a:bodyPr wrap="square">
              <a:spAutoFit/>
            </a:bodyPr>
            <a:lstStyle/>
            <a:p>
              <a:pPr marL="377979" indent="-377979" algn="ctr">
                <a:spcAft>
                  <a:spcPts val="661"/>
                </a:spcAft>
                <a:defRPr/>
              </a:pPr>
              <a:r>
                <a:rPr lang="en-GB" sz="700" b="1">
                  <a:latin typeface="Calibri Light" panose="020F0302020204030204" pitchFamily="34" charset="0"/>
                </a:rPr>
                <a:t>Example data capture and evaluation process</a:t>
              </a:r>
            </a:p>
          </p:txBody>
        </p:sp>
      </p:grpSp>
      <p:pic>
        <p:nvPicPr>
          <p:cNvPr id="11" name="Picture 10">
            <a:extLst>
              <a:ext uri="{FF2B5EF4-FFF2-40B4-BE49-F238E27FC236}">
                <a16:creationId xmlns:a16="http://schemas.microsoft.com/office/drawing/2014/main" id="{4FA33FB4-A750-5019-11A1-256B224C1824}"/>
              </a:ext>
            </a:extLst>
          </p:cNvPr>
          <p:cNvPicPr>
            <a:picLocks noChangeAspect="1"/>
          </p:cNvPicPr>
          <p:nvPr/>
        </p:nvPicPr>
        <p:blipFill>
          <a:blip r:embed="rId5"/>
          <a:stretch>
            <a:fillRect/>
          </a:stretch>
        </p:blipFill>
        <p:spPr>
          <a:xfrm>
            <a:off x="8520552" y="3244591"/>
            <a:ext cx="2383972" cy="1414915"/>
          </a:xfrm>
          <a:prstGeom prst="rect">
            <a:avLst/>
          </a:prstGeom>
        </p:spPr>
      </p:pic>
      <p:sp>
        <p:nvSpPr>
          <p:cNvPr id="29" name="TextBox 28"/>
          <p:cNvSpPr txBox="1"/>
          <p:nvPr/>
        </p:nvSpPr>
        <p:spPr>
          <a:xfrm rot="19418696">
            <a:off x="7211184" y="3409932"/>
            <a:ext cx="3369535" cy="259170"/>
          </a:xfrm>
          <a:prstGeom prst="rect">
            <a:avLst/>
          </a:prstGeom>
          <a:solidFill>
            <a:schemeClr val="bg1">
              <a:alpha val="35000"/>
            </a:schemeClr>
          </a:solidFill>
          <a:ln>
            <a:solidFill>
              <a:schemeClr val="accent6"/>
            </a:solidFill>
          </a:ln>
        </p:spPr>
        <p:txBody>
          <a:bodyPr wrap="square" rtlCol="0">
            <a:spAutoFit/>
          </a:bodyPr>
          <a:lstStyle/>
          <a:p>
            <a:pPr algn="ctr"/>
            <a:r>
              <a:rPr lang="en-US" sz="1091" b="1" dirty="0">
                <a:solidFill>
                  <a:srgbClr val="FF0000"/>
                </a:solidFill>
              </a:rPr>
              <a:t>For Illustration Purposes Only</a:t>
            </a:r>
          </a:p>
        </p:txBody>
      </p:sp>
    </p:spTree>
    <p:extLst>
      <p:ext uri="{BB962C8B-B14F-4D97-AF65-F5344CB8AC3E}">
        <p14:creationId xmlns:p14="http://schemas.microsoft.com/office/powerpoint/2010/main" val="2528561281"/>
      </p:ext>
    </p:extLst>
  </p:cSld>
  <p:clrMapOvr>
    <a:masterClrMapping/>
  </p:clrMapOvr>
  <p:transition spd="med">
    <p:pull/>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20286"/>
            <a:ext cx="11147258" cy="330986"/>
          </a:xfrm>
        </p:spPr>
        <p:txBody>
          <a:bodyPr/>
          <a:lstStyle/>
          <a:p>
            <a:r>
              <a:rPr lang="en-US" sz="2382" dirty="0"/>
              <a:t>Approach &amp; Methodology</a:t>
            </a:r>
          </a:p>
        </p:txBody>
      </p:sp>
      <p:sp>
        <p:nvSpPr>
          <p:cNvPr id="56" name="Text Placeholder 1">
            <a:extLst>
              <a:ext uri="{FF2B5EF4-FFF2-40B4-BE49-F238E27FC236}">
                <a16:creationId xmlns:a16="http://schemas.microsoft.com/office/drawing/2014/main" id="{C2BEA3DA-28CA-45CE-84AC-50290D3831B6}"/>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Phase 4: BCM Exercising (4/4)</a:t>
            </a:r>
          </a:p>
        </p:txBody>
      </p:sp>
      <p:sp>
        <p:nvSpPr>
          <p:cNvPr id="28" name="Triangle 28">
            <a:extLst>
              <a:ext uri="{FF2B5EF4-FFF2-40B4-BE49-F238E27FC236}">
                <a16:creationId xmlns:a16="http://schemas.microsoft.com/office/drawing/2014/main" id="{1A646E87-951E-4B68-A2F9-4ED4B18E2D5C}"/>
              </a:ext>
            </a:extLst>
          </p:cNvPr>
          <p:cNvSpPr/>
          <p:nvPr/>
        </p:nvSpPr>
        <p:spPr>
          <a:xfrm rot="16200000">
            <a:off x="11061923" y="3314790"/>
            <a:ext cx="264966" cy="228419"/>
          </a:xfrm>
          <a:prstGeom prst="triangl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Calibri" panose="020F0502020204030204" pitchFamily="34" charset="0"/>
            </a:endParaRPr>
          </a:p>
        </p:txBody>
      </p:sp>
      <p:sp>
        <p:nvSpPr>
          <p:cNvPr id="4" name="Rectangle 3">
            <a:extLst>
              <a:ext uri="{FF2B5EF4-FFF2-40B4-BE49-F238E27FC236}">
                <a16:creationId xmlns:a16="http://schemas.microsoft.com/office/drawing/2014/main" id="{AA92E332-9496-95D4-A7F5-3779543B2AFB}"/>
              </a:ext>
            </a:extLst>
          </p:cNvPr>
          <p:cNvSpPr/>
          <p:nvPr/>
        </p:nvSpPr>
        <p:spPr bwMode="gray">
          <a:xfrm>
            <a:off x="0" y="972"/>
            <a:ext cx="163919" cy="6860559"/>
          </a:xfrm>
          <a:prstGeom prst="rect">
            <a:avLst/>
          </a:prstGeom>
          <a:solidFill>
            <a:srgbClr val="00ABAB"/>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891" b="1" dirty="0">
              <a:solidFill>
                <a:schemeClr val="bg1"/>
              </a:solidFill>
              <a:latin typeface="Calibri" panose="020F0502020204030204" pitchFamily="34" charset="0"/>
            </a:endParaRPr>
          </a:p>
        </p:txBody>
      </p:sp>
      <p:grpSp>
        <p:nvGrpSpPr>
          <p:cNvPr id="12" name="Group 11">
            <a:extLst>
              <a:ext uri="{FF2B5EF4-FFF2-40B4-BE49-F238E27FC236}">
                <a16:creationId xmlns:a16="http://schemas.microsoft.com/office/drawing/2014/main" id="{45655F21-0AD6-CE3C-6B9C-A2A2361D55CB}"/>
              </a:ext>
            </a:extLst>
          </p:cNvPr>
          <p:cNvGrpSpPr/>
          <p:nvPr/>
        </p:nvGrpSpPr>
        <p:grpSpPr>
          <a:xfrm>
            <a:off x="4886308" y="1555772"/>
            <a:ext cx="5799948" cy="4756266"/>
            <a:chOff x="4706912" y="746536"/>
            <a:chExt cx="7017936" cy="5755081"/>
          </a:xfrm>
        </p:grpSpPr>
        <p:pic>
          <p:nvPicPr>
            <p:cNvPr id="13" name="Picture 12">
              <a:extLst>
                <a:ext uri="{FF2B5EF4-FFF2-40B4-BE49-F238E27FC236}">
                  <a16:creationId xmlns:a16="http://schemas.microsoft.com/office/drawing/2014/main" id="{2523939D-4D0C-5813-B1FC-B3046F281D87}"/>
                </a:ext>
              </a:extLst>
            </p:cNvPr>
            <p:cNvPicPr>
              <a:picLocks noChangeAspect="1"/>
            </p:cNvPicPr>
            <p:nvPr/>
          </p:nvPicPr>
          <p:blipFill>
            <a:blip r:embed="rId2"/>
            <a:stretch>
              <a:fillRect/>
            </a:stretch>
          </p:blipFill>
          <p:spPr>
            <a:xfrm>
              <a:off x="6285998" y="746536"/>
              <a:ext cx="4293370" cy="2615296"/>
            </a:xfrm>
            <a:prstGeom prst="rect">
              <a:avLst/>
            </a:prstGeom>
          </p:spPr>
        </p:pic>
        <p:pic>
          <p:nvPicPr>
            <p:cNvPr id="14" name="Picture 13">
              <a:extLst>
                <a:ext uri="{FF2B5EF4-FFF2-40B4-BE49-F238E27FC236}">
                  <a16:creationId xmlns:a16="http://schemas.microsoft.com/office/drawing/2014/main" id="{5B8EA78D-64C2-3F82-0C63-4F06A02F6C8F}"/>
                </a:ext>
              </a:extLst>
            </p:cNvPr>
            <p:cNvPicPr>
              <a:picLocks noChangeAspect="1"/>
            </p:cNvPicPr>
            <p:nvPr/>
          </p:nvPicPr>
          <p:blipFill>
            <a:blip r:embed="rId3"/>
            <a:stretch>
              <a:fillRect/>
            </a:stretch>
          </p:blipFill>
          <p:spPr>
            <a:xfrm>
              <a:off x="6735255" y="3252579"/>
              <a:ext cx="4989593" cy="3249038"/>
            </a:xfrm>
            <a:prstGeom prst="rect">
              <a:avLst/>
            </a:prstGeom>
          </p:spPr>
        </p:pic>
        <p:pic>
          <p:nvPicPr>
            <p:cNvPr id="15" name="Picture 14">
              <a:extLst>
                <a:ext uri="{FF2B5EF4-FFF2-40B4-BE49-F238E27FC236}">
                  <a16:creationId xmlns:a16="http://schemas.microsoft.com/office/drawing/2014/main" id="{F59D0D28-5205-33BD-4B4C-6B1595B9F5F2}"/>
                </a:ext>
              </a:extLst>
            </p:cNvPr>
            <p:cNvPicPr>
              <a:picLocks noChangeAspect="1"/>
            </p:cNvPicPr>
            <p:nvPr/>
          </p:nvPicPr>
          <p:blipFill>
            <a:blip r:embed="rId4"/>
            <a:stretch>
              <a:fillRect/>
            </a:stretch>
          </p:blipFill>
          <p:spPr>
            <a:xfrm>
              <a:off x="4706912" y="4573664"/>
              <a:ext cx="2038663" cy="1878861"/>
            </a:xfrm>
            <a:prstGeom prst="rect">
              <a:avLst/>
            </a:prstGeom>
          </p:spPr>
        </p:pic>
      </p:grpSp>
      <p:sp>
        <p:nvSpPr>
          <p:cNvPr id="16" name="Text Placeholder 1">
            <a:extLst>
              <a:ext uri="{FF2B5EF4-FFF2-40B4-BE49-F238E27FC236}">
                <a16:creationId xmlns:a16="http://schemas.microsoft.com/office/drawing/2014/main" id="{1078E867-FAF2-15C8-A92B-C5131624D779}"/>
              </a:ext>
            </a:extLst>
          </p:cNvPr>
          <p:cNvSpPr txBox="1">
            <a:spLocks/>
          </p:cNvSpPr>
          <p:nvPr/>
        </p:nvSpPr>
        <p:spPr>
          <a:xfrm>
            <a:off x="505558" y="1618095"/>
            <a:ext cx="8401347" cy="35326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GB" sz="1800">
                <a:latin typeface="Calibri Light" panose="020F0302020204030204" pitchFamily="34" charset="0"/>
                <a:cs typeface="Calibri Light" panose="020F0302020204030204" pitchFamily="34" charset="0"/>
              </a:rPr>
              <a:t>Immersive, interactive and engaging crisis decision-making tool.</a:t>
            </a:r>
            <a:endParaRPr lang="en-GB">
              <a:latin typeface="Calibri Light" panose="020F0302020204030204" pitchFamily="34" charset="0"/>
              <a:cs typeface="Calibri Light" panose="020F0302020204030204" pitchFamily="34" charset="0"/>
            </a:endParaRPr>
          </a:p>
        </p:txBody>
      </p:sp>
      <p:sp>
        <p:nvSpPr>
          <p:cNvPr id="17" name="Title 2">
            <a:extLst>
              <a:ext uri="{FF2B5EF4-FFF2-40B4-BE49-F238E27FC236}">
                <a16:creationId xmlns:a16="http://schemas.microsoft.com/office/drawing/2014/main" id="{82385809-7555-5BCF-1E56-31D25C4B306A}"/>
              </a:ext>
            </a:extLst>
          </p:cNvPr>
          <p:cNvSpPr txBox="1">
            <a:spLocks/>
          </p:cNvSpPr>
          <p:nvPr/>
        </p:nvSpPr>
        <p:spPr bwMode="gray">
          <a:xfrm>
            <a:off x="490568" y="1336835"/>
            <a:ext cx="8401347" cy="3340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b="1">
                <a:latin typeface="Calibri Light" panose="020F0302020204030204" pitchFamily="34" charset="0"/>
                <a:cs typeface="Calibri Light" panose="020F0302020204030204" pitchFamily="34" charset="0"/>
              </a:rPr>
              <a:t>CrisisConductor</a:t>
            </a:r>
          </a:p>
        </p:txBody>
      </p:sp>
      <p:sp>
        <p:nvSpPr>
          <p:cNvPr id="18" name="Content Placeholder 3">
            <a:extLst>
              <a:ext uri="{FF2B5EF4-FFF2-40B4-BE49-F238E27FC236}">
                <a16:creationId xmlns:a16="http://schemas.microsoft.com/office/drawing/2014/main" id="{00CDB8FE-A487-865E-6028-906E3AEE24AF}"/>
              </a:ext>
            </a:extLst>
          </p:cNvPr>
          <p:cNvSpPr txBox="1">
            <a:spLocks/>
          </p:cNvSpPr>
          <p:nvPr/>
        </p:nvSpPr>
        <p:spPr>
          <a:xfrm>
            <a:off x="483418" y="4503459"/>
            <a:ext cx="3998865" cy="1585008"/>
          </a:xfrm>
          <a:prstGeom prst="rect">
            <a:avLst/>
          </a:prstGeom>
          <a:ln>
            <a:noFill/>
          </a:ln>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a:spcAft>
                <a:spcPts val="600"/>
              </a:spcAft>
            </a:pPr>
            <a:r>
              <a:rPr lang="en-GB" sz="1100" b="1">
                <a:solidFill>
                  <a:schemeClr val="accent1"/>
                </a:solidFill>
                <a:latin typeface="Calibri Light" panose="020F0302020204030204" pitchFamily="34" charset="0"/>
                <a:cs typeface="Calibri Light" panose="020F0302020204030204" pitchFamily="34" charset="0"/>
              </a:rPr>
              <a:t>Key attributes:</a:t>
            </a:r>
          </a:p>
          <a:p>
            <a:pPr marL="152361" indent="-152361">
              <a:spcAft>
                <a:spcPts val="623"/>
              </a:spcAft>
              <a:buFont typeface="Arial" panose="020B0604020202020204" pitchFamily="34" charset="0"/>
              <a:buChar char="•"/>
            </a:pPr>
            <a:r>
              <a:rPr lang="en-GB" sz="1100" b="1">
                <a:latin typeface="Calibri Light" panose="020F0302020204030204" pitchFamily="34" charset="0"/>
                <a:cs typeface="Calibri Light" panose="020F0302020204030204" pitchFamily="34" charset="0"/>
              </a:rPr>
              <a:t>Password-protected platform: </a:t>
            </a:r>
            <a:r>
              <a:rPr lang="en-GB" sz="1100">
                <a:latin typeface="Calibri Light" panose="020F0302020204030204" pitchFamily="34" charset="0"/>
                <a:cs typeface="Calibri Light" panose="020F0302020204030204" pitchFamily="34" charset="0"/>
              </a:rPr>
              <a:t>secure and safe web application.</a:t>
            </a:r>
          </a:p>
          <a:p>
            <a:pPr marL="152361" indent="-152361">
              <a:spcAft>
                <a:spcPts val="623"/>
              </a:spcAft>
              <a:buFont typeface="Arial" panose="020B0604020202020204" pitchFamily="34" charset="0"/>
              <a:buChar char="•"/>
            </a:pPr>
            <a:r>
              <a:rPr lang="en-GB" sz="1100" b="1">
                <a:latin typeface="Calibri Light" panose="020F0302020204030204" pitchFamily="34" charset="0"/>
                <a:cs typeface="Calibri Light" panose="020F0302020204030204" pitchFamily="34" charset="0"/>
              </a:rPr>
              <a:t>Immersive experience: </a:t>
            </a:r>
            <a:r>
              <a:rPr lang="en-GB" sz="1100">
                <a:latin typeface="Calibri Light" panose="020F0302020204030204" pitchFamily="34" charset="0"/>
                <a:cs typeface="Calibri Light" panose="020F0302020204030204" pitchFamily="34" charset="0"/>
              </a:rPr>
              <a:t>narrative-based, sandbox style scenario requiring decisions to be made in real-time.</a:t>
            </a:r>
          </a:p>
          <a:p>
            <a:pPr marL="152361" indent="-152361">
              <a:spcAft>
                <a:spcPts val="623"/>
              </a:spcAft>
              <a:buFont typeface="Arial" panose="020B0604020202020204" pitchFamily="34" charset="0"/>
              <a:buChar char="•"/>
            </a:pPr>
            <a:r>
              <a:rPr lang="en-GB" sz="1100" b="1">
                <a:latin typeface="Calibri Light" panose="020F0302020204030204" pitchFamily="34" charset="0"/>
                <a:cs typeface="Calibri Light" panose="020F0302020204030204" pitchFamily="34" charset="0"/>
              </a:rPr>
              <a:t>Realistic: </a:t>
            </a:r>
            <a:r>
              <a:rPr lang="en-GB" sz="1100">
                <a:latin typeface="Calibri Light" panose="020F0302020204030204" pitchFamily="34" charset="0"/>
                <a:cs typeface="Calibri Light" panose="020F0302020204030204" pitchFamily="34" charset="0"/>
              </a:rPr>
              <a:t>ability to create a bespoke scenario based on real events relevant to your organisation.</a:t>
            </a:r>
          </a:p>
          <a:p>
            <a:pPr marL="152361" indent="-152361">
              <a:spcAft>
                <a:spcPts val="623"/>
              </a:spcAft>
              <a:buFont typeface="Arial" panose="020B0604020202020204" pitchFamily="34" charset="0"/>
              <a:buChar char="•"/>
            </a:pPr>
            <a:r>
              <a:rPr lang="en-GB" sz="1100" b="1">
                <a:latin typeface="Calibri Light" panose="020F0302020204030204" pitchFamily="34" charset="0"/>
                <a:cs typeface="Calibri Light" panose="020F0302020204030204" pitchFamily="34" charset="0"/>
              </a:rPr>
              <a:t>Enhanced feedback: </a:t>
            </a:r>
            <a:r>
              <a:rPr lang="en-GB" sz="1100">
                <a:latin typeface="Calibri Light" panose="020F0302020204030204" pitchFamily="34" charset="0"/>
                <a:cs typeface="Calibri Light" panose="020F0302020204030204" pitchFamily="34" charset="0"/>
              </a:rPr>
              <a:t>personalised feedback for individual participants based on in game decisions and interactions.</a:t>
            </a:r>
          </a:p>
          <a:p>
            <a:pPr>
              <a:spcAft>
                <a:spcPts val="600"/>
              </a:spcAft>
            </a:pPr>
            <a:r>
              <a:rPr lang="en-GB" sz="1100" b="1">
                <a:solidFill>
                  <a:srgbClr val="000000"/>
                </a:solidFill>
                <a:latin typeface="Calibri Light" panose="020F0302020204030204" pitchFamily="34" charset="0"/>
                <a:cs typeface="Calibri Light" panose="020F0302020204030204" pitchFamily="34" charset="0"/>
              </a:rPr>
              <a:t> </a:t>
            </a:r>
            <a:br>
              <a:rPr lang="en-GB" sz="1100" b="1">
                <a:solidFill>
                  <a:srgbClr val="000000"/>
                </a:solidFill>
                <a:latin typeface="Calibri Light" panose="020F0302020204030204" pitchFamily="34" charset="0"/>
                <a:cs typeface="Calibri Light" panose="020F0302020204030204" pitchFamily="34" charset="0"/>
              </a:rPr>
            </a:br>
            <a:endParaRPr lang="en-GB" sz="1100" b="1">
              <a:solidFill>
                <a:srgbClr val="000000"/>
              </a:solidFill>
              <a:latin typeface="Calibri Light" panose="020F0302020204030204" pitchFamily="34" charset="0"/>
              <a:cs typeface="Calibri Light" panose="020F0302020204030204" pitchFamily="34" charset="0"/>
            </a:endParaRPr>
          </a:p>
          <a:p>
            <a:pPr>
              <a:spcAft>
                <a:spcPts val="600"/>
              </a:spcAft>
            </a:pPr>
            <a:endParaRPr lang="en-GB" sz="1100">
              <a:solidFill>
                <a:srgbClr val="000000"/>
              </a:solidFill>
              <a:latin typeface="Calibri Light" panose="020F0302020204030204" pitchFamily="34" charset="0"/>
              <a:cs typeface="Calibri Light" panose="020F0302020204030204" pitchFamily="34" charset="0"/>
            </a:endParaRPr>
          </a:p>
        </p:txBody>
      </p:sp>
      <p:grpSp>
        <p:nvGrpSpPr>
          <p:cNvPr id="19" name="Group 18">
            <a:extLst>
              <a:ext uri="{FF2B5EF4-FFF2-40B4-BE49-F238E27FC236}">
                <a16:creationId xmlns:a16="http://schemas.microsoft.com/office/drawing/2014/main" id="{A4EFCB73-4CF4-1FA4-E66F-EC195FFDC9BD}"/>
              </a:ext>
            </a:extLst>
          </p:cNvPr>
          <p:cNvGrpSpPr/>
          <p:nvPr/>
        </p:nvGrpSpPr>
        <p:grpSpPr>
          <a:xfrm>
            <a:off x="536345" y="2071210"/>
            <a:ext cx="4735482" cy="2031972"/>
            <a:chOff x="370647" y="2502572"/>
            <a:chExt cx="4735482" cy="2031972"/>
          </a:xfrm>
        </p:grpSpPr>
        <p:grpSp>
          <p:nvGrpSpPr>
            <p:cNvPr id="20" name="Group 19">
              <a:extLst>
                <a:ext uri="{FF2B5EF4-FFF2-40B4-BE49-F238E27FC236}">
                  <a16:creationId xmlns:a16="http://schemas.microsoft.com/office/drawing/2014/main" id="{BD368854-CC35-24ED-C436-AD8FFC5502AD}"/>
                </a:ext>
              </a:extLst>
            </p:cNvPr>
            <p:cNvGrpSpPr/>
            <p:nvPr/>
          </p:nvGrpSpPr>
          <p:grpSpPr>
            <a:xfrm>
              <a:off x="370648" y="2502572"/>
              <a:ext cx="4735481" cy="1570553"/>
              <a:chOff x="325723" y="2857830"/>
              <a:chExt cx="4735481" cy="1570553"/>
            </a:xfrm>
          </p:grpSpPr>
          <p:sp>
            <p:nvSpPr>
              <p:cNvPr id="23" name="Freeform 746">
                <a:extLst>
                  <a:ext uri="{FF2B5EF4-FFF2-40B4-BE49-F238E27FC236}">
                    <a16:creationId xmlns:a16="http://schemas.microsoft.com/office/drawing/2014/main" id="{95FC2D6E-ECC0-413F-5072-905A43BE257A}"/>
                  </a:ext>
                </a:extLst>
              </p:cNvPr>
              <p:cNvSpPr>
                <a:spLocks noChangeAspect="1" noEditPoints="1"/>
              </p:cNvSpPr>
              <p:nvPr/>
            </p:nvSpPr>
            <p:spPr bwMode="auto">
              <a:xfrm>
                <a:off x="325723" y="2857830"/>
                <a:ext cx="324000" cy="324000"/>
              </a:xfrm>
              <a:custGeom>
                <a:avLst/>
                <a:gdLst>
                  <a:gd name="T0" fmla="*/ 324 w 512"/>
                  <a:gd name="T1" fmla="*/ 223 h 512"/>
                  <a:gd name="T2" fmla="*/ 394 w 512"/>
                  <a:gd name="T3" fmla="*/ 188 h 512"/>
                  <a:gd name="T4" fmla="*/ 394 w 512"/>
                  <a:gd name="T5" fmla="*/ 324 h 512"/>
                  <a:gd name="T6" fmla="*/ 324 w 512"/>
                  <a:gd name="T7" fmla="*/ 289 h 512"/>
                  <a:gd name="T8" fmla="*/ 314 w 512"/>
                  <a:gd name="T9" fmla="*/ 289 h 512"/>
                  <a:gd name="T10" fmla="*/ 309 w 512"/>
                  <a:gd name="T11" fmla="*/ 298 h 512"/>
                  <a:gd name="T12" fmla="*/ 309 w 512"/>
                  <a:gd name="T13" fmla="*/ 352 h 512"/>
                  <a:gd name="T14" fmla="*/ 117 w 512"/>
                  <a:gd name="T15" fmla="*/ 352 h 512"/>
                  <a:gd name="T16" fmla="*/ 117 w 512"/>
                  <a:gd name="T17" fmla="*/ 160 h 512"/>
                  <a:gd name="T18" fmla="*/ 309 w 512"/>
                  <a:gd name="T19" fmla="*/ 160 h 512"/>
                  <a:gd name="T20" fmla="*/ 309 w 512"/>
                  <a:gd name="T21" fmla="*/ 213 h 512"/>
                  <a:gd name="T22" fmla="*/ 314 w 512"/>
                  <a:gd name="T23" fmla="*/ 222 h 512"/>
                  <a:gd name="T24" fmla="*/ 324 w 512"/>
                  <a:gd name="T25" fmla="*/ 223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70 h 512"/>
                  <a:gd name="T38" fmla="*/ 411 w 512"/>
                  <a:gd name="T39" fmla="*/ 161 h 512"/>
                  <a:gd name="T40" fmla="*/ 400 w 512"/>
                  <a:gd name="T41" fmla="*/ 161 h 512"/>
                  <a:gd name="T42" fmla="*/ 330 w 512"/>
                  <a:gd name="T43" fmla="*/ 196 h 512"/>
                  <a:gd name="T44" fmla="*/ 330 w 512"/>
                  <a:gd name="T45" fmla="*/ 149 h 512"/>
                  <a:gd name="T46" fmla="*/ 320 w 512"/>
                  <a:gd name="T47" fmla="*/ 138 h 512"/>
                  <a:gd name="T48" fmla="*/ 106 w 512"/>
                  <a:gd name="T49" fmla="*/ 138 h 512"/>
                  <a:gd name="T50" fmla="*/ 96 w 512"/>
                  <a:gd name="T51" fmla="*/ 149 h 512"/>
                  <a:gd name="T52" fmla="*/ 96 w 512"/>
                  <a:gd name="T53" fmla="*/ 362 h 512"/>
                  <a:gd name="T54" fmla="*/ 106 w 512"/>
                  <a:gd name="T55" fmla="*/ 373 h 512"/>
                  <a:gd name="T56" fmla="*/ 320 w 512"/>
                  <a:gd name="T57" fmla="*/ 373 h 512"/>
                  <a:gd name="T58" fmla="*/ 330 w 512"/>
                  <a:gd name="T59" fmla="*/ 362 h 512"/>
                  <a:gd name="T60" fmla="*/ 330 w 512"/>
                  <a:gd name="T61" fmla="*/ 316 h 512"/>
                  <a:gd name="T62" fmla="*/ 400 w 512"/>
                  <a:gd name="T63" fmla="*/ 351 h 512"/>
                  <a:gd name="T64" fmla="*/ 411 w 512"/>
                  <a:gd name="T65" fmla="*/ 350 h 512"/>
                  <a:gd name="T66" fmla="*/ 416 w 512"/>
                  <a:gd name="T67" fmla="*/ 341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24" y="223"/>
                    </a:moveTo>
                    <a:cubicBezTo>
                      <a:pt x="394" y="188"/>
                      <a:pt x="394" y="188"/>
                      <a:pt x="394" y="188"/>
                    </a:cubicBezTo>
                    <a:cubicBezTo>
                      <a:pt x="394" y="324"/>
                      <a:pt x="394" y="324"/>
                      <a:pt x="394" y="324"/>
                    </a:cubicBezTo>
                    <a:cubicBezTo>
                      <a:pt x="324" y="289"/>
                      <a:pt x="324" y="289"/>
                      <a:pt x="324" y="289"/>
                    </a:cubicBezTo>
                    <a:cubicBezTo>
                      <a:pt x="321" y="287"/>
                      <a:pt x="317" y="287"/>
                      <a:pt x="314" y="289"/>
                    </a:cubicBezTo>
                    <a:cubicBezTo>
                      <a:pt x="311" y="291"/>
                      <a:pt x="309" y="295"/>
                      <a:pt x="309" y="298"/>
                    </a:cubicBezTo>
                    <a:cubicBezTo>
                      <a:pt x="309" y="352"/>
                      <a:pt x="309" y="352"/>
                      <a:pt x="309" y="352"/>
                    </a:cubicBezTo>
                    <a:cubicBezTo>
                      <a:pt x="117" y="352"/>
                      <a:pt x="117" y="352"/>
                      <a:pt x="117" y="352"/>
                    </a:cubicBezTo>
                    <a:cubicBezTo>
                      <a:pt x="117" y="160"/>
                      <a:pt x="117" y="160"/>
                      <a:pt x="117" y="160"/>
                    </a:cubicBezTo>
                    <a:cubicBezTo>
                      <a:pt x="309" y="160"/>
                      <a:pt x="309" y="160"/>
                      <a:pt x="309" y="160"/>
                    </a:cubicBezTo>
                    <a:cubicBezTo>
                      <a:pt x="309" y="213"/>
                      <a:pt x="309" y="213"/>
                      <a:pt x="309" y="213"/>
                    </a:cubicBezTo>
                    <a:cubicBezTo>
                      <a:pt x="309" y="217"/>
                      <a:pt x="311" y="220"/>
                      <a:pt x="314" y="222"/>
                    </a:cubicBezTo>
                    <a:cubicBezTo>
                      <a:pt x="317" y="224"/>
                      <a:pt x="321" y="224"/>
                      <a:pt x="324" y="2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7"/>
                      <a:pt x="414" y="163"/>
                      <a:pt x="411" y="161"/>
                    </a:cubicBezTo>
                    <a:cubicBezTo>
                      <a:pt x="407" y="159"/>
                      <a:pt x="404" y="159"/>
                      <a:pt x="400" y="161"/>
                    </a:cubicBezTo>
                    <a:cubicBezTo>
                      <a:pt x="330" y="196"/>
                      <a:pt x="330" y="196"/>
                      <a:pt x="330" y="196"/>
                    </a:cubicBezTo>
                    <a:cubicBezTo>
                      <a:pt x="330" y="149"/>
                      <a:pt x="330" y="149"/>
                      <a:pt x="330" y="149"/>
                    </a:cubicBezTo>
                    <a:cubicBezTo>
                      <a:pt x="330" y="143"/>
                      <a:pt x="326" y="138"/>
                      <a:pt x="32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320" y="373"/>
                      <a:pt x="320" y="373"/>
                      <a:pt x="320" y="373"/>
                    </a:cubicBezTo>
                    <a:cubicBezTo>
                      <a:pt x="326" y="373"/>
                      <a:pt x="330" y="368"/>
                      <a:pt x="330" y="362"/>
                    </a:cubicBezTo>
                    <a:cubicBezTo>
                      <a:pt x="330" y="316"/>
                      <a:pt x="330" y="316"/>
                      <a:pt x="330" y="316"/>
                    </a:cubicBezTo>
                    <a:cubicBezTo>
                      <a:pt x="400" y="351"/>
                      <a:pt x="400" y="351"/>
                      <a:pt x="400" y="351"/>
                    </a:cubicBezTo>
                    <a:cubicBezTo>
                      <a:pt x="404" y="352"/>
                      <a:pt x="407" y="352"/>
                      <a:pt x="411" y="350"/>
                    </a:cubicBezTo>
                    <a:cubicBezTo>
                      <a:pt x="414" y="348"/>
                      <a:pt x="416" y="345"/>
                      <a:pt x="416" y="341"/>
                    </a:cubicBezTo>
                    <a:lnTo>
                      <a:pt x="416" y="17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GB" sz="1100">
                  <a:latin typeface="Calibri Light" panose="020F0302020204030204" pitchFamily="34" charset="0"/>
                  <a:cs typeface="Calibri Light" panose="020F0302020204030204" pitchFamily="34" charset="0"/>
                </a:endParaRPr>
              </a:p>
            </p:txBody>
          </p:sp>
          <p:sp>
            <p:nvSpPr>
              <p:cNvPr id="24" name="Rectangle 23">
                <a:extLst>
                  <a:ext uri="{FF2B5EF4-FFF2-40B4-BE49-F238E27FC236}">
                    <a16:creationId xmlns:a16="http://schemas.microsoft.com/office/drawing/2014/main" id="{4E99C2F6-94D6-3465-FEDF-5F71F10C2E88}"/>
                  </a:ext>
                </a:extLst>
              </p:cNvPr>
              <p:cNvSpPr/>
              <p:nvPr/>
            </p:nvSpPr>
            <p:spPr>
              <a:xfrm>
                <a:off x="758214" y="2881330"/>
                <a:ext cx="4302990" cy="338554"/>
              </a:xfrm>
              <a:prstGeom prst="rect">
                <a:avLst/>
              </a:prstGeom>
              <a:noFill/>
            </p:spPr>
            <p:txBody>
              <a:bodyPr wrap="square" lIns="0" tIns="0" rIns="0" bIns="0" rtlCol="0">
                <a:spAutoFit/>
              </a:bodyPr>
              <a:lstStyle/>
              <a:p>
                <a:r>
                  <a:rPr lang="en-GB" sz="1100">
                    <a:latin typeface="Calibri Light" panose="020F0302020204030204" pitchFamily="34" charset="0"/>
                    <a:cs typeface="Calibri Light" panose="020F0302020204030204" pitchFamily="34" charset="0"/>
                  </a:rPr>
                  <a:t>Ability to inject simulated, realistic multimedia content, including news reports, social media posts, phone-calls and emails.</a:t>
                </a:r>
              </a:p>
            </p:txBody>
          </p:sp>
          <p:sp>
            <p:nvSpPr>
              <p:cNvPr id="25" name="Rectangle 24">
                <a:extLst>
                  <a:ext uri="{FF2B5EF4-FFF2-40B4-BE49-F238E27FC236}">
                    <a16:creationId xmlns:a16="http://schemas.microsoft.com/office/drawing/2014/main" id="{DC92B7B3-7C2C-94B4-A614-AB4A529936A4}"/>
                  </a:ext>
                </a:extLst>
              </p:cNvPr>
              <p:cNvSpPr/>
              <p:nvPr/>
            </p:nvSpPr>
            <p:spPr>
              <a:xfrm>
                <a:off x="758214" y="3295191"/>
                <a:ext cx="4302990" cy="338554"/>
              </a:xfrm>
              <a:prstGeom prst="rect">
                <a:avLst/>
              </a:prstGeom>
              <a:noFill/>
            </p:spPr>
            <p:txBody>
              <a:bodyPr wrap="square" lIns="0" tIns="0" rIns="0" bIns="0" rtlCol="0">
                <a:spAutoFit/>
              </a:bodyPr>
              <a:lstStyle/>
              <a:p>
                <a:pPr defTabSz="699802">
                  <a:spcBef>
                    <a:spcPts val="1960"/>
                  </a:spcBef>
                </a:pPr>
                <a:r>
                  <a:rPr lang="en-GB" sz="1100">
                    <a:solidFill>
                      <a:srgbClr val="000000"/>
                    </a:solidFill>
                    <a:latin typeface="Calibri Light" panose="020F0302020204030204" pitchFamily="34" charset="0"/>
                    <a:cs typeface="Calibri Light" panose="020F0302020204030204" pitchFamily="34" charset="0"/>
                  </a:rPr>
                  <a:t>Ability to capture quantitative and qualitative data on individual performance in real-time.</a:t>
                </a:r>
              </a:p>
            </p:txBody>
          </p:sp>
          <p:sp>
            <p:nvSpPr>
              <p:cNvPr id="26" name="Freeform 373">
                <a:extLst>
                  <a:ext uri="{FF2B5EF4-FFF2-40B4-BE49-F238E27FC236}">
                    <a16:creationId xmlns:a16="http://schemas.microsoft.com/office/drawing/2014/main" id="{624C9B90-A911-F9DF-AF22-3CA32A0EB753}"/>
                  </a:ext>
                </a:extLst>
              </p:cNvPr>
              <p:cNvSpPr>
                <a:spLocks noChangeAspect="1" noEditPoints="1"/>
              </p:cNvSpPr>
              <p:nvPr/>
            </p:nvSpPr>
            <p:spPr bwMode="auto">
              <a:xfrm>
                <a:off x="325723" y="3271691"/>
                <a:ext cx="324000" cy="324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4"/>
              </a:solidFill>
              <a:ln>
                <a:noFill/>
              </a:ln>
            </p:spPr>
            <p:txBody>
              <a:bodyPr vert="horz" wrap="square" lIns="100796" tIns="50398" rIns="100796" bIns="50398" numCol="1" anchor="t" anchorCtr="0" compatLnSpc="1">
                <a:prstTxWarp prst="textNoShape">
                  <a:avLst/>
                </a:prstTxWarp>
              </a:bodyPr>
              <a:lstStyle/>
              <a:p>
                <a:endParaRPr lang="en-GB" sz="1100">
                  <a:latin typeface="Calibri Light" panose="020F0302020204030204" pitchFamily="34" charset="0"/>
                  <a:cs typeface="Calibri Light" panose="020F0302020204030204" pitchFamily="34" charset="0"/>
                </a:endParaRPr>
              </a:p>
            </p:txBody>
          </p:sp>
          <p:sp>
            <p:nvSpPr>
              <p:cNvPr id="27" name="Rectangle 26">
                <a:extLst>
                  <a:ext uri="{FF2B5EF4-FFF2-40B4-BE49-F238E27FC236}">
                    <a16:creationId xmlns:a16="http://schemas.microsoft.com/office/drawing/2014/main" id="{DA910CEE-2481-AA6C-1711-B15B592EBDA0}"/>
                  </a:ext>
                </a:extLst>
              </p:cNvPr>
              <p:cNvSpPr/>
              <p:nvPr/>
            </p:nvSpPr>
            <p:spPr>
              <a:xfrm>
                <a:off x="758214" y="3708840"/>
                <a:ext cx="4302990" cy="338554"/>
              </a:xfrm>
              <a:prstGeom prst="rect">
                <a:avLst/>
              </a:prstGeom>
              <a:noFill/>
            </p:spPr>
            <p:txBody>
              <a:bodyPr wrap="square" lIns="0" tIns="0" rIns="0" bIns="0" rtlCol="0">
                <a:spAutoFit/>
              </a:bodyPr>
              <a:lstStyle/>
              <a:p>
                <a:pPr defTabSz="699802">
                  <a:spcBef>
                    <a:spcPts val="1960"/>
                  </a:spcBef>
                </a:pPr>
                <a:r>
                  <a:rPr lang="en-GB" sz="1100" dirty="0">
                    <a:solidFill>
                      <a:srgbClr val="000000"/>
                    </a:solidFill>
                    <a:latin typeface="Calibri Light" panose="020F0302020204030204" pitchFamily="34" charset="0"/>
                    <a:cs typeface="Calibri Light" panose="020F0302020204030204" pitchFamily="34" charset="0"/>
                  </a:rPr>
                  <a:t>Ability to create a highly bespoke, specific and path-dependent scenario, where decisions taken by participants informs the direction of the activity.</a:t>
                </a:r>
              </a:p>
            </p:txBody>
          </p:sp>
          <p:sp>
            <p:nvSpPr>
              <p:cNvPr id="30" name="Freeform 850">
                <a:extLst>
                  <a:ext uri="{FF2B5EF4-FFF2-40B4-BE49-F238E27FC236}">
                    <a16:creationId xmlns:a16="http://schemas.microsoft.com/office/drawing/2014/main" id="{12F44A60-9356-BBE2-73F3-6B1FFA41A1E8}"/>
                  </a:ext>
                </a:extLst>
              </p:cNvPr>
              <p:cNvSpPr>
                <a:spLocks noChangeAspect="1" noEditPoints="1"/>
              </p:cNvSpPr>
              <p:nvPr/>
            </p:nvSpPr>
            <p:spPr bwMode="auto">
              <a:xfrm>
                <a:off x="326198" y="3685339"/>
                <a:ext cx="323050" cy="324000"/>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chemeClr val="accent3"/>
              </a:solidFill>
              <a:ln>
                <a:noFill/>
              </a:ln>
            </p:spPr>
            <p:txBody>
              <a:bodyPr vert="horz" wrap="square" lIns="100796" tIns="50398" rIns="100796" bIns="50398" numCol="1" anchor="t" anchorCtr="0" compatLnSpc="1">
                <a:prstTxWarp prst="textNoShape">
                  <a:avLst/>
                </a:prstTxWarp>
              </a:bodyPr>
              <a:lstStyle/>
              <a:p>
                <a:endParaRPr lang="en-GB" sz="1100">
                  <a:latin typeface="Calibri Light" panose="020F0302020204030204" pitchFamily="34" charset="0"/>
                  <a:cs typeface="Calibri Light" panose="020F0302020204030204" pitchFamily="34" charset="0"/>
                </a:endParaRPr>
              </a:p>
            </p:txBody>
          </p:sp>
          <p:sp>
            <p:nvSpPr>
              <p:cNvPr id="31" name="Rectangle 30">
                <a:extLst>
                  <a:ext uri="{FF2B5EF4-FFF2-40B4-BE49-F238E27FC236}">
                    <a16:creationId xmlns:a16="http://schemas.microsoft.com/office/drawing/2014/main" id="{6D1E5E81-3268-BCA0-B6EE-445CD1C081E9}"/>
                  </a:ext>
                </a:extLst>
              </p:cNvPr>
              <p:cNvSpPr/>
              <p:nvPr/>
            </p:nvSpPr>
            <p:spPr>
              <a:xfrm>
                <a:off x="758214" y="4199294"/>
                <a:ext cx="4302990" cy="169277"/>
              </a:xfrm>
              <a:prstGeom prst="rect">
                <a:avLst/>
              </a:prstGeom>
              <a:noFill/>
            </p:spPr>
            <p:txBody>
              <a:bodyPr wrap="square" lIns="0" tIns="0" rIns="0" bIns="0" rtlCol="0">
                <a:spAutoFit/>
              </a:bodyPr>
              <a:lstStyle/>
              <a:p>
                <a:pPr defTabSz="699802">
                  <a:spcBef>
                    <a:spcPts val="1960"/>
                  </a:spcBef>
                </a:pPr>
                <a:r>
                  <a:rPr lang="en-GB" sz="1100">
                    <a:solidFill>
                      <a:srgbClr val="000000"/>
                    </a:solidFill>
                    <a:latin typeface="Calibri Light" panose="020F0302020204030204" pitchFamily="34" charset="0"/>
                    <a:cs typeface="Calibri Light" panose="020F0302020204030204" pitchFamily="34" charset="0"/>
                  </a:rPr>
                  <a:t>Highly interactive, safe and secure sandbox environment. </a:t>
                </a:r>
              </a:p>
            </p:txBody>
          </p:sp>
          <p:sp>
            <p:nvSpPr>
              <p:cNvPr id="32" name="Freeform 627">
                <a:extLst>
                  <a:ext uri="{FF2B5EF4-FFF2-40B4-BE49-F238E27FC236}">
                    <a16:creationId xmlns:a16="http://schemas.microsoft.com/office/drawing/2014/main" id="{66491A86-0139-37A6-A0FB-5121DDE0DB3F}"/>
                  </a:ext>
                </a:extLst>
              </p:cNvPr>
              <p:cNvSpPr>
                <a:spLocks noChangeAspect="1" noEditPoints="1"/>
              </p:cNvSpPr>
              <p:nvPr/>
            </p:nvSpPr>
            <p:spPr bwMode="auto">
              <a:xfrm>
                <a:off x="325723" y="4104383"/>
                <a:ext cx="324000" cy="324000"/>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63666A"/>
              </a:solidFill>
              <a:ln>
                <a:noFill/>
              </a:ln>
            </p:spPr>
            <p:txBody>
              <a:bodyPr vert="horz" wrap="square" lIns="100796" tIns="50398" rIns="100796" bIns="50398" numCol="1" anchor="t" anchorCtr="0" compatLnSpc="1">
                <a:prstTxWarp prst="textNoShape">
                  <a:avLst/>
                </a:prstTxWarp>
              </a:bodyPr>
              <a:lstStyle/>
              <a:p>
                <a:endParaRPr lang="en-GB" sz="1100">
                  <a:latin typeface="Calibri Light" panose="020F0302020204030204" pitchFamily="34" charset="0"/>
                  <a:cs typeface="Calibri Light" panose="020F0302020204030204" pitchFamily="34" charset="0"/>
                </a:endParaRPr>
              </a:p>
            </p:txBody>
          </p:sp>
        </p:grpSp>
        <p:sp>
          <p:nvSpPr>
            <p:cNvPr id="21" name="Freeform 183">
              <a:extLst>
                <a:ext uri="{FF2B5EF4-FFF2-40B4-BE49-F238E27FC236}">
                  <a16:creationId xmlns:a16="http://schemas.microsoft.com/office/drawing/2014/main" id="{6794CB10-705F-A25C-806C-5090646B0F9C}"/>
                </a:ext>
              </a:extLst>
            </p:cNvPr>
            <p:cNvSpPr>
              <a:spLocks noChangeAspect="1" noEditPoints="1"/>
            </p:cNvSpPr>
            <p:nvPr/>
          </p:nvSpPr>
          <p:spPr bwMode="auto">
            <a:xfrm>
              <a:off x="370647" y="4168169"/>
              <a:ext cx="324000" cy="324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74 h 512"/>
                <a:gd name="T12" fmla="*/ 347 w 512"/>
                <a:gd name="T13" fmla="*/ 382 h 512"/>
                <a:gd name="T14" fmla="*/ 341 w 512"/>
                <a:gd name="T15" fmla="*/ 384 h 512"/>
                <a:gd name="T16" fmla="*/ 337 w 512"/>
                <a:gd name="T17" fmla="*/ 383 h 512"/>
                <a:gd name="T18" fmla="*/ 252 w 512"/>
                <a:gd name="T19" fmla="*/ 348 h 512"/>
                <a:gd name="T20" fmla="*/ 222 w 512"/>
                <a:gd name="T21" fmla="*/ 390 h 512"/>
                <a:gd name="T22" fmla="*/ 222 w 512"/>
                <a:gd name="T23" fmla="*/ 390 h 512"/>
                <a:gd name="T24" fmla="*/ 213 w 512"/>
                <a:gd name="T25" fmla="*/ 394 h 512"/>
                <a:gd name="T26" fmla="*/ 212 w 512"/>
                <a:gd name="T27" fmla="*/ 394 h 512"/>
                <a:gd name="T28" fmla="*/ 203 w 512"/>
                <a:gd name="T29" fmla="*/ 387 h 512"/>
                <a:gd name="T30" fmla="*/ 184 w 512"/>
                <a:gd name="T31" fmla="*/ 320 h 512"/>
                <a:gd name="T32" fmla="*/ 102 w 512"/>
                <a:gd name="T33" fmla="*/ 287 h 512"/>
                <a:gd name="T34" fmla="*/ 96 w 512"/>
                <a:gd name="T35" fmla="*/ 278 h 512"/>
                <a:gd name="T36" fmla="*/ 101 w 512"/>
                <a:gd name="T37" fmla="*/ 268 h 512"/>
                <a:gd name="T38" fmla="*/ 357 w 512"/>
                <a:gd name="T39" fmla="*/ 118 h 512"/>
                <a:gd name="T40" fmla="*/ 368 w 512"/>
                <a:gd name="T41" fmla="*/ 119 h 512"/>
                <a:gd name="T42" fmla="*/ 373 w 512"/>
                <a:gd name="T43" fmla="*/ 129 h 512"/>
                <a:gd name="T44" fmla="*/ 352 w 512"/>
                <a:gd name="T45" fmla="*/ 374 h 512"/>
                <a:gd name="T46" fmla="*/ 304 w 512"/>
                <a:gd name="T47" fmla="*/ 174 h 512"/>
                <a:gd name="T48" fmla="*/ 187 w 512"/>
                <a:gd name="T49" fmla="*/ 298 h 512"/>
                <a:gd name="T50" fmla="*/ 130 w 512"/>
                <a:gd name="T51" fmla="*/ 275 h 512"/>
                <a:gd name="T52" fmla="*/ 304 w 512"/>
                <a:gd name="T53" fmla="*/ 174 h 512"/>
                <a:gd name="T54" fmla="*/ 294 w 512"/>
                <a:gd name="T55" fmla="*/ 216 h 512"/>
                <a:gd name="T56" fmla="*/ 225 w 512"/>
                <a:gd name="T57" fmla="*/ 325 h 512"/>
                <a:gd name="T58" fmla="*/ 224 w 512"/>
                <a:gd name="T59" fmla="*/ 326 h 512"/>
                <a:gd name="T60" fmla="*/ 215 w 512"/>
                <a:gd name="T61" fmla="*/ 351 h 512"/>
                <a:gd name="T62" fmla="*/ 204 w 512"/>
                <a:gd name="T63" fmla="*/ 312 h 512"/>
                <a:gd name="T64" fmla="*/ 294 w 512"/>
                <a:gd name="T65" fmla="*/ 216 h 512"/>
                <a:gd name="T66" fmla="*/ 251 w 512"/>
                <a:gd name="T67" fmla="*/ 325 h 512"/>
                <a:gd name="T68" fmla="*/ 348 w 512"/>
                <a:gd name="T69" fmla="*/ 170 h 512"/>
                <a:gd name="T70" fmla="*/ 332 w 512"/>
                <a:gd name="T71" fmla="*/ 358 h 512"/>
                <a:gd name="T72" fmla="*/ 251 w 512"/>
                <a:gd name="T73" fmla="*/ 32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74"/>
                  </a:moveTo>
                  <a:cubicBezTo>
                    <a:pt x="351" y="377"/>
                    <a:pt x="349" y="380"/>
                    <a:pt x="347" y="382"/>
                  </a:cubicBezTo>
                  <a:cubicBezTo>
                    <a:pt x="345" y="383"/>
                    <a:pt x="343" y="384"/>
                    <a:pt x="341" y="384"/>
                  </a:cubicBezTo>
                  <a:cubicBezTo>
                    <a:pt x="340" y="384"/>
                    <a:pt x="338" y="383"/>
                    <a:pt x="337" y="383"/>
                  </a:cubicBezTo>
                  <a:cubicBezTo>
                    <a:pt x="252" y="348"/>
                    <a:pt x="252" y="348"/>
                    <a:pt x="252" y="348"/>
                  </a:cubicBezTo>
                  <a:cubicBezTo>
                    <a:pt x="222" y="390"/>
                    <a:pt x="222" y="390"/>
                    <a:pt x="222" y="390"/>
                  </a:cubicBezTo>
                  <a:cubicBezTo>
                    <a:pt x="222" y="390"/>
                    <a:pt x="222" y="390"/>
                    <a:pt x="222" y="390"/>
                  </a:cubicBezTo>
                  <a:cubicBezTo>
                    <a:pt x="220" y="393"/>
                    <a:pt x="216" y="394"/>
                    <a:pt x="213" y="394"/>
                  </a:cubicBezTo>
                  <a:cubicBezTo>
                    <a:pt x="213" y="394"/>
                    <a:pt x="213" y="394"/>
                    <a:pt x="212" y="394"/>
                  </a:cubicBezTo>
                  <a:cubicBezTo>
                    <a:pt x="208" y="394"/>
                    <a:pt x="204" y="391"/>
                    <a:pt x="203" y="387"/>
                  </a:cubicBezTo>
                  <a:cubicBezTo>
                    <a:pt x="184" y="320"/>
                    <a:pt x="184" y="320"/>
                    <a:pt x="184" y="320"/>
                  </a:cubicBezTo>
                  <a:cubicBezTo>
                    <a:pt x="102" y="287"/>
                    <a:pt x="102" y="287"/>
                    <a:pt x="102" y="287"/>
                  </a:cubicBezTo>
                  <a:cubicBezTo>
                    <a:pt x="99" y="285"/>
                    <a:pt x="96" y="282"/>
                    <a:pt x="96" y="278"/>
                  </a:cubicBezTo>
                  <a:cubicBezTo>
                    <a:pt x="95" y="274"/>
                    <a:pt x="97" y="270"/>
                    <a:pt x="101" y="268"/>
                  </a:cubicBezTo>
                  <a:cubicBezTo>
                    <a:pt x="357" y="118"/>
                    <a:pt x="357" y="118"/>
                    <a:pt x="357" y="118"/>
                  </a:cubicBezTo>
                  <a:cubicBezTo>
                    <a:pt x="360" y="116"/>
                    <a:pt x="365" y="117"/>
                    <a:pt x="368" y="119"/>
                  </a:cubicBezTo>
                  <a:cubicBezTo>
                    <a:pt x="371" y="121"/>
                    <a:pt x="373" y="125"/>
                    <a:pt x="373" y="129"/>
                  </a:cubicBezTo>
                  <a:lnTo>
                    <a:pt x="352" y="374"/>
                  </a:lnTo>
                  <a:close/>
                  <a:moveTo>
                    <a:pt x="304" y="174"/>
                  </a:moveTo>
                  <a:cubicBezTo>
                    <a:pt x="187" y="298"/>
                    <a:pt x="187" y="298"/>
                    <a:pt x="187" y="298"/>
                  </a:cubicBezTo>
                  <a:cubicBezTo>
                    <a:pt x="130" y="275"/>
                    <a:pt x="130" y="275"/>
                    <a:pt x="130" y="275"/>
                  </a:cubicBezTo>
                  <a:lnTo>
                    <a:pt x="304" y="174"/>
                  </a:lnTo>
                  <a:close/>
                  <a:moveTo>
                    <a:pt x="294" y="216"/>
                  </a:moveTo>
                  <a:cubicBezTo>
                    <a:pt x="225" y="325"/>
                    <a:pt x="225" y="325"/>
                    <a:pt x="225" y="325"/>
                  </a:cubicBezTo>
                  <a:cubicBezTo>
                    <a:pt x="225" y="325"/>
                    <a:pt x="225" y="326"/>
                    <a:pt x="224" y="326"/>
                  </a:cubicBezTo>
                  <a:cubicBezTo>
                    <a:pt x="215" y="351"/>
                    <a:pt x="215" y="351"/>
                    <a:pt x="215" y="351"/>
                  </a:cubicBezTo>
                  <a:cubicBezTo>
                    <a:pt x="204" y="312"/>
                    <a:pt x="204" y="312"/>
                    <a:pt x="204" y="312"/>
                  </a:cubicBezTo>
                  <a:lnTo>
                    <a:pt x="294" y="216"/>
                  </a:lnTo>
                  <a:close/>
                  <a:moveTo>
                    <a:pt x="251" y="325"/>
                  </a:moveTo>
                  <a:cubicBezTo>
                    <a:pt x="348" y="170"/>
                    <a:pt x="348" y="170"/>
                    <a:pt x="348" y="170"/>
                  </a:cubicBezTo>
                  <a:cubicBezTo>
                    <a:pt x="332" y="358"/>
                    <a:pt x="332" y="358"/>
                    <a:pt x="332" y="358"/>
                  </a:cubicBezTo>
                  <a:lnTo>
                    <a:pt x="251" y="325"/>
                  </a:lnTo>
                  <a:close/>
                </a:path>
              </a:pathLst>
            </a:custGeom>
            <a:solidFill>
              <a:srgbClr val="0076A8"/>
            </a:solidFill>
            <a:ln>
              <a:noFill/>
            </a:ln>
          </p:spPr>
          <p:txBody>
            <a:bodyPr vert="horz" wrap="square" lIns="100796" tIns="50398" rIns="100796" bIns="50398" numCol="1" anchor="t" anchorCtr="0" compatLnSpc="1">
              <a:prstTxWarp prst="textNoShape">
                <a:avLst/>
              </a:prstTxWarp>
            </a:bodyPr>
            <a:lstStyle/>
            <a:p>
              <a:endParaRPr lang="en-GB" sz="1100">
                <a:latin typeface="Calibri Light" panose="020F0302020204030204" pitchFamily="34" charset="0"/>
                <a:cs typeface="Calibri Light" panose="020F0302020204030204" pitchFamily="34" charset="0"/>
              </a:endParaRPr>
            </a:p>
          </p:txBody>
        </p:sp>
        <p:sp>
          <p:nvSpPr>
            <p:cNvPr id="22" name="Rectangle 21">
              <a:extLst>
                <a:ext uri="{FF2B5EF4-FFF2-40B4-BE49-F238E27FC236}">
                  <a16:creationId xmlns:a16="http://schemas.microsoft.com/office/drawing/2014/main" id="{384CC926-BD5D-A8D8-57AD-F615101C505B}"/>
                </a:ext>
              </a:extLst>
            </p:cNvPr>
            <p:cNvSpPr/>
            <p:nvPr/>
          </p:nvSpPr>
          <p:spPr>
            <a:xfrm>
              <a:off x="803139" y="4195990"/>
              <a:ext cx="4302990" cy="338554"/>
            </a:xfrm>
            <a:prstGeom prst="rect">
              <a:avLst/>
            </a:prstGeom>
            <a:noFill/>
          </p:spPr>
          <p:txBody>
            <a:bodyPr wrap="square" lIns="0" tIns="0" rIns="0" bIns="0" rtlCol="0">
              <a:spAutoFit/>
            </a:bodyPr>
            <a:lstStyle/>
            <a:p>
              <a:pPr defTabSz="699802">
                <a:spcBef>
                  <a:spcPts val="1960"/>
                </a:spcBef>
              </a:pPr>
              <a:r>
                <a:rPr lang="en-GB" sz="1100">
                  <a:solidFill>
                    <a:srgbClr val="000000"/>
                  </a:solidFill>
                  <a:latin typeface="Calibri Light" panose="020F0302020204030204" pitchFamily="34" charset="0"/>
                  <a:cs typeface="Calibri Light" panose="020F0302020204030204" pitchFamily="34" charset="0"/>
                </a:rPr>
                <a:t>Ability to provide tailored injects to specific participants to review and evaluate processes for information sharing.</a:t>
              </a:r>
            </a:p>
          </p:txBody>
        </p:sp>
      </p:grpSp>
      <p:sp>
        <p:nvSpPr>
          <p:cNvPr id="33" name="TextBox 32">
            <a:extLst>
              <a:ext uri="{FF2B5EF4-FFF2-40B4-BE49-F238E27FC236}">
                <a16:creationId xmlns:a16="http://schemas.microsoft.com/office/drawing/2014/main" id="{C2E442CB-BC7D-92D9-22AD-1F5FB067C233}"/>
              </a:ext>
            </a:extLst>
          </p:cNvPr>
          <p:cNvSpPr txBox="1"/>
          <p:nvPr/>
        </p:nvSpPr>
        <p:spPr>
          <a:xfrm rot="19580225">
            <a:off x="5383749" y="3693436"/>
            <a:ext cx="5223772" cy="430887"/>
          </a:xfrm>
          <a:prstGeom prst="rect">
            <a:avLst/>
          </a:prstGeom>
          <a:noFill/>
        </p:spPr>
        <p:txBody>
          <a:bodyPr wrap="square" lIns="0" tIns="0" rIns="0" bIns="0" rtlCol="0">
            <a:spAutoFit/>
          </a:bodyPr>
          <a:lstStyle/>
          <a:p>
            <a:pPr algn="ctr">
              <a:spcBef>
                <a:spcPts val="600"/>
              </a:spcBef>
              <a:buSzPct val="100000"/>
            </a:pPr>
            <a:r>
              <a:rPr lang="en-US" sz="2800" b="1">
                <a:solidFill>
                  <a:srgbClr val="DA291C"/>
                </a:solidFill>
                <a:latin typeface="Calibri Light" panose="020F0302020204030204" pitchFamily="34" charset="0"/>
                <a:cs typeface="Calibri Light" panose="020F0302020204030204" pitchFamily="34" charset="0"/>
              </a:rPr>
              <a:t>For Illustrative Purpose Only</a:t>
            </a:r>
          </a:p>
        </p:txBody>
      </p:sp>
    </p:spTree>
    <p:extLst>
      <p:ext uri="{BB962C8B-B14F-4D97-AF65-F5344CB8AC3E}">
        <p14:creationId xmlns:p14="http://schemas.microsoft.com/office/powerpoint/2010/main" val="639410691"/>
      </p:ext>
    </p:extLst>
  </p:cSld>
  <p:clrMapOvr>
    <a:masterClrMapping/>
  </p:clrMapOvr>
  <p:transition spd="med">
    <p:pull/>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755"/>
            <a:ext cx="11297263" cy="6861755"/>
          </a:xfrm>
          <a:prstGeom prst="rect">
            <a:avLst/>
          </a:prstGeom>
        </p:spPr>
      </p:pic>
      <p:grpSp>
        <p:nvGrpSpPr>
          <p:cNvPr id="6" name="Group 5">
            <a:extLst>
              <a:ext uri="{FF2B5EF4-FFF2-40B4-BE49-F238E27FC236}">
                <a16:creationId xmlns:a16="http://schemas.microsoft.com/office/drawing/2014/main" id="{B0BFBE09-3C6A-44C7-9D03-289EB3B4D0A7}"/>
              </a:ext>
            </a:extLst>
          </p:cNvPr>
          <p:cNvGrpSpPr/>
          <p:nvPr/>
        </p:nvGrpSpPr>
        <p:grpSpPr>
          <a:xfrm>
            <a:off x="10791565" y="6425836"/>
            <a:ext cx="364450" cy="364450"/>
            <a:chOff x="2624423" y="132075"/>
            <a:chExt cx="864729" cy="864729"/>
          </a:xfrm>
        </p:grpSpPr>
        <p:sp>
          <p:nvSpPr>
            <p:cNvPr id="9" name="Oval 8">
              <a:extLst>
                <a:ext uri="{FF2B5EF4-FFF2-40B4-BE49-F238E27FC236}">
                  <a16:creationId xmlns:a16="http://schemas.microsoft.com/office/drawing/2014/main" id="{55483B00-835E-4566-9353-F7D981928BD8}"/>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defTabSz="1208241">
                <a:lnSpc>
                  <a:spcPct val="106000"/>
                </a:lnSpc>
                <a:defRPr/>
              </a:pPr>
              <a:endParaRPr lang="en-US" sz="2382" b="1" dirty="0">
                <a:solidFill>
                  <a:prstClr val="white"/>
                </a:solidFill>
                <a:latin typeface="Calibri" panose="020F0502020204030204" pitchFamily="34" charset="0"/>
              </a:endParaRPr>
            </a:p>
          </p:txBody>
        </p:sp>
        <p:grpSp>
          <p:nvGrpSpPr>
            <p:cNvPr id="12" name="Group 22">
              <a:extLst>
                <a:ext uri="{FF2B5EF4-FFF2-40B4-BE49-F238E27FC236}">
                  <a16:creationId xmlns:a16="http://schemas.microsoft.com/office/drawing/2014/main" id="{A0C95259-4342-46A6-B68D-4CF9DEC6145C}"/>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13" name="Freeform 23">
                <a:extLst>
                  <a:ext uri="{FF2B5EF4-FFF2-40B4-BE49-F238E27FC236}">
                    <a16:creationId xmlns:a16="http://schemas.microsoft.com/office/drawing/2014/main" id="{E6E79448-B6DB-4A98-9563-02D545B944F3}"/>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US" sz="2382" dirty="0">
                  <a:solidFill>
                    <a:prstClr val="black"/>
                  </a:solidFill>
                  <a:latin typeface="Calibri" panose="020F0502020204030204" pitchFamily="34" charset="0"/>
                </a:endParaRPr>
              </a:p>
            </p:txBody>
          </p:sp>
          <p:sp>
            <p:nvSpPr>
              <p:cNvPr id="14" name="Freeform 24">
                <a:extLst>
                  <a:ext uri="{FF2B5EF4-FFF2-40B4-BE49-F238E27FC236}">
                    <a16:creationId xmlns:a16="http://schemas.microsoft.com/office/drawing/2014/main" id="{939E9201-1847-488F-940F-2E436A00A10B}"/>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US" sz="2382" dirty="0">
                  <a:solidFill>
                    <a:prstClr val="black"/>
                  </a:solidFill>
                  <a:latin typeface="Calibri" panose="020F0502020204030204" pitchFamily="34" charset="0"/>
                </a:endParaRPr>
              </a:p>
            </p:txBody>
          </p:sp>
        </p:grpSp>
      </p:grpSp>
      <p:sp>
        <p:nvSpPr>
          <p:cNvPr id="15" name="Oval 14">
            <a:hlinkClick r:id="rId3" action="ppaction://hlinksldjump"/>
            <a:extLst>
              <a:ext uri="{FF2B5EF4-FFF2-40B4-BE49-F238E27FC236}">
                <a16:creationId xmlns:a16="http://schemas.microsoft.com/office/drawing/2014/main" id="{B201DE4F-2986-47A1-A1B4-FD9A0B785BBF}"/>
              </a:ext>
            </a:extLst>
          </p:cNvPr>
          <p:cNvSpPr/>
          <p:nvPr/>
        </p:nvSpPr>
        <p:spPr bwMode="gray">
          <a:xfrm>
            <a:off x="10751701" y="6426652"/>
            <a:ext cx="423091" cy="423091"/>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defTabSz="1208241">
              <a:lnSpc>
                <a:spcPct val="106000"/>
              </a:lnSpc>
              <a:defRPr/>
            </a:pPr>
            <a:endParaRPr lang="en-US" sz="1582" b="1" dirty="0">
              <a:solidFill>
                <a:prstClr val="white"/>
              </a:solidFill>
              <a:latin typeface="Calibri" panose="020F0502020204030204" pitchFamily="34" charset="0"/>
            </a:endParaRPr>
          </a:p>
        </p:txBody>
      </p:sp>
      <p:sp>
        <p:nvSpPr>
          <p:cNvPr id="16" name="Triangle 28">
            <a:extLst>
              <a:ext uri="{FF2B5EF4-FFF2-40B4-BE49-F238E27FC236}">
                <a16:creationId xmlns:a16="http://schemas.microsoft.com/office/drawing/2014/main" id="{72C38397-CF54-4069-B47A-2950D23E5447}"/>
              </a:ext>
            </a:extLst>
          </p:cNvPr>
          <p:cNvSpPr/>
          <p:nvPr/>
        </p:nvSpPr>
        <p:spPr>
          <a:xfrm rot="16200000">
            <a:off x="11086720" y="4289010"/>
            <a:ext cx="264966" cy="22841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21" name="Rectangle 20">
            <a:extLst>
              <a:ext uri="{FF2B5EF4-FFF2-40B4-BE49-F238E27FC236}">
                <a16:creationId xmlns:a16="http://schemas.microsoft.com/office/drawing/2014/main" id="{82F58F4D-E863-4E92-A378-5866D1130DFA}"/>
              </a:ext>
            </a:extLst>
          </p:cNvPr>
          <p:cNvSpPr/>
          <p:nvPr/>
        </p:nvSpPr>
        <p:spPr bwMode="gray">
          <a:xfrm>
            <a:off x="0" y="-19402"/>
            <a:ext cx="11308616" cy="6877401"/>
          </a:xfrm>
          <a:prstGeom prst="rect">
            <a:avLst/>
          </a:prstGeom>
          <a:solidFill>
            <a:schemeClr val="tx1">
              <a:alpha val="48000"/>
            </a:scheme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10" name="Title 1">
            <a:extLst>
              <a:ext uri="{FF2B5EF4-FFF2-40B4-BE49-F238E27FC236}">
                <a16:creationId xmlns:a16="http://schemas.microsoft.com/office/drawing/2014/main" id="{EC016919-2EDD-472D-8BFC-124E277AD105}"/>
              </a:ext>
            </a:extLst>
          </p:cNvPr>
          <p:cNvSpPr>
            <a:spLocks noGrp="1"/>
          </p:cNvSpPr>
          <p:nvPr>
            <p:ph type="title"/>
          </p:nvPr>
        </p:nvSpPr>
        <p:spPr bwMode="gray">
          <a:xfrm>
            <a:off x="522376" y="460105"/>
            <a:ext cx="10321069" cy="157755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b="0" dirty="0">
                <a:latin typeface="Calibri" panose="020F0502020204030204" pitchFamily="34" charset="0"/>
              </a:rPr>
              <a:t>Timeline and Assumptions</a:t>
            </a:r>
            <a:endParaRPr lang="en-US" b="0" noProof="0" dirty="0">
              <a:latin typeface="Calibri" panose="020F0502020204030204" pitchFamily="34" charset="0"/>
            </a:endParaRPr>
          </a:p>
        </p:txBody>
      </p:sp>
      <p:sp>
        <p:nvSpPr>
          <p:cNvPr id="11" name="Text Placeholder 2">
            <a:extLst>
              <a:ext uri="{FF2B5EF4-FFF2-40B4-BE49-F238E27FC236}">
                <a16:creationId xmlns:a16="http://schemas.microsoft.com/office/drawing/2014/main" id="{6DD4D66A-D889-4ED3-9DF1-AF716327167B}"/>
              </a:ext>
            </a:extLst>
          </p:cNvPr>
          <p:cNvSpPr txBox="1">
            <a:spLocks/>
          </p:cNvSpPr>
          <p:nvPr/>
        </p:nvSpPr>
        <p:spPr bwMode="gray">
          <a:xfrm>
            <a:off x="522376" y="2167362"/>
            <a:ext cx="10321069" cy="155192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pPr>
              <a:defRPr/>
            </a:pPr>
            <a:endParaRPr lang="en-US" sz="1982" dirty="0">
              <a:solidFill>
                <a:prstClr val="white"/>
              </a:solidFill>
              <a:latin typeface="Calibri" panose="020F0502020204030204" pitchFamily="34" charset="0"/>
            </a:endParaRPr>
          </a:p>
        </p:txBody>
      </p:sp>
      <p:sp>
        <p:nvSpPr>
          <p:cNvPr id="18" name="Text Placeholder 2">
            <a:extLst>
              <a:ext uri="{FF2B5EF4-FFF2-40B4-BE49-F238E27FC236}">
                <a16:creationId xmlns:a16="http://schemas.microsoft.com/office/drawing/2014/main" id="{6DD4D66A-D889-4ED3-9DF1-AF716327167B}"/>
              </a:ext>
            </a:extLst>
          </p:cNvPr>
          <p:cNvSpPr txBox="1">
            <a:spLocks/>
          </p:cNvSpPr>
          <p:nvPr/>
        </p:nvSpPr>
        <p:spPr bwMode="gray">
          <a:xfrm>
            <a:off x="553003" y="2297070"/>
            <a:ext cx="10580938" cy="155192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sz="1982" dirty="0">
                <a:latin typeface="Calibri" panose="020F0502020204030204" pitchFamily="34" charset="0"/>
                <a:ea typeface="Verdana" panose="020B0604030504040204" pitchFamily="34" charset="0"/>
                <a:cs typeface="Calibri" panose="020F0502020204030204" pitchFamily="34" charset="0"/>
              </a:rPr>
              <a:t>Deloitte has developed a streamlined approach to assist stc in addressing its requirements. We expect to mobilize our team of consultants upon signing the engagement letter and anticipate that it will require 6 – 8 months to execute the project, based on the delivery model selected by stc.</a:t>
            </a:r>
          </a:p>
        </p:txBody>
      </p:sp>
    </p:spTree>
    <p:extLst>
      <p:ext uri="{BB962C8B-B14F-4D97-AF65-F5344CB8AC3E}">
        <p14:creationId xmlns:p14="http://schemas.microsoft.com/office/powerpoint/2010/main" val="3956000695"/>
      </p:ext>
    </p:extLst>
  </p:cSld>
  <p:clrMapOvr>
    <a:masterClrMapping/>
  </p:clrMapOvr>
  <p:transition spd="med">
    <p:pull/>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C016919-2EDD-472D-8BFC-124E277AD105}"/>
              </a:ext>
            </a:extLst>
          </p:cNvPr>
          <p:cNvSpPr>
            <a:spLocks noGrp="1"/>
          </p:cNvSpPr>
          <p:nvPr>
            <p:ph type="title"/>
          </p:nvPr>
        </p:nvSpPr>
        <p:spPr bwMode="gray"/>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b="0" dirty="0">
                <a:latin typeface="Calibri" panose="020F0502020204030204" pitchFamily="34" charset="0"/>
              </a:rPr>
              <a:t>Project Timeline</a:t>
            </a:r>
            <a:endParaRPr lang="en-US" b="0" noProof="0" dirty="0">
              <a:latin typeface="Calibri" panose="020F0502020204030204" pitchFamily="34" charset="0"/>
            </a:endParaRPr>
          </a:p>
        </p:txBody>
      </p:sp>
      <p:sp>
        <p:nvSpPr>
          <p:cNvPr id="11" name="Text Placeholder 2">
            <a:extLst>
              <a:ext uri="{FF2B5EF4-FFF2-40B4-BE49-F238E27FC236}">
                <a16:creationId xmlns:a16="http://schemas.microsoft.com/office/drawing/2014/main" id="{6DD4D66A-D889-4ED3-9DF1-AF716327167B}"/>
              </a:ext>
            </a:extLst>
          </p:cNvPr>
          <p:cNvSpPr txBox="1">
            <a:spLocks/>
          </p:cNvSpPr>
          <p:nvPr/>
        </p:nvSpPr>
        <p:spPr bwMode="gray">
          <a:xfrm>
            <a:off x="522376" y="2167362"/>
            <a:ext cx="10321069" cy="155192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pPr>
              <a:defRPr/>
            </a:pPr>
            <a:endParaRPr lang="en-US" sz="1982" dirty="0">
              <a:solidFill>
                <a:prstClr val="white"/>
              </a:solidFill>
              <a:latin typeface="Calibri" panose="020F0502020204030204" pitchFamily="34" charset="0"/>
            </a:endParaRPr>
          </a:p>
        </p:txBody>
      </p:sp>
      <p:sp>
        <p:nvSpPr>
          <p:cNvPr id="4" name="Triangle 28">
            <a:extLst>
              <a:ext uri="{FF2B5EF4-FFF2-40B4-BE49-F238E27FC236}">
                <a16:creationId xmlns:a16="http://schemas.microsoft.com/office/drawing/2014/main" id="{77AD146F-C0B0-4ADD-8114-0437534D59B1}"/>
              </a:ext>
            </a:extLst>
          </p:cNvPr>
          <p:cNvSpPr/>
          <p:nvPr/>
        </p:nvSpPr>
        <p:spPr>
          <a:xfrm rot="16200000">
            <a:off x="11086720" y="4289010"/>
            <a:ext cx="264966" cy="22841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Tree>
    <p:extLst>
      <p:ext uri="{BB962C8B-B14F-4D97-AF65-F5344CB8AC3E}">
        <p14:creationId xmlns:p14="http://schemas.microsoft.com/office/powerpoint/2010/main" val="3253165536"/>
      </p:ext>
    </p:extLst>
  </p:cSld>
  <p:clrMapOvr>
    <a:masterClrMapping/>
  </p:clrMapOvr>
  <p:transition spd="med">
    <p:pull/>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30820"/>
            <a:ext cx="11147258" cy="330986"/>
          </a:xfrm>
        </p:spPr>
        <p:txBody>
          <a:bodyPr/>
          <a:lstStyle/>
          <a:p>
            <a:r>
              <a:rPr lang="en-US" sz="2382" dirty="0">
                <a:solidFill>
                  <a:srgbClr val="0097A9"/>
                </a:solidFill>
              </a:rPr>
              <a:t>Project Timeline</a:t>
            </a:r>
          </a:p>
        </p:txBody>
      </p:sp>
      <p:graphicFrame>
        <p:nvGraphicFramePr>
          <p:cNvPr id="10" name="Table 9">
            <a:extLst>
              <a:ext uri="{FF2B5EF4-FFF2-40B4-BE49-F238E27FC236}">
                <a16:creationId xmlns:a16="http://schemas.microsoft.com/office/drawing/2014/main" id="{3451D527-DC03-4CF5-AE58-5272F74AE57E}"/>
              </a:ext>
            </a:extLst>
          </p:cNvPr>
          <p:cNvGraphicFramePr>
            <a:graphicFrameLocks noGrp="1"/>
          </p:cNvGraphicFramePr>
          <p:nvPr>
            <p:extLst>
              <p:ext uri="{D42A27DB-BD31-4B8C-83A1-F6EECF244321}">
                <p14:modId xmlns:p14="http://schemas.microsoft.com/office/powerpoint/2010/main" val="1900139227"/>
              </p:ext>
            </p:extLst>
          </p:nvPr>
        </p:nvGraphicFramePr>
        <p:xfrm>
          <a:off x="531520" y="1356274"/>
          <a:ext cx="10281007" cy="4779355"/>
        </p:xfrm>
        <a:graphic>
          <a:graphicData uri="http://schemas.openxmlformats.org/drawingml/2006/table">
            <a:tbl>
              <a:tblPr firstRow="1" bandRow="1">
                <a:tableStyleId>{5C22544A-7EE6-4342-B048-85BDC9FD1C3A}</a:tableStyleId>
              </a:tblPr>
              <a:tblGrid>
                <a:gridCol w="2963119">
                  <a:extLst>
                    <a:ext uri="{9D8B030D-6E8A-4147-A177-3AD203B41FA5}">
                      <a16:colId xmlns:a16="http://schemas.microsoft.com/office/drawing/2014/main" val="20001"/>
                    </a:ext>
                  </a:extLst>
                </a:gridCol>
                <a:gridCol w="304912">
                  <a:extLst>
                    <a:ext uri="{9D8B030D-6E8A-4147-A177-3AD203B41FA5}">
                      <a16:colId xmlns:a16="http://schemas.microsoft.com/office/drawing/2014/main" val="1844904225"/>
                    </a:ext>
                  </a:extLst>
                </a:gridCol>
                <a:gridCol w="304912">
                  <a:extLst>
                    <a:ext uri="{9D8B030D-6E8A-4147-A177-3AD203B41FA5}">
                      <a16:colId xmlns:a16="http://schemas.microsoft.com/office/drawing/2014/main" val="3101950510"/>
                    </a:ext>
                  </a:extLst>
                </a:gridCol>
                <a:gridCol w="304912">
                  <a:extLst>
                    <a:ext uri="{9D8B030D-6E8A-4147-A177-3AD203B41FA5}">
                      <a16:colId xmlns:a16="http://schemas.microsoft.com/office/drawing/2014/main" val="1727453263"/>
                    </a:ext>
                  </a:extLst>
                </a:gridCol>
                <a:gridCol w="304912">
                  <a:extLst>
                    <a:ext uri="{9D8B030D-6E8A-4147-A177-3AD203B41FA5}">
                      <a16:colId xmlns:a16="http://schemas.microsoft.com/office/drawing/2014/main" val="413503088"/>
                    </a:ext>
                  </a:extLst>
                </a:gridCol>
                <a:gridCol w="304912">
                  <a:extLst>
                    <a:ext uri="{9D8B030D-6E8A-4147-A177-3AD203B41FA5}">
                      <a16:colId xmlns:a16="http://schemas.microsoft.com/office/drawing/2014/main" val="3433874862"/>
                    </a:ext>
                  </a:extLst>
                </a:gridCol>
                <a:gridCol w="304912">
                  <a:extLst>
                    <a:ext uri="{9D8B030D-6E8A-4147-A177-3AD203B41FA5}">
                      <a16:colId xmlns:a16="http://schemas.microsoft.com/office/drawing/2014/main" val="3757314704"/>
                    </a:ext>
                  </a:extLst>
                </a:gridCol>
                <a:gridCol w="304912">
                  <a:extLst>
                    <a:ext uri="{9D8B030D-6E8A-4147-A177-3AD203B41FA5}">
                      <a16:colId xmlns:a16="http://schemas.microsoft.com/office/drawing/2014/main" val="542263552"/>
                    </a:ext>
                  </a:extLst>
                </a:gridCol>
                <a:gridCol w="304912">
                  <a:extLst>
                    <a:ext uri="{9D8B030D-6E8A-4147-A177-3AD203B41FA5}">
                      <a16:colId xmlns:a16="http://schemas.microsoft.com/office/drawing/2014/main" val="4167969963"/>
                    </a:ext>
                  </a:extLst>
                </a:gridCol>
                <a:gridCol w="304912">
                  <a:extLst>
                    <a:ext uri="{9D8B030D-6E8A-4147-A177-3AD203B41FA5}">
                      <a16:colId xmlns:a16="http://schemas.microsoft.com/office/drawing/2014/main" val="3824830736"/>
                    </a:ext>
                  </a:extLst>
                </a:gridCol>
                <a:gridCol w="304912">
                  <a:extLst>
                    <a:ext uri="{9D8B030D-6E8A-4147-A177-3AD203B41FA5}">
                      <a16:colId xmlns:a16="http://schemas.microsoft.com/office/drawing/2014/main" val="2509419748"/>
                    </a:ext>
                  </a:extLst>
                </a:gridCol>
                <a:gridCol w="304912">
                  <a:extLst>
                    <a:ext uri="{9D8B030D-6E8A-4147-A177-3AD203B41FA5}">
                      <a16:colId xmlns:a16="http://schemas.microsoft.com/office/drawing/2014/main" val="2376510284"/>
                    </a:ext>
                  </a:extLst>
                </a:gridCol>
                <a:gridCol w="304912">
                  <a:extLst>
                    <a:ext uri="{9D8B030D-6E8A-4147-A177-3AD203B41FA5}">
                      <a16:colId xmlns:a16="http://schemas.microsoft.com/office/drawing/2014/main" val="3090016417"/>
                    </a:ext>
                  </a:extLst>
                </a:gridCol>
                <a:gridCol w="304912">
                  <a:extLst>
                    <a:ext uri="{9D8B030D-6E8A-4147-A177-3AD203B41FA5}">
                      <a16:colId xmlns:a16="http://schemas.microsoft.com/office/drawing/2014/main" val="201139056"/>
                    </a:ext>
                  </a:extLst>
                </a:gridCol>
                <a:gridCol w="304912">
                  <a:extLst>
                    <a:ext uri="{9D8B030D-6E8A-4147-A177-3AD203B41FA5}">
                      <a16:colId xmlns:a16="http://schemas.microsoft.com/office/drawing/2014/main" val="2519245950"/>
                    </a:ext>
                  </a:extLst>
                </a:gridCol>
                <a:gridCol w="304912">
                  <a:extLst>
                    <a:ext uri="{9D8B030D-6E8A-4147-A177-3AD203B41FA5}">
                      <a16:colId xmlns:a16="http://schemas.microsoft.com/office/drawing/2014/main" val="4015681499"/>
                    </a:ext>
                  </a:extLst>
                </a:gridCol>
                <a:gridCol w="304912">
                  <a:extLst>
                    <a:ext uri="{9D8B030D-6E8A-4147-A177-3AD203B41FA5}">
                      <a16:colId xmlns:a16="http://schemas.microsoft.com/office/drawing/2014/main" val="3182957225"/>
                    </a:ext>
                  </a:extLst>
                </a:gridCol>
                <a:gridCol w="304912">
                  <a:extLst>
                    <a:ext uri="{9D8B030D-6E8A-4147-A177-3AD203B41FA5}">
                      <a16:colId xmlns:a16="http://schemas.microsoft.com/office/drawing/2014/main" val="407564724"/>
                    </a:ext>
                  </a:extLst>
                </a:gridCol>
                <a:gridCol w="304912">
                  <a:extLst>
                    <a:ext uri="{9D8B030D-6E8A-4147-A177-3AD203B41FA5}">
                      <a16:colId xmlns:a16="http://schemas.microsoft.com/office/drawing/2014/main" val="2194142809"/>
                    </a:ext>
                  </a:extLst>
                </a:gridCol>
                <a:gridCol w="304912">
                  <a:extLst>
                    <a:ext uri="{9D8B030D-6E8A-4147-A177-3AD203B41FA5}">
                      <a16:colId xmlns:a16="http://schemas.microsoft.com/office/drawing/2014/main" val="863679265"/>
                    </a:ext>
                  </a:extLst>
                </a:gridCol>
                <a:gridCol w="304912">
                  <a:extLst>
                    <a:ext uri="{9D8B030D-6E8A-4147-A177-3AD203B41FA5}">
                      <a16:colId xmlns:a16="http://schemas.microsoft.com/office/drawing/2014/main" val="417936828"/>
                    </a:ext>
                  </a:extLst>
                </a:gridCol>
                <a:gridCol w="304912">
                  <a:extLst>
                    <a:ext uri="{9D8B030D-6E8A-4147-A177-3AD203B41FA5}">
                      <a16:colId xmlns:a16="http://schemas.microsoft.com/office/drawing/2014/main" val="2083716225"/>
                    </a:ext>
                  </a:extLst>
                </a:gridCol>
                <a:gridCol w="304912">
                  <a:extLst>
                    <a:ext uri="{9D8B030D-6E8A-4147-A177-3AD203B41FA5}">
                      <a16:colId xmlns:a16="http://schemas.microsoft.com/office/drawing/2014/main" val="2776807598"/>
                    </a:ext>
                  </a:extLst>
                </a:gridCol>
                <a:gridCol w="304912">
                  <a:extLst>
                    <a:ext uri="{9D8B030D-6E8A-4147-A177-3AD203B41FA5}">
                      <a16:colId xmlns:a16="http://schemas.microsoft.com/office/drawing/2014/main" val="830873300"/>
                    </a:ext>
                  </a:extLst>
                </a:gridCol>
                <a:gridCol w="304912">
                  <a:extLst>
                    <a:ext uri="{9D8B030D-6E8A-4147-A177-3AD203B41FA5}">
                      <a16:colId xmlns:a16="http://schemas.microsoft.com/office/drawing/2014/main" val="2892415002"/>
                    </a:ext>
                  </a:extLst>
                </a:gridCol>
              </a:tblGrid>
              <a:tr h="360829">
                <a:tc>
                  <a:txBody>
                    <a:bodyPr/>
                    <a:lstStyle/>
                    <a:p>
                      <a:pPr algn="l"/>
                      <a:r>
                        <a:rPr lang="en-US" sz="1000" b="1" dirty="0">
                          <a:solidFill>
                            <a:schemeClr val="bg1"/>
                          </a:solidFill>
                          <a:latin typeface="Calibri" panose="020F0502020204030204" pitchFamily="34" charset="0"/>
                          <a:cs typeface="Calibri" panose="020F0502020204030204" pitchFamily="34" charset="0"/>
                        </a:rPr>
                        <a:t>Engagement Phase</a:t>
                      </a: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gridSpan="4">
                  <a:txBody>
                    <a:bodyPr/>
                    <a:lstStyle/>
                    <a:p>
                      <a:pPr algn="ctr"/>
                      <a:r>
                        <a:rPr lang="en-US" sz="1000" b="1" dirty="0">
                          <a:latin typeface="Calibri" panose="020F0502020204030204" pitchFamily="34" charset="0"/>
                          <a:cs typeface="Calibri" panose="020F0502020204030204" pitchFamily="34" charset="0"/>
                        </a:rPr>
                        <a:t>Month 1</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2</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3</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4</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5</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6</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637739316"/>
                  </a:ext>
                </a:extLst>
              </a:tr>
              <a:tr h="31560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latin typeface="Calibri" panose="020F0502020204030204" pitchFamily="34" charset="0"/>
                          <a:ea typeface="+mn-ea"/>
                          <a:cs typeface="Calibri" panose="020F0502020204030204" pitchFamily="34" charset="0"/>
                        </a:rPr>
                        <a:t>Project Planning and Initiation</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2741827"/>
                  </a:ext>
                </a:extLst>
              </a:tr>
              <a:tr h="31560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latin typeface="Calibri" panose="020F0502020204030204" pitchFamily="34" charset="0"/>
                          <a:ea typeface="+mn-ea"/>
                          <a:cs typeface="Calibri" panose="020F0502020204030204" pitchFamily="34" charset="0"/>
                        </a:rPr>
                        <a:t>Phase 1: BC Risk Assessment</a:t>
                      </a: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4018428"/>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Risk Assessment for Locations in Riyadh</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4611673"/>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Risk Assessment for Locations outside Riyadh</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3114770"/>
                  </a:ext>
                </a:extLst>
              </a:tr>
              <a:tr h="315609">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latin typeface="Calibri" panose="020F0502020204030204" pitchFamily="34" charset="0"/>
                          <a:ea typeface="+mn-ea"/>
                          <a:cs typeface="Calibri" panose="020F0502020204030204" pitchFamily="34" charset="0"/>
                        </a:rPr>
                        <a:t>Phase 2: BCM Strategy and Roadma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kern="1200" dirty="0">
                        <a:solidFill>
                          <a:schemeClr val="bg1"/>
                        </a:solidFill>
                        <a:latin typeface="Calibri" panose="020F0502020204030204" pitchFamily="34" charset="0"/>
                        <a:ea typeface="+mn-ea"/>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5210972"/>
                  </a:ext>
                </a:extLst>
              </a:tr>
              <a:tr h="315609">
                <a:tc>
                  <a:txBody>
                    <a:bodyPr/>
                    <a:lstStyle/>
                    <a:p>
                      <a:pPr marL="2841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BCM Current State Assessment and Roadma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kern="1200" dirty="0">
                        <a:solidFill>
                          <a:schemeClr val="bg1"/>
                        </a:solidFill>
                        <a:latin typeface="Calibri" panose="020F0502020204030204" pitchFamily="34" charset="0"/>
                        <a:ea typeface="+mn-ea"/>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024090"/>
                  </a:ext>
                </a:extLst>
              </a:tr>
              <a:tr h="315609">
                <a:tc>
                  <a:txBody>
                    <a:bodyPr/>
                    <a:lstStyle/>
                    <a:p>
                      <a:pPr marL="2841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BCM Recovery Strategy</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kern="1200" dirty="0">
                        <a:solidFill>
                          <a:schemeClr val="bg1"/>
                        </a:solidFill>
                        <a:latin typeface="Calibri" panose="020F0502020204030204" pitchFamily="34" charset="0"/>
                        <a:ea typeface="+mn-ea"/>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2107226"/>
                  </a:ext>
                </a:extLst>
              </a:tr>
              <a:tr h="315609">
                <a:tc>
                  <a:txBody>
                    <a:bodyPr/>
                    <a:lstStyle/>
                    <a:p>
                      <a:r>
                        <a:rPr lang="en-US" sz="1000" b="1" kern="1200" baseline="0" dirty="0">
                          <a:solidFill>
                            <a:schemeClr val="tx1"/>
                          </a:solidFill>
                          <a:latin typeface="Calibri" panose="020F0502020204030204" pitchFamily="34" charset="0"/>
                          <a:ea typeface="+mn-ea"/>
                          <a:cs typeface="Calibri" panose="020F0502020204030204" pitchFamily="34" charset="0"/>
                        </a:rPr>
                        <a:t>Phase 3: Plans Review and Enhancement</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293677"/>
                  </a:ext>
                </a:extLst>
              </a:tr>
              <a:tr h="315609">
                <a:tc>
                  <a:txBody>
                    <a:bodyPr/>
                    <a:lstStyle/>
                    <a:p>
                      <a:pPr marL="2841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IMP, CMP and CC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3519294"/>
                  </a:ext>
                </a:extLst>
              </a:tr>
              <a:tr h="315609">
                <a:tc>
                  <a:txBody>
                    <a:bodyPr/>
                    <a:lstStyle/>
                    <a:p>
                      <a:pPr marL="2841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BCPs, IT DRP and TRPs</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6385668"/>
                  </a:ext>
                </a:extLst>
              </a:tr>
              <a:tr h="31560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latin typeface="Calibri" panose="020F0502020204030204" pitchFamily="34" charset="0"/>
                          <a:ea typeface="+mn-ea"/>
                          <a:cs typeface="Calibri" panose="020F0502020204030204" pitchFamily="34" charset="0"/>
                        </a:rPr>
                        <a:t>Phase 4: BCM Exercising</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extLst>
                  <a:ext uri="{0D108BD9-81ED-4DB2-BD59-A6C34878D82A}">
                    <a16:rowId xmlns:a16="http://schemas.microsoft.com/office/drawing/2014/main" val="2555359366"/>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BCM Exercising Program and Scenarios</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3677289"/>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Crisis Simulations (CMP and CC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80421456"/>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Tabletop Exercises (IMP, BCP, IT DRP, TR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526242508"/>
                  </a:ext>
                </a:extLst>
              </a:tr>
            </a:tbl>
          </a:graphicData>
        </a:graphic>
      </p:graphicFrame>
      <p:sp>
        <p:nvSpPr>
          <p:cNvPr id="11" name="Triangle 28">
            <a:extLst>
              <a:ext uri="{FF2B5EF4-FFF2-40B4-BE49-F238E27FC236}">
                <a16:creationId xmlns:a16="http://schemas.microsoft.com/office/drawing/2014/main" id="{2E0DD30B-D4AE-4C22-8F4D-C63A5A098177}"/>
              </a:ext>
            </a:extLst>
          </p:cNvPr>
          <p:cNvSpPr/>
          <p:nvPr/>
        </p:nvSpPr>
        <p:spPr>
          <a:xfrm rot="16200000">
            <a:off x="11086720" y="4289010"/>
            <a:ext cx="264966" cy="22841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9" name="Rectangle 8">
            <a:extLst>
              <a:ext uri="{FF2B5EF4-FFF2-40B4-BE49-F238E27FC236}">
                <a16:creationId xmlns:a16="http://schemas.microsoft.com/office/drawing/2014/main" id="{3609F5A2-FFEB-4CB8-8EBE-7659546DE377}"/>
              </a:ext>
            </a:extLst>
          </p:cNvPr>
          <p:cNvSpPr/>
          <p:nvPr/>
        </p:nvSpPr>
        <p:spPr bwMode="gray">
          <a:xfrm>
            <a:off x="1" y="0"/>
            <a:ext cx="165462" cy="6858000"/>
          </a:xfrm>
          <a:prstGeom prst="rect">
            <a:avLst/>
          </a:prstGeom>
          <a:solidFill>
            <a:srgbClr val="0097A9"/>
          </a:soli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 name="Text Placeholder 1">
            <a:extLst>
              <a:ext uri="{FF2B5EF4-FFF2-40B4-BE49-F238E27FC236}">
                <a16:creationId xmlns:a16="http://schemas.microsoft.com/office/drawing/2014/main" id="{854B9BEF-CFBC-93EB-2B85-6E43A6D134BF}"/>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Delivery Model Option 1 – Value-based, Cost-effective Scope Delivery</a:t>
            </a:r>
          </a:p>
        </p:txBody>
      </p:sp>
    </p:spTree>
    <p:extLst>
      <p:ext uri="{BB962C8B-B14F-4D97-AF65-F5344CB8AC3E}">
        <p14:creationId xmlns:p14="http://schemas.microsoft.com/office/powerpoint/2010/main" val="1166754518"/>
      </p:ext>
    </p:extLst>
  </p:cSld>
  <p:clrMapOvr>
    <a:masterClrMapping/>
  </p:clrMapOvr>
  <p:transition spd="med">
    <p:pull/>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2">
            <a:extLst>
              <a:ext uri="{FF2B5EF4-FFF2-40B4-BE49-F238E27FC236}">
                <a16:creationId xmlns:a16="http://schemas.microsoft.com/office/drawing/2014/main" id="{66F94503-D0A3-4D59-B031-E66EEF59E9E1}"/>
              </a:ext>
            </a:extLst>
          </p:cNvPr>
          <p:cNvSpPr>
            <a:spLocks noGrp="1"/>
          </p:cNvSpPr>
          <p:nvPr>
            <p:ph type="title"/>
          </p:nvPr>
        </p:nvSpPr>
        <p:spPr>
          <a:xfrm>
            <a:off x="522373" y="430820"/>
            <a:ext cx="11147258" cy="330986"/>
          </a:xfrm>
        </p:spPr>
        <p:txBody>
          <a:bodyPr/>
          <a:lstStyle/>
          <a:p>
            <a:r>
              <a:rPr lang="en-US" sz="2382" dirty="0">
                <a:solidFill>
                  <a:srgbClr val="0097A9"/>
                </a:solidFill>
              </a:rPr>
              <a:t>Project Timeline</a:t>
            </a:r>
          </a:p>
        </p:txBody>
      </p:sp>
      <p:graphicFrame>
        <p:nvGraphicFramePr>
          <p:cNvPr id="10" name="Table 9">
            <a:extLst>
              <a:ext uri="{FF2B5EF4-FFF2-40B4-BE49-F238E27FC236}">
                <a16:creationId xmlns:a16="http://schemas.microsoft.com/office/drawing/2014/main" id="{3451D527-DC03-4CF5-AE58-5272F74AE57E}"/>
              </a:ext>
            </a:extLst>
          </p:cNvPr>
          <p:cNvGraphicFramePr>
            <a:graphicFrameLocks noGrp="1"/>
          </p:cNvGraphicFramePr>
          <p:nvPr>
            <p:extLst>
              <p:ext uri="{D42A27DB-BD31-4B8C-83A1-F6EECF244321}">
                <p14:modId xmlns:p14="http://schemas.microsoft.com/office/powerpoint/2010/main" val="1524629170"/>
              </p:ext>
            </p:extLst>
          </p:nvPr>
        </p:nvGraphicFramePr>
        <p:xfrm>
          <a:off x="531520" y="1356274"/>
          <a:ext cx="10353632" cy="4779355"/>
        </p:xfrm>
        <a:graphic>
          <a:graphicData uri="http://schemas.openxmlformats.org/drawingml/2006/table">
            <a:tbl>
              <a:tblPr firstRow="1" bandRow="1">
                <a:tableStyleId>{5C22544A-7EE6-4342-B048-85BDC9FD1C3A}</a:tableStyleId>
              </a:tblPr>
              <a:tblGrid>
                <a:gridCol w="2962656">
                  <a:extLst>
                    <a:ext uri="{9D8B030D-6E8A-4147-A177-3AD203B41FA5}">
                      <a16:colId xmlns:a16="http://schemas.microsoft.com/office/drawing/2014/main" val="20001"/>
                    </a:ext>
                  </a:extLst>
                </a:gridCol>
                <a:gridCol w="230968">
                  <a:extLst>
                    <a:ext uri="{9D8B030D-6E8A-4147-A177-3AD203B41FA5}">
                      <a16:colId xmlns:a16="http://schemas.microsoft.com/office/drawing/2014/main" val="1844904225"/>
                    </a:ext>
                  </a:extLst>
                </a:gridCol>
                <a:gridCol w="230968">
                  <a:extLst>
                    <a:ext uri="{9D8B030D-6E8A-4147-A177-3AD203B41FA5}">
                      <a16:colId xmlns:a16="http://schemas.microsoft.com/office/drawing/2014/main" val="3101950510"/>
                    </a:ext>
                  </a:extLst>
                </a:gridCol>
                <a:gridCol w="230968">
                  <a:extLst>
                    <a:ext uri="{9D8B030D-6E8A-4147-A177-3AD203B41FA5}">
                      <a16:colId xmlns:a16="http://schemas.microsoft.com/office/drawing/2014/main" val="1727453263"/>
                    </a:ext>
                  </a:extLst>
                </a:gridCol>
                <a:gridCol w="230968">
                  <a:extLst>
                    <a:ext uri="{9D8B030D-6E8A-4147-A177-3AD203B41FA5}">
                      <a16:colId xmlns:a16="http://schemas.microsoft.com/office/drawing/2014/main" val="413503088"/>
                    </a:ext>
                  </a:extLst>
                </a:gridCol>
                <a:gridCol w="230968">
                  <a:extLst>
                    <a:ext uri="{9D8B030D-6E8A-4147-A177-3AD203B41FA5}">
                      <a16:colId xmlns:a16="http://schemas.microsoft.com/office/drawing/2014/main" val="3433874862"/>
                    </a:ext>
                  </a:extLst>
                </a:gridCol>
                <a:gridCol w="230968">
                  <a:extLst>
                    <a:ext uri="{9D8B030D-6E8A-4147-A177-3AD203B41FA5}">
                      <a16:colId xmlns:a16="http://schemas.microsoft.com/office/drawing/2014/main" val="3757314704"/>
                    </a:ext>
                  </a:extLst>
                </a:gridCol>
                <a:gridCol w="230968">
                  <a:extLst>
                    <a:ext uri="{9D8B030D-6E8A-4147-A177-3AD203B41FA5}">
                      <a16:colId xmlns:a16="http://schemas.microsoft.com/office/drawing/2014/main" val="542263552"/>
                    </a:ext>
                  </a:extLst>
                </a:gridCol>
                <a:gridCol w="230968">
                  <a:extLst>
                    <a:ext uri="{9D8B030D-6E8A-4147-A177-3AD203B41FA5}">
                      <a16:colId xmlns:a16="http://schemas.microsoft.com/office/drawing/2014/main" val="4167969963"/>
                    </a:ext>
                  </a:extLst>
                </a:gridCol>
                <a:gridCol w="230968">
                  <a:extLst>
                    <a:ext uri="{9D8B030D-6E8A-4147-A177-3AD203B41FA5}">
                      <a16:colId xmlns:a16="http://schemas.microsoft.com/office/drawing/2014/main" val="3824830736"/>
                    </a:ext>
                  </a:extLst>
                </a:gridCol>
                <a:gridCol w="230968">
                  <a:extLst>
                    <a:ext uri="{9D8B030D-6E8A-4147-A177-3AD203B41FA5}">
                      <a16:colId xmlns:a16="http://schemas.microsoft.com/office/drawing/2014/main" val="2509419748"/>
                    </a:ext>
                  </a:extLst>
                </a:gridCol>
                <a:gridCol w="230968">
                  <a:extLst>
                    <a:ext uri="{9D8B030D-6E8A-4147-A177-3AD203B41FA5}">
                      <a16:colId xmlns:a16="http://schemas.microsoft.com/office/drawing/2014/main" val="2376510284"/>
                    </a:ext>
                  </a:extLst>
                </a:gridCol>
                <a:gridCol w="230968">
                  <a:extLst>
                    <a:ext uri="{9D8B030D-6E8A-4147-A177-3AD203B41FA5}">
                      <a16:colId xmlns:a16="http://schemas.microsoft.com/office/drawing/2014/main" val="3090016417"/>
                    </a:ext>
                  </a:extLst>
                </a:gridCol>
                <a:gridCol w="230968">
                  <a:extLst>
                    <a:ext uri="{9D8B030D-6E8A-4147-A177-3AD203B41FA5}">
                      <a16:colId xmlns:a16="http://schemas.microsoft.com/office/drawing/2014/main" val="201139056"/>
                    </a:ext>
                  </a:extLst>
                </a:gridCol>
                <a:gridCol w="230968">
                  <a:extLst>
                    <a:ext uri="{9D8B030D-6E8A-4147-A177-3AD203B41FA5}">
                      <a16:colId xmlns:a16="http://schemas.microsoft.com/office/drawing/2014/main" val="2519245950"/>
                    </a:ext>
                  </a:extLst>
                </a:gridCol>
                <a:gridCol w="230968">
                  <a:extLst>
                    <a:ext uri="{9D8B030D-6E8A-4147-A177-3AD203B41FA5}">
                      <a16:colId xmlns:a16="http://schemas.microsoft.com/office/drawing/2014/main" val="4015681499"/>
                    </a:ext>
                  </a:extLst>
                </a:gridCol>
                <a:gridCol w="230968">
                  <a:extLst>
                    <a:ext uri="{9D8B030D-6E8A-4147-A177-3AD203B41FA5}">
                      <a16:colId xmlns:a16="http://schemas.microsoft.com/office/drawing/2014/main" val="3182957225"/>
                    </a:ext>
                  </a:extLst>
                </a:gridCol>
                <a:gridCol w="230968">
                  <a:extLst>
                    <a:ext uri="{9D8B030D-6E8A-4147-A177-3AD203B41FA5}">
                      <a16:colId xmlns:a16="http://schemas.microsoft.com/office/drawing/2014/main" val="407564724"/>
                    </a:ext>
                  </a:extLst>
                </a:gridCol>
                <a:gridCol w="230968">
                  <a:extLst>
                    <a:ext uri="{9D8B030D-6E8A-4147-A177-3AD203B41FA5}">
                      <a16:colId xmlns:a16="http://schemas.microsoft.com/office/drawing/2014/main" val="2194142809"/>
                    </a:ext>
                  </a:extLst>
                </a:gridCol>
                <a:gridCol w="230968">
                  <a:extLst>
                    <a:ext uri="{9D8B030D-6E8A-4147-A177-3AD203B41FA5}">
                      <a16:colId xmlns:a16="http://schemas.microsoft.com/office/drawing/2014/main" val="863679265"/>
                    </a:ext>
                  </a:extLst>
                </a:gridCol>
                <a:gridCol w="230968">
                  <a:extLst>
                    <a:ext uri="{9D8B030D-6E8A-4147-A177-3AD203B41FA5}">
                      <a16:colId xmlns:a16="http://schemas.microsoft.com/office/drawing/2014/main" val="417936828"/>
                    </a:ext>
                  </a:extLst>
                </a:gridCol>
                <a:gridCol w="230968">
                  <a:extLst>
                    <a:ext uri="{9D8B030D-6E8A-4147-A177-3AD203B41FA5}">
                      <a16:colId xmlns:a16="http://schemas.microsoft.com/office/drawing/2014/main" val="2083716225"/>
                    </a:ext>
                  </a:extLst>
                </a:gridCol>
                <a:gridCol w="230968">
                  <a:extLst>
                    <a:ext uri="{9D8B030D-6E8A-4147-A177-3AD203B41FA5}">
                      <a16:colId xmlns:a16="http://schemas.microsoft.com/office/drawing/2014/main" val="2776807598"/>
                    </a:ext>
                  </a:extLst>
                </a:gridCol>
                <a:gridCol w="230968">
                  <a:extLst>
                    <a:ext uri="{9D8B030D-6E8A-4147-A177-3AD203B41FA5}">
                      <a16:colId xmlns:a16="http://schemas.microsoft.com/office/drawing/2014/main" val="830873300"/>
                    </a:ext>
                  </a:extLst>
                </a:gridCol>
                <a:gridCol w="230968">
                  <a:extLst>
                    <a:ext uri="{9D8B030D-6E8A-4147-A177-3AD203B41FA5}">
                      <a16:colId xmlns:a16="http://schemas.microsoft.com/office/drawing/2014/main" val="2892415002"/>
                    </a:ext>
                  </a:extLst>
                </a:gridCol>
                <a:gridCol w="230968">
                  <a:extLst>
                    <a:ext uri="{9D8B030D-6E8A-4147-A177-3AD203B41FA5}">
                      <a16:colId xmlns:a16="http://schemas.microsoft.com/office/drawing/2014/main" val="3352745487"/>
                    </a:ext>
                  </a:extLst>
                </a:gridCol>
                <a:gridCol w="230968">
                  <a:extLst>
                    <a:ext uri="{9D8B030D-6E8A-4147-A177-3AD203B41FA5}">
                      <a16:colId xmlns:a16="http://schemas.microsoft.com/office/drawing/2014/main" val="4164344366"/>
                    </a:ext>
                  </a:extLst>
                </a:gridCol>
                <a:gridCol w="230968">
                  <a:extLst>
                    <a:ext uri="{9D8B030D-6E8A-4147-A177-3AD203B41FA5}">
                      <a16:colId xmlns:a16="http://schemas.microsoft.com/office/drawing/2014/main" val="183953134"/>
                    </a:ext>
                  </a:extLst>
                </a:gridCol>
                <a:gridCol w="230968">
                  <a:extLst>
                    <a:ext uri="{9D8B030D-6E8A-4147-A177-3AD203B41FA5}">
                      <a16:colId xmlns:a16="http://schemas.microsoft.com/office/drawing/2014/main" val="3134512233"/>
                    </a:ext>
                  </a:extLst>
                </a:gridCol>
                <a:gridCol w="230968">
                  <a:extLst>
                    <a:ext uri="{9D8B030D-6E8A-4147-A177-3AD203B41FA5}">
                      <a16:colId xmlns:a16="http://schemas.microsoft.com/office/drawing/2014/main" val="3286614411"/>
                    </a:ext>
                  </a:extLst>
                </a:gridCol>
                <a:gridCol w="230968">
                  <a:extLst>
                    <a:ext uri="{9D8B030D-6E8A-4147-A177-3AD203B41FA5}">
                      <a16:colId xmlns:a16="http://schemas.microsoft.com/office/drawing/2014/main" val="969137199"/>
                    </a:ext>
                  </a:extLst>
                </a:gridCol>
                <a:gridCol w="230968">
                  <a:extLst>
                    <a:ext uri="{9D8B030D-6E8A-4147-A177-3AD203B41FA5}">
                      <a16:colId xmlns:a16="http://schemas.microsoft.com/office/drawing/2014/main" val="570450589"/>
                    </a:ext>
                  </a:extLst>
                </a:gridCol>
                <a:gridCol w="230968">
                  <a:extLst>
                    <a:ext uri="{9D8B030D-6E8A-4147-A177-3AD203B41FA5}">
                      <a16:colId xmlns:a16="http://schemas.microsoft.com/office/drawing/2014/main" val="3914625475"/>
                    </a:ext>
                  </a:extLst>
                </a:gridCol>
              </a:tblGrid>
              <a:tr h="360829">
                <a:tc>
                  <a:txBody>
                    <a:bodyPr/>
                    <a:lstStyle/>
                    <a:p>
                      <a:pPr algn="l"/>
                      <a:r>
                        <a:rPr lang="en-US" sz="1000" b="1" dirty="0">
                          <a:solidFill>
                            <a:schemeClr val="bg1"/>
                          </a:solidFill>
                          <a:latin typeface="Calibri" panose="020F0502020204030204" pitchFamily="34" charset="0"/>
                          <a:cs typeface="Calibri" panose="020F0502020204030204" pitchFamily="34" charset="0"/>
                        </a:rPr>
                        <a:t>Engagement Phase</a:t>
                      </a: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gridSpan="4">
                  <a:txBody>
                    <a:bodyPr/>
                    <a:lstStyle/>
                    <a:p>
                      <a:pPr algn="ctr"/>
                      <a:r>
                        <a:rPr lang="en-US" sz="1000" b="1" dirty="0">
                          <a:latin typeface="Calibri" panose="020F0502020204030204" pitchFamily="34" charset="0"/>
                          <a:cs typeface="Calibri" panose="020F0502020204030204" pitchFamily="34" charset="0"/>
                        </a:rPr>
                        <a:t>Month 1</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2</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3</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4</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5</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6</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900" b="1" dirty="0">
                        <a:latin typeface="Calibri" panose="020F0502020204030204" pitchFamily="34" charset="0"/>
                        <a:cs typeface="Calibri" panose="020F0502020204030204" pitchFamily="34" charset="0"/>
                      </a:endParaRPr>
                    </a:p>
                  </a:txBody>
                  <a:tcPr marL="90587" marR="90587" marT="45295" marB="452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7</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000" b="1" dirty="0">
                        <a:latin typeface="Calibri" panose="020F0502020204030204" pitchFamily="34" charset="0"/>
                        <a:cs typeface="Calibri" panose="020F0502020204030204" pitchFamily="34" charset="0"/>
                      </a:endParaRP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1000" b="1" dirty="0">
                        <a:latin typeface="Calibri" panose="020F0502020204030204" pitchFamily="34" charset="0"/>
                        <a:cs typeface="Calibri" panose="020F0502020204030204" pitchFamily="34" charset="0"/>
                      </a:endParaRP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1000" b="1" dirty="0">
                        <a:latin typeface="Calibri" panose="020F0502020204030204" pitchFamily="34" charset="0"/>
                        <a:cs typeface="Calibri" panose="020F0502020204030204" pitchFamily="34" charset="0"/>
                      </a:endParaRP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gridSpan="4">
                  <a:txBody>
                    <a:bodyPr/>
                    <a:lstStyle/>
                    <a:p>
                      <a:pPr algn="ctr"/>
                      <a:r>
                        <a:rPr lang="en-US" sz="1000" b="1" dirty="0">
                          <a:latin typeface="Calibri" panose="020F0502020204030204" pitchFamily="34" charset="0"/>
                          <a:cs typeface="Calibri" panose="020F0502020204030204" pitchFamily="34" charset="0"/>
                        </a:rPr>
                        <a:t>Month 8</a:t>
                      </a: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000" b="1" dirty="0">
                        <a:latin typeface="Calibri" panose="020F0502020204030204" pitchFamily="34" charset="0"/>
                        <a:cs typeface="Calibri" panose="020F0502020204030204" pitchFamily="34" charset="0"/>
                      </a:endParaRP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1000" b="1" dirty="0">
                        <a:latin typeface="Calibri" panose="020F0502020204030204" pitchFamily="34" charset="0"/>
                        <a:cs typeface="Calibri" panose="020F0502020204030204" pitchFamily="34" charset="0"/>
                      </a:endParaRP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hMerge="1">
                  <a:txBody>
                    <a:bodyPr/>
                    <a:lstStyle/>
                    <a:p>
                      <a:pPr algn="ctr"/>
                      <a:endParaRPr lang="en-US" sz="1000" b="1" dirty="0">
                        <a:latin typeface="Calibri" panose="020F0502020204030204" pitchFamily="34" charset="0"/>
                        <a:cs typeface="Calibri" panose="020F0502020204030204" pitchFamily="34" charset="0"/>
                      </a:endParaRPr>
                    </a:p>
                  </a:txBody>
                  <a:tcPr marL="90587" marR="90587" marT="49825" marB="498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637739316"/>
                  </a:ext>
                </a:extLst>
              </a:tr>
              <a:tr h="31560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latin typeface="Calibri" panose="020F0502020204030204" pitchFamily="34" charset="0"/>
                          <a:ea typeface="+mn-ea"/>
                          <a:cs typeface="Calibri" panose="020F0502020204030204" pitchFamily="34" charset="0"/>
                        </a:rPr>
                        <a:t>Project Planning and Initiation</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2741827"/>
                  </a:ext>
                </a:extLst>
              </a:tr>
              <a:tr h="31560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latin typeface="Calibri" panose="020F0502020204030204" pitchFamily="34" charset="0"/>
                          <a:ea typeface="+mn-ea"/>
                          <a:cs typeface="Calibri" panose="020F0502020204030204" pitchFamily="34" charset="0"/>
                        </a:rPr>
                        <a:t>Phase 1: BC Risk Assessment</a:t>
                      </a:r>
                    </a:p>
                  </a:txBody>
                  <a:tcPr marL="90587" marR="90587" marT="34031" marB="340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4018428"/>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Risk Assessment for Locations in Riyadh</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endParaRPr lang="en-US" sz="1000" b="1" kern="1200" baseline="0" dirty="0">
                        <a:solidFill>
                          <a:schemeClr val="tx1"/>
                        </a:solidFill>
                        <a:latin typeface="Calibri" panose="020F0502020204030204" pitchFamily="34" charset="0"/>
                        <a:ea typeface="+mn-ea"/>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4611673"/>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Risk Assessment for Locations outside Riyadh</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3114770"/>
                  </a:ext>
                </a:extLst>
              </a:tr>
              <a:tr h="315609">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latin typeface="Calibri" panose="020F0502020204030204" pitchFamily="34" charset="0"/>
                          <a:ea typeface="+mn-ea"/>
                          <a:cs typeface="Calibri" panose="020F0502020204030204" pitchFamily="34" charset="0"/>
                        </a:rPr>
                        <a:t>Phase 2: BCM Strategy and Roadma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kern="1200" dirty="0">
                        <a:solidFill>
                          <a:schemeClr val="bg1"/>
                        </a:solidFill>
                        <a:latin typeface="Calibri" panose="020F0502020204030204" pitchFamily="34" charset="0"/>
                        <a:ea typeface="+mn-ea"/>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C5234"/>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5210972"/>
                  </a:ext>
                </a:extLst>
              </a:tr>
              <a:tr h="315609">
                <a:tc>
                  <a:txBody>
                    <a:bodyPr/>
                    <a:lstStyle/>
                    <a:p>
                      <a:pPr marL="2841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BCM Current State Assessment and Roadma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kern="1200" dirty="0">
                        <a:solidFill>
                          <a:schemeClr val="bg1"/>
                        </a:solidFill>
                        <a:latin typeface="Calibri" panose="020F0502020204030204" pitchFamily="34" charset="0"/>
                        <a:ea typeface="+mn-ea"/>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024090"/>
                  </a:ext>
                </a:extLst>
              </a:tr>
              <a:tr h="315609">
                <a:tc>
                  <a:txBody>
                    <a:bodyPr/>
                    <a:lstStyle/>
                    <a:p>
                      <a:pPr marL="2841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BCM Recovery Strategy</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kern="1200" dirty="0">
                        <a:solidFill>
                          <a:schemeClr val="bg1"/>
                        </a:solidFill>
                        <a:latin typeface="Calibri" panose="020F0502020204030204" pitchFamily="34" charset="0"/>
                        <a:ea typeface="+mn-ea"/>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2107226"/>
                  </a:ext>
                </a:extLst>
              </a:tr>
              <a:tr h="315609">
                <a:tc>
                  <a:txBody>
                    <a:bodyPr/>
                    <a:lstStyle/>
                    <a:p>
                      <a:r>
                        <a:rPr lang="en-US" sz="1000" b="1" kern="1200" baseline="0" dirty="0">
                          <a:solidFill>
                            <a:schemeClr val="tx1"/>
                          </a:solidFill>
                          <a:latin typeface="Calibri" panose="020F0502020204030204" pitchFamily="34" charset="0"/>
                          <a:ea typeface="+mn-ea"/>
                          <a:cs typeface="Calibri" panose="020F0502020204030204" pitchFamily="34" charset="0"/>
                        </a:rPr>
                        <a:t>Phase 3: Plans Review and Enhancement</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293677"/>
                  </a:ext>
                </a:extLst>
              </a:tr>
              <a:tr h="315609">
                <a:tc>
                  <a:txBody>
                    <a:bodyPr/>
                    <a:lstStyle/>
                    <a:p>
                      <a:pPr marL="2841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IMP, CMP and CC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3519294"/>
                  </a:ext>
                </a:extLst>
              </a:tr>
              <a:tr h="315609">
                <a:tc>
                  <a:txBody>
                    <a:bodyPr/>
                    <a:lstStyle/>
                    <a:p>
                      <a:pPr marL="2841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BCPs, IT DRP and TRPs</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6385668"/>
                  </a:ext>
                </a:extLst>
              </a:tr>
              <a:tr h="31560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latin typeface="Calibri" panose="020F0502020204030204" pitchFamily="34" charset="0"/>
                          <a:ea typeface="+mn-ea"/>
                          <a:cs typeface="Calibri" panose="020F0502020204030204" pitchFamily="34" charset="0"/>
                        </a:rPr>
                        <a:t>Phase 4: BCM Exercising</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2555359366"/>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BCM Exercising Program and Scenarios</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3677289"/>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Crisis Simulations (CMP and CC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80421456"/>
                  </a:ext>
                </a:extLst>
              </a:tr>
              <a:tr h="315609">
                <a:tc>
                  <a:txBody>
                    <a:bodyPr/>
                    <a:lstStyle/>
                    <a:p>
                      <a:pPr marL="119063" marR="0" lvl="1"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Calibri" panose="020F0502020204030204" pitchFamily="34" charset="0"/>
                          <a:ea typeface="+mn-ea"/>
                          <a:cs typeface="Calibri" panose="020F0502020204030204" pitchFamily="34" charset="0"/>
                        </a:rPr>
                        <a:t>Tabletop Exercises (IMP, BCP, IT DRP, TRP)</a:t>
                      </a:r>
                    </a:p>
                  </a:txBody>
                  <a:tcPr marL="90587" marR="90587" marT="34031" marB="34031"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US" sz="1000" b="0" dirty="0">
                        <a:solidFill>
                          <a:schemeClr val="bg1"/>
                        </a:solidFill>
                        <a:latin typeface="Calibri" panose="020F0502020204030204" pitchFamily="34" charset="0"/>
                        <a:cs typeface="Calibri" panose="020F0502020204030204" pitchFamily="34" charset="0"/>
                      </a:endParaRPr>
                    </a:p>
                  </a:txBody>
                  <a:tcPr marL="90587" marR="90587" marT="34031" marB="34031"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526242508"/>
                  </a:ext>
                </a:extLst>
              </a:tr>
            </a:tbl>
          </a:graphicData>
        </a:graphic>
      </p:graphicFrame>
      <p:sp>
        <p:nvSpPr>
          <p:cNvPr id="11" name="Triangle 28">
            <a:extLst>
              <a:ext uri="{FF2B5EF4-FFF2-40B4-BE49-F238E27FC236}">
                <a16:creationId xmlns:a16="http://schemas.microsoft.com/office/drawing/2014/main" id="{2E0DD30B-D4AE-4C22-8F4D-C63A5A098177}"/>
              </a:ext>
            </a:extLst>
          </p:cNvPr>
          <p:cNvSpPr/>
          <p:nvPr/>
        </p:nvSpPr>
        <p:spPr>
          <a:xfrm rot="16200000">
            <a:off x="11086720" y="4289010"/>
            <a:ext cx="264966" cy="22841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9" name="Rectangle 8">
            <a:extLst>
              <a:ext uri="{FF2B5EF4-FFF2-40B4-BE49-F238E27FC236}">
                <a16:creationId xmlns:a16="http://schemas.microsoft.com/office/drawing/2014/main" id="{3609F5A2-FFEB-4CB8-8EBE-7659546DE377}"/>
              </a:ext>
            </a:extLst>
          </p:cNvPr>
          <p:cNvSpPr/>
          <p:nvPr/>
        </p:nvSpPr>
        <p:spPr bwMode="gray">
          <a:xfrm>
            <a:off x="1" y="0"/>
            <a:ext cx="165462" cy="6858000"/>
          </a:xfrm>
          <a:prstGeom prst="rect">
            <a:avLst/>
          </a:prstGeom>
          <a:solidFill>
            <a:srgbClr val="0097A9"/>
          </a:solidFill>
          <a:ln w="19050" algn="ctr">
            <a:noFill/>
            <a:miter lim="800000"/>
            <a:headEnd/>
            <a:tailEnd/>
          </a:ln>
        </p:spPr>
        <p:txBody>
          <a:bodyPr wrap="square" lIns="88900" tIns="88900" rIns="88900" bIns="88900" rtlCol="0" anchor="b"/>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Text Placeholder 1">
            <a:extLst>
              <a:ext uri="{FF2B5EF4-FFF2-40B4-BE49-F238E27FC236}">
                <a16:creationId xmlns:a16="http://schemas.microsoft.com/office/drawing/2014/main" id="{4C4A3F2B-1B0F-8081-16F7-FA88F3D8A0BD}"/>
              </a:ext>
            </a:extLst>
          </p:cNvPr>
          <p:cNvSpPr txBox="1">
            <a:spLocks/>
          </p:cNvSpPr>
          <p:nvPr/>
        </p:nvSpPr>
        <p:spPr>
          <a:xfrm>
            <a:off x="522375" y="761804"/>
            <a:ext cx="10549646" cy="337097"/>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382" dirty="0">
                <a:solidFill>
                  <a:srgbClr val="00ABAB"/>
                </a:solidFill>
                <a:latin typeface="Calibri" panose="020F0502020204030204" pitchFamily="34" charset="0"/>
              </a:rPr>
              <a:t>Delivery Model Option 2 – Full-scope Delivery</a:t>
            </a:r>
          </a:p>
        </p:txBody>
      </p:sp>
    </p:spTree>
    <p:extLst>
      <p:ext uri="{BB962C8B-B14F-4D97-AF65-F5344CB8AC3E}">
        <p14:creationId xmlns:p14="http://schemas.microsoft.com/office/powerpoint/2010/main" val="3511026069"/>
      </p:ext>
    </p:extLst>
  </p:cSld>
  <p:clrMapOvr>
    <a:masterClrMapping/>
  </p:clrMapOvr>
  <p:transition spd="med">
    <p:pull/>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C016919-2EDD-472D-8BFC-124E277AD105}"/>
              </a:ext>
            </a:extLst>
          </p:cNvPr>
          <p:cNvSpPr>
            <a:spLocks noGrp="1"/>
          </p:cNvSpPr>
          <p:nvPr>
            <p:ph type="title"/>
          </p:nvPr>
        </p:nvSpPr>
        <p:spPr bwMode="gray"/>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b="0" dirty="0">
                <a:latin typeface="Calibri" panose="020F0502020204030204" pitchFamily="34" charset="0"/>
              </a:rPr>
              <a:t>Project Assumptions</a:t>
            </a:r>
            <a:endParaRPr lang="en-US" b="0" noProof="0" dirty="0">
              <a:latin typeface="Calibri" panose="020F0502020204030204" pitchFamily="34" charset="0"/>
            </a:endParaRPr>
          </a:p>
        </p:txBody>
      </p:sp>
      <p:sp>
        <p:nvSpPr>
          <p:cNvPr id="11" name="Text Placeholder 2">
            <a:extLst>
              <a:ext uri="{FF2B5EF4-FFF2-40B4-BE49-F238E27FC236}">
                <a16:creationId xmlns:a16="http://schemas.microsoft.com/office/drawing/2014/main" id="{6DD4D66A-D889-4ED3-9DF1-AF716327167B}"/>
              </a:ext>
            </a:extLst>
          </p:cNvPr>
          <p:cNvSpPr txBox="1">
            <a:spLocks/>
          </p:cNvSpPr>
          <p:nvPr/>
        </p:nvSpPr>
        <p:spPr bwMode="gray">
          <a:xfrm>
            <a:off x="522376" y="2167362"/>
            <a:ext cx="10321069" cy="155192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pPr>
              <a:defRPr/>
            </a:pPr>
            <a:endParaRPr lang="en-US" sz="1982" dirty="0">
              <a:solidFill>
                <a:prstClr val="white"/>
              </a:solidFill>
              <a:latin typeface="Calibri" panose="020F0502020204030204" pitchFamily="34" charset="0"/>
            </a:endParaRPr>
          </a:p>
        </p:txBody>
      </p:sp>
      <p:sp>
        <p:nvSpPr>
          <p:cNvPr id="4" name="Triangle 28">
            <a:extLst>
              <a:ext uri="{FF2B5EF4-FFF2-40B4-BE49-F238E27FC236}">
                <a16:creationId xmlns:a16="http://schemas.microsoft.com/office/drawing/2014/main" id="{D1A077AE-E560-4A10-AE81-7254D21F59A9}"/>
              </a:ext>
            </a:extLst>
          </p:cNvPr>
          <p:cNvSpPr/>
          <p:nvPr/>
        </p:nvSpPr>
        <p:spPr>
          <a:xfrm rot="16200000">
            <a:off x="11086720" y="4289010"/>
            <a:ext cx="264966" cy="22841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Tree>
    <p:extLst>
      <p:ext uri="{BB962C8B-B14F-4D97-AF65-F5344CB8AC3E}">
        <p14:creationId xmlns:p14="http://schemas.microsoft.com/office/powerpoint/2010/main" val="1023354074"/>
      </p:ext>
    </p:extLst>
  </p:cSld>
  <p:clrMapOvr>
    <a:masterClrMapping/>
  </p:clrMapOvr>
  <p:transition spd="med">
    <p:pull/>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EA765964-1504-43F4-A44C-FD52378F1F4D}"/>
              </a:ext>
            </a:extLst>
          </p:cNvPr>
          <p:cNvSpPr>
            <a:spLocks noGrp="1"/>
          </p:cNvSpPr>
          <p:nvPr>
            <p:ph type="title"/>
          </p:nvPr>
        </p:nvSpPr>
        <p:spPr/>
        <p:txBody>
          <a:bodyPr/>
          <a:lstStyle/>
          <a:p>
            <a:r>
              <a:rPr lang="en-US" sz="2400" dirty="0"/>
              <a:t>Project Assumptions</a:t>
            </a:r>
          </a:p>
        </p:txBody>
      </p:sp>
      <p:sp>
        <p:nvSpPr>
          <p:cNvPr id="10" name="Triangle 28">
            <a:extLst>
              <a:ext uri="{FF2B5EF4-FFF2-40B4-BE49-F238E27FC236}">
                <a16:creationId xmlns:a16="http://schemas.microsoft.com/office/drawing/2014/main" id="{FFFED3FD-D74F-42AA-8BA6-6DF883D5E67C}"/>
              </a:ext>
            </a:extLst>
          </p:cNvPr>
          <p:cNvSpPr/>
          <p:nvPr/>
        </p:nvSpPr>
        <p:spPr>
          <a:xfrm rot="16200000">
            <a:off x="11065159" y="4297095"/>
            <a:ext cx="267460" cy="23056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Calibri" panose="020F0502020204030204" pitchFamily="34" charset="0"/>
            </a:endParaRPr>
          </a:p>
        </p:txBody>
      </p:sp>
      <p:sp>
        <p:nvSpPr>
          <p:cNvPr id="7" name="Text Placeholder 1">
            <a:extLst>
              <a:ext uri="{FF2B5EF4-FFF2-40B4-BE49-F238E27FC236}">
                <a16:creationId xmlns:a16="http://schemas.microsoft.com/office/drawing/2014/main" id="{E97200EF-4C5E-4055-8CAB-77D4B4913122}"/>
              </a:ext>
            </a:extLst>
          </p:cNvPr>
          <p:cNvSpPr txBox="1">
            <a:spLocks/>
          </p:cNvSpPr>
          <p:nvPr/>
        </p:nvSpPr>
        <p:spPr>
          <a:xfrm>
            <a:off x="469899" y="736689"/>
            <a:ext cx="10648963" cy="340271"/>
          </a:xfrm>
          <a:prstGeom prst="rect">
            <a:avLst/>
          </a:prstGeom>
        </p:spPr>
        <p:txBody>
          <a:bodyPr vert="horz" lIns="0" tIns="0" rIns="0" bIns="0" rtlCol="0">
            <a:noAutofit/>
          </a:bodyPr>
          <a:lstStyle>
            <a:defPPr>
              <a:defRPr lang="en-US"/>
            </a:defPPr>
            <a:lvl1pPr indent="0">
              <a:spcBef>
                <a:spcPts val="0"/>
              </a:spcBef>
              <a:spcAft>
                <a:spcPts val="1333"/>
              </a:spcAft>
              <a:buSzPct val="100000"/>
              <a:buFontTx/>
              <a:buNone/>
              <a:defRPr sz="2000" b="0">
                <a:solidFill>
                  <a:srgbClr val="575757"/>
                </a:solidFill>
                <a:latin typeface="Calibri" panose="020F0502020204030204" pitchFamily="34" charset="0"/>
                <a:cs typeface="Calibri" panose="020F0502020204030204" pitchFamily="34" charset="0"/>
              </a:defRPr>
            </a:lvl1pPr>
            <a:lvl2pPr marL="127000" indent="-127000">
              <a:spcBef>
                <a:spcPts val="0"/>
              </a:spcBef>
              <a:spcAft>
                <a:spcPts val="1333"/>
              </a:spcAft>
              <a:buClrTx/>
              <a:buSzPct val="100000"/>
              <a:buFont typeface="Arial" panose="020B0604020202020204" pitchFamily="34" charset="0"/>
              <a:buChar char="•"/>
              <a:defRPr sz="1200" b="0">
                <a:latin typeface="Calibri" panose="020F0502020204030204" pitchFamily="34" charset="0"/>
              </a:defRPr>
            </a:lvl2pPr>
            <a:lvl3pPr marL="279400" indent="-127000">
              <a:spcBef>
                <a:spcPts val="0"/>
              </a:spcBef>
              <a:spcAft>
                <a:spcPts val="1333"/>
              </a:spcAft>
              <a:buClrTx/>
              <a:buSzPct val="100000"/>
              <a:buFont typeface="Arial" panose="020B0604020202020204" pitchFamily="34" charset="0"/>
              <a:buChar char="−"/>
              <a:defRPr sz="1200">
                <a:latin typeface="Calibri" panose="020F0502020204030204" pitchFamily="34" charset="0"/>
              </a:defRPr>
            </a:lvl3pPr>
            <a:lvl4pPr marL="431800" indent="-127000">
              <a:spcBef>
                <a:spcPts val="0"/>
              </a:spcBef>
              <a:spcAft>
                <a:spcPts val="1333"/>
              </a:spcAft>
              <a:buClrTx/>
              <a:buSzPct val="100000"/>
              <a:buFont typeface="Arial" panose="020B0604020202020204" pitchFamily="34" charset="0"/>
              <a:buChar char="◦"/>
              <a:defRPr sz="1200" baseline="0">
                <a:latin typeface="Calibri" panose="020F0502020204030204" pitchFamily="34" charset="0"/>
              </a:defRPr>
            </a:lvl4pPr>
            <a:lvl5pPr marL="584200" indent="-127000" defTabSz="1064657">
              <a:spcBef>
                <a:spcPts val="0"/>
              </a:spcBef>
              <a:spcAft>
                <a:spcPts val="1333"/>
              </a:spcAft>
              <a:buClrTx/>
              <a:buSzPct val="100000"/>
              <a:buFont typeface="Arial" panose="020B0604020202020204" pitchFamily="34" charset="0"/>
              <a:buChar char="−"/>
              <a:tabLst/>
              <a:defRPr sz="1200" baseline="0">
                <a:latin typeface="Calibri" panose="020F0502020204030204" pitchFamily="34" charset="0"/>
              </a:defRPr>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dirty="0">
                <a:solidFill>
                  <a:srgbClr val="0097A9"/>
                </a:solidFill>
              </a:rPr>
              <a:t>General Assumptions (1/3)</a:t>
            </a:r>
          </a:p>
        </p:txBody>
      </p:sp>
      <p:sp>
        <p:nvSpPr>
          <p:cNvPr id="11" name="Rectangle 10">
            <a:extLst>
              <a:ext uri="{FF2B5EF4-FFF2-40B4-BE49-F238E27FC236}">
                <a16:creationId xmlns:a16="http://schemas.microsoft.com/office/drawing/2014/main" id="{3FF19ED5-705D-4BBC-995A-4B2BFF311138}"/>
              </a:ext>
            </a:extLst>
          </p:cNvPr>
          <p:cNvSpPr/>
          <p:nvPr/>
        </p:nvSpPr>
        <p:spPr bwMode="gray">
          <a:xfrm>
            <a:off x="1" y="0"/>
            <a:ext cx="165462" cy="6858000"/>
          </a:xfrm>
          <a:prstGeom prst="rect">
            <a:avLst/>
          </a:prstGeom>
          <a:solidFill>
            <a:srgbClr val="0097A9"/>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13" name="Rectangle 12">
            <a:extLst>
              <a:ext uri="{FF2B5EF4-FFF2-40B4-BE49-F238E27FC236}">
                <a16:creationId xmlns:a16="http://schemas.microsoft.com/office/drawing/2014/main" id="{98780B7D-6F43-437B-BBC9-3767D1D6EEE2}"/>
              </a:ext>
            </a:extLst>
          </p:cNvPr>
          <p:cNvSpPr/>
          <p:nvPr/>
        </p:nvSpPr>
        <p:spPr>
          <a:xfrm>
            <a:off x="406932" y="1114385"/>
            <a:ext cx="10694169" cy="4893647"/>
          </a:xfrm>
          <a:prstGeom prst="rect">
            <a:avLst/>
          </a:prstGeom>
        </p:spPr>
        <p:txBody>
          <a:bodyPr wrap="square">
            <a:spAutoFit/>
          </a:bodyPr>
          <a:lstStyle/>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The proposal is valid for 90 days from the date of submission.</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Deloitte proposal submission is conditional without any liability, upon the parties agreeing mutual favorable terms and conditions within 30 days upon Deloitte being awarded the project</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The engagement will be performed from stc Head office with a hybrid model, where teams will have the flexibility of working remotely if there are no onsite meetings / visits required. For any work to be performed in locations outside Riyadh, stc shall make all necessary arrangements to ensure health &amp; safety of all team members and follow all COVID-19 related protocols, provide flights, hotels, transportation and other logistic arrangements. </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Representatives from stc will be dedicated to the project and have sufficient authority to manage and approve systems / information access, and access to personnel.</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Deloitte will assume that all information and documentation provided by stc will accurately represent the existing infrastructures / environment.</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stc will make the necessary interviewees available. Deloitte is aware of the constraints on stc resources and will make every effort to optimize the efficiency of the information gathering process.</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Deloitte will not be responsible for the security capability evaluation of the IT products deployed in the stc technology Infrastructure environment. </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Our deliverables will be in English and solely addressed to stc. We do not hold responsibility if your organization wishes under any circumstances to share our deliverables with external parties.</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Our ability to complete the work within the timelines indicated and issue our report by the agreed upon dates will depend on the timeliness and extent of cooperation, participation and assistance provided to us by stc personnel.</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Provision of any procurement of resources (hardware / IT infrastructure / equipment) for plan implementation is excluded from the scope of this project.</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Availability of specific named resources, in our proposed team, is dependent on timing of contract signature.  If specific named resource is not available, alternative resource will be substituted.</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Notwithstanding anything contained in stc Request for information or any form of contract terms incorporated therein to the contrary, Deloitte is submitting this proposal subject to the express condition that it and stc negotiate and execute a contract containing terms and conditions mutually acceptable to both Deloitte and stc. This proposal does not constitute an offer and is subject to our discharging our professional, legal, regulatory and internal take-on procedure requirements; including conflict and independence checks and client acceptance and identification requirements.</a:t>
            </a:r>
          </a:p>
          <a:p>
            <a:pPr marL="171450" indent="-171450">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All amounts payable exclude Value Added Taxes “VAT” and the Client, at its sole expense, shall be responsible for all taxes, such as VAT, sales and use tax, gross receipts tax, withholding tax, and any similar tax, imposed or applicable, at date of this agreement or introduced and made applicable by legislation thereafter, whether in retrospect or not, on the Client or on Deloitte in connection with the Services, other than Deloitte’s corporate income and property taxes. </a:t>
            </a:r>
          </a:p>
        </p:txBody>
      </p:sp>
    </p:spTree>
    <p:extLst>
      <p:ext uri="{BB962C8B-B14F-4D97-AF65-F5344CB8AC3E}">
        <p14:creationId xmlns:p14="http://schemas.microsoft.com/office/powerpoint/2010/main" val="2569604946"/>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riangle 28">
            <a:extLst>
              <a:ext uri="{FF2B5EF4-FFF2-40B4-BE49-F238E27FC236}">
                <a16:creationId xmlns:a16="http://schemas.microsoft.com/office/drawing/2014/main" id="{96A68D10-67E7-4D70-9984-78405A5FC4C3}"/>
              </a:ext>
            </a:extLst>
          </p:cNvPr>
          <p:cNvSpPr/>
          <p:nvPr/>
        </p:nvSpPr>
        <p:spPr>
          <a:xfrm rot="16200000">
            <a:off x="11053748" y="1371995"/>
            <a:ext cx="264966" cy="228419"/>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Sakkal Majalla" panose="02000000000000000000" pitchFamily="2" charset="-78"/>
              <a:cs typeface="Sakkal Majalla" panose="02000000000000000000" pitchFamily="2" charset="-78"/>
            </a:endParaRPr>
          </a:p>
        </p:txBody>
      </p:sp>
      <p:sp>
        <p:nvSpPr>
          <p:cNvPr id="10" name="Text Placeholder 6">
            <a:extLst>
              <a:ext uri="{FF2B5EF4-FFF2-40B4-BE49-F238E27FC236}">
                <a16:creationId xmlns:a16="http://schemas.microsoft.com/office/drawing/2014/main" id="{643837E0-CD69-40BE-ADBC-3B0D264EAE62}"/>
              </a:ext>
            </a:extLst>
          </p:cNvPr>
          <p:cNvSpPr>
            <a:spLocks noGrp="1"/>
          </p:cNvSpPr>
          <p:nvPr>
            <p:ph type="body" sz="quarter" idx="13"/>
          </p:nvPr>
        </p:nvSpPr>
        <p:spPr>
          <a:xfrm>
            <a:off x="522373" y="761805"/>
            <a:ext cx="11147258" cy="436544"/>
          </a:xfrm>
        </p:spPr>
        <p:txBody>
          <a:bodyPr/>
          <a:lstStyle/>
          <a:p>
            <a:r>
              <a:rPr lang="en-US" dirty="0">
                <a:solidFill>
                  <a:srgbClr val="7F7F7F"/>
                </a:solidFill>
                <a:cs typeface="Calibri" panose="020F0502020204030204" pitchFamily="34" charset="0"/>
              </a:rPr>
              <a:t>Why Business Continuity Management?</a:t>
            </a:r>
          </a:p>
        </p:txBody>
      </p:sp>
      <p:sp>
        <p:nvSpPr>
          <p:cNvPr id="11" name="Title 1">
            <a:extLst>
              <a:ext uri="{FF2B5EF4-FFF2-40B4-BE49-F238E27FC236}">
                <a16:creationId xmlns:a16="http://schemas.microsoft.com/office/drawing/2014/main" id="{7616DF33-BDD9-459D-AAFE-AEE6EDDDC8D8}"/>
              </a:ext>
            </a:extLst>
          </p:cNvPr>
          <p:cNvSpPr>
            <a:spLocks noGrp="1"/>
          </p:cNvSpPr>
          <p:nvPr>
            <p:ph type="title"/>
          </p:nvPr>
        </p:nvSpPr>
        <p:spPr>
          <a:xfrm>
            <a:off x="522373" y="430820"/>
            <a:ext cx="11147258" cy="330986"/>
          </a:xfrm>
        </p:spPr>
        <p:txBody>
          <a:bodyPr/>
          <a:lstStyle/>
          <a:p>
            <a:r>
              <a:rPr lang="en-US" sz="2382" dirty="0">
                <a:solidFill>
                  <a:srgbClr val="111C4E"/>
                </a:solidFill>
                <a:cs typeface="Calibri" panose="020F0502020204030204" pitchFamily="34" charset="0"/>
              </a:rPr>
              <a:t>Executive Summary</a:t>
            </a:r>
          </a:p>
        </p:txBody>
      </p:sp>
      <p:sp>
        <p:nvSpPr>
          <p:cNvPr id="14" name="Content Placeholder 2">
            <a:extLst>
              <a:ext uri="{FF2B5EF4-FFF2-40B4-BE49-F238E27FC236}">
                <a16:creationId xmlns:a16="http://schemas.microsoft.com/office/drawing/2014/main" id="{A7EF13A5-6D92-468E-9E40-959DE0F2F263}"/>
              </a:ext>
            </a:extLst>
          </p:cNvPr>
          <p:cNvSpPr txBox="1">
            <a:spLocks/>
          </p:cNvSpPr>
          <p:nvPr/>
        </p:nvSpPr>
        <p:spPr>
          <a:xfrm>
            <a:off x="905969" y="1374131"/>
            <a:ext cx="4740430" cy="337603"/>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782" b="1" dirty="0">
                <a:solidFill>
                  <a:srgbClr val="111C4E"/>
                </a:solidFill>
                <a:cs typeface="Calibri" panose="020F0502020204030204" pitchFamily="34" charset="0"/>
              </a:rPr>
              <a:t>Importance of Business Continuity</a:t>
            </a:r>
          </a:p>
        </p:txBody>
      </p:sp>
      <p:grpSp>
        <p:nvGrpSpPr>
          <p:cNvPr id="17" name="Group 35">
            <a:extLst>
              <a:ext uri="{FF2B5EF4-FFF2-40B4-BE49-F238E27FC236}">
                <a16:creationId xmlns:a16="http://schemas.microsoft.com/office/drawing/2014/main" id="{FAC41F53-801D-4514-BCC8-3DF3AE6A6881}"/>
              </a:ext>
            </a:extLst>
          </p:cNvPr>
          <p:cNvGrpSpPr>
            <a:grpSpLocks noChangeAspect="1"/>
          </p:cNvGrpSpPr>
          <p:nvPr/>
        </p:nvGrpSpPr>
        <p:grpSpPr bwMode="auto">
          <a:xfrm>
            <a:off x="548494" y="1376555"/>
            <a:ext cx="365579" cy="365579"/>
            <a:chOff x="2709" y="6"/>
            <a:chExt cx="340" cy="340"/>
          </a:xfrm>
          <a:solidFill>
            <a:srgbClr val="111C4E"/>
          </a:solidFill>
        </p:grpSpPr>
        <p:sp>
          <p:nvSpPr>
            <p:cNvPr id="20" name="Freeform 36">
              <a:extLst>
                <a:ext uri="{FF2B5EF4-FFF2-40B4-BE49-F238E27FC236}">
                  <a16:creationId xmlns:a16="http://schemas.microsoft.com/office/drawing/2014/main" id="{A1CC075F-5FCD-42E9-978D-0FAD509327DA}"/>
                </a:ext>
              </a:extLst>
            </p:cNvPr>
            <p:cNvSpPr>
              <a:spLocks noEditPoints="1"/>
            </p:cNvSpPr>
            <p:nvPr/>
          </p:nvSpPr>
          <p:spPr bwMode="auto">
            <a:xfrm>
              <a:off x="2779" y="84"/>
              <a:ext cx="71" cy="92"/>
            </a:xfrm>
            <a:custGeom>
              <a:avLst/>
              <a:gdLst>
                <a:gd name="T0" fmla="*/ 54 w 107"/>
                <a:gd name="T1" fmla="*/ 139 h 139"/>
                <a:gd name="T2" fmla="*/ 61 w 107"/>
                <a:gd name="T3" fmla="*/ 136 h 139"/>
                <a:gd name="T4" fmla="*/ 107 w 107"/>
                <a:gd name="T5" fmla="*/ 53 h 139"/>
                <a:gd name="T6" fmla="*/ 54 w 107"/>
                <a:gd name="T7" fmla="*/ 0 h 139"/>
                <a:gd name="T8" fmla="*/ 0 w 107"/>
                <a:gd name="T9" fmla="*/ 53 h 139"/>
                <a:gd name="T10" fmla="*/ 46 w 107"/>
                <a:gd name="T11" fmla="*/ 136 h 139"/>
                <a:gd name="T12" fmla="*/ 54 w 107"/>
                <a:gd name="T13" fmla="*/ 139 h 139"/>
                <a:gd name="T14" fmla="*/ 54 w 107"/>
                <a:gd name="T15" fmla="*/ 21 h 139"/>
                <a:gd name="T16" fmla="*/ 86 w 107"/>
                <a:gd name="T17" fmla="*/ 53 h 139"/>
                <a:gd name="T18" fmla="*/ 54 w 107"/>
                <a:gd name="T19" fmla="*/ 113 h 139"/>
                <a:gd name="T20" fmla="*/ 22 w 107"/>
                <a:gd name="T21" fmla="*/ 53 h 139"/>
                <a:gd name="T22" fmla="*/ 54 w 107"/>
                <a:gd name="T23" fmla="*/ 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139">
                  <a:moveTo>
                    <a:pt x="54" y="139"/>
                  </a:moveTo>
                  <a:cubicBezTo>
                    <a:pt x="56" y="139"/>
                    <a:pt x="59" y="138"/>
                    <a:pt x="61" y="136"/>
                  </a:cubicBezTo>
                  <a:cubicBezTo>
                    <a:pt x="107" y="90"/>
                    <a:pt x="107" y="55"/>
                    <a:pt x="107" y="53"/>
                  </a:cubicBezTo>
                  <a:cubicBezTo>
                    <a:pt x="107" y="24"/>
                    <a:pt x="83" y="0"/>
                    <a:pt x="54" y="0"/>
                  </a:cubicBezTo>
                  <a:cubicBezTo>
                    <a:pt x="24" y="0"/>
                    <a:pt x="0" y="24"/>
                    <a:pt x="0" y="53"/>
                  </a:cubicBezTo>
                  <a:cubicBezTo>
                    <a:pt x="0" y="55"/>
                    <a:pt x="0" y="90"/>
                    <a:pt x="46" y="136"/>
                  </a:cubicBezTo>
                  <a:cubicBezTo>
                    <a:pt x="48" y="138"/>
                    <a:pt x="51" y="139"/>
                    <a:pt x="54" y="139"/>
                  </a:cubicBezTo>
                  <a:close/>
                  <a:moveTo>
                    <a:pt x="54" y="21"/>
                  </a:moveTo>
                  <a:cubicBezTo>
                    <a:pt x="71" y="21"/>
                    <a:pt x="86" y="36"/>
                    <a:pt x="86" y="53"/>
                  </a:cubicBezTo>
                  <a:cubicBezTo>
                    <a:pt x="86" y="54"/>
                    <a:pt x="85" y="78"/>
                    <a:pt x="54" y="113"/>
                  </a:cubicBezTo>
                  <a:cubicBezTo>
                    <a:pt x="23" y="78"/>
                    <a:pt x="22" y="54"/>
                    <a:pt x="22" y="53"/>
                  </a:cubicBezTo>
                  <a:cubicBezTo>
                    <a:pt x="22" y="36"/>
                    <a:pt x="36" y="21"/>
                    <a:pt x="5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GB" sz="2382" dirty="0">
                <a:solidFill>
                  <a:srgbClr val="111C4E"/>
                </a:solidFill>
                <a:latin typeface="Verdana"/>
              </a:endParaRPr>
            </a:p>
          </p:txBody>
        </p:sp>
        <p:sp>
          <p:nvSpPr>
            <p:cNvPr id="21" name="Oval 37">
              <a:extLst>
                <a:ext uri="{FF2B5EF4-FFF2-40B4-BE49-F238E27FC236}">
                  <a16:creationId xmlns:a16="http://schemas.microsoft.com/office/drawing/2014/main" id="{3A9AC717-92AD-459B-8CC2-BFB3EB16F136}"/>
                </a:ext>
              </a:extLst>
            </p:cNvPr>
            <p:cNvSpPr>
              <a:spLocks noChangeArrowheads="1"/>
            </p:cNvSpPr>
            <p:nvPr/>
          </p:nvSpPr>
          <p:spPr bwMode="auto">
            <a:xfrm>
              <a:off x="2808" y="112"/>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GB" sz="2382" dirty="0">
                <a:solidFill>
                  <a:srgbClr val="111C4E"/>
                </a:solidFill>
                <a:latin typeface="Verdana"/>
              </a:endParaRPr>
            </a:p>
          </p:txBody>
        </p:sp>
        <p:sp>
          <p:nvSpPr>
            <p:cNvPr id="22" name="Freeform 38">
              <a:extLst>
                <a:ext uri="{FF2B5EF4-FFF2-40B4-BE49-F238E27FC236}">
                  <a16:creationId xmlns:a16="http://schemas.microsoft.com/office/drawing/2014/main" id="{3CEF3438-30CB-4834-8BB5-BC56BD124D9B}"/>
                </a:ext>
              </a:extLst>
            </p:cNvPr>
            <p:cNvSpPr>
              <a:spLocks noEditPoints="1"/>
            </p:cNvSpPr>
            <p:nvPr/>
          </p:nvSpPr>
          <p:spPr bwMode="auto">
            <a:xfrm>
              <a:off x="2808" y="105"/>
              <a:ext cx="170" cy="170"/>
            </a:xfrm>
            <a:custGeom>
              <a:avLst/>
              <a:gdLst>
                <a:gd name="T0" fmla="*/ 128 w 256"/>
                <a:gd name="T1" fmla="*/ 0 h 256"/>
                <a:gd name="T2" fmla="*/ 93 w 256"/>
                <a:gd name="T3" fmla="*/ 5 h 256"/>
                <a:gd name="T4" fmla="*/ 86 w 256"/>
                <a:gd name="T5" fmla="*/ 18 h 256"/>
                <a:gd name="T6" fmla="*/ 94 w 256"/>
                <a:gd name="T7" fmla="*/ 25 h 256"/>
                <a:gd name="T8" fmla="*/ 78 w 256"/>
                <a:gd name="T9" fmla="*/ 75 h 256"/>
                <a:gd name="T10" fmla="*/ 75 w 256"/>
                <a:gd name="T11" fmla="*/ 75 h 256"/>
                <a:gd name="T12" fmla="*/ 64 w 256"/>
                <a:gd name="T13" fmla="*/ 85 h 256"/>
                <a:gd name="T14" fmla="*/ 75 w 256"/>
                <a:gd name="T15" fmla="*/ 96 h 256"/>
                <a:gd name="T16" fmla="*/ 75 w 256"/>
                <a:gd name="T17" fmla="*/ 96 h 256"/>
                <a:gd name="T18" fmla="*/ 73 w 256"/>
                <a:gd name="T19" fmla="*/ 128 h 256"/>
                <a:gd name="T20" fmla="*/ 75 w 256"/>
                <a:gd name="T21" fmla="*/ 160 h 256"/>
                <a:gd name="T22" fmla="*/ 26 w 256"/>
                <a:gd name="T23" fmla="*/ 160 h 256"/>
                <a:gd name="T24" fmla="*/ 22 w 256"/>
                <a:gd name="T25" fmla="*/ 138 h 256"/>
                <a:gd name="T26" fmla="*/ 10 w 256"/>
                <a:gd name="T27" fmla="*/ 128 h 256"/>
                <a:gd name="T28" fmla="*/ 1 w 256"/>
                <a:gd name="T29" fmla="*/ 140 h 256"/>
                <a:gd name="T30" fmla="*/ 128 w 256"/>
                <a:gd name="T31" fmla="*/ 256 h 256"/>
                <a:gd name="T32" fmla="*/ 256 w 256"/>
                <a:gd name="T33" fmla="*/ 128 h 256"/>
                <a:gd name="T34" fmla="*/ 128 w 256"/>
                <a:gd name="T35" fmla="*/ 0 h 256"/>
                <a:gd name="T36" fmla="*/ 36 w 256"/>
                <a:gd name="T37" fmla="*/ 181 h 256"/>
                <a:gd name="T38" fmla="*/ 78 w 256"/>
                <a:gd name="T39" fmla="*/ 181 h 256"/>
                <a:gd name="T40" fmla="*/ 93 w 256"/>
                <a:gd name="T41" fmla="*/ 229 h 256"/>
                <a:gd name="T42" fmla="*/ 36 w 256"/>
                <a:gd name="T43" fmla="*/ 181 h 256"/>
                <a:gd name="T44" fmla="*/ 220 w 256"/>
                <a:gd name="T45" fmla="*/ 75 h 256"/>
                <a:gd name="T46" fmla="*/ 178 w 256"/>
                <a:gd name="T47" fmla="*/ 75 h 256"/>
                <a:gd name="T48" fmla="*/ 163 w 256"/>
                <a:gd name="T49" fmla="*/ 27 h 256"/>
                <a:gd name="T50" fmla="*/ 220 w 256"/>
                <a:gd name="T51" fmla="*/ 75 h 256"/>
                <a:gd name="T52" fmla="*/ 128 w 256"/>
                <a:gd name="T53" fmla="*/ 21 h 256"/>
                <a:gd name="T54" fmla="*/ 156 w 256"/>
                <a:gd name="T55" fmla="*/ 75 h 256"/>
                <a:gd name="T56" fmla="*/ 100 w 256"/>
                <a:gd name="T57" fmla="*/ 75 h 256"/>
                <a:gd name="T58" fmla="*/ 128 w 256"/>
                <a:gd name="T59" fmla="*/ 21 h 256"/>
                <a:gd name="T60" fmla="*/ 128 w 256"/>
                <a:gd name="T61" fmla="*/ 235 h 256"/>
                <a:gd name="T62" fmla="*/ 100 w 256"/>
                <a:gd name="T63" fmla="*/ 181 h 256"/>
                <a:gd name="T64" fmla="*/ 156 w 256"/>
                <a:gd name="T65" fmla="*/ 181 h 256"/>
                <a:gd name="T66" fmla="*/ 128 w 256"/>
                <a:gd name="T67" fmla="*/ 235 h 256"/>
                <a:gd name="T68" fmla="*/ 160 w 256"/>
                <a:gd name="T69" fmla="*/ 160 h 256"/>
                <a:gd name="T70" fmla="*/ 96 w 256"/>
                <a:gd name="T71" fmla="*/ 160 h 256"/>
                <a:gd name="T72" fmla="*/ 95 w 256"/>
                <a:gd name="T73" fmla="*/ 128 h 256"/>
                <a:gd name="T74" fmla="*/ 96 w 256"/>
                <a:gd name="T75" fmla="*/ 96 h 256"/>
                <a:gd name="T76" fmla="*/ 160 w 256"/>
                <a:gd name="T77" fmla="*/ 96 h 256"/>
                <a:gd name="T78" fmla="*/ 161 w 256"/>
                <a:gd name="T79" fmla="*/ 128 h 256"/>
                <a:gd name="T80" fmla="*/ 160 w 256"/>
                <a:gd name="T81" fmla="*/ 160 h 256"/>
                <a:gd name="T82" fmla="*/ 163 w 256"/>
                <a:gd name="T83" fmla="*/ 229 h 256"/>
                <a:gd name="T84" fmla="*/ 178 w 256"/>
                <a:gd name="T85" fmla="*/ 181 h 256"/>
                <a:gd name="T86" fmla="*/ 220 w 256"/>
                <a:gd name="T87" fmla="*/ 181 h 256"/>
                <a:gd name="T88" fmla="*/ 163 w 256"/>
                <a:gd name="T89" fmla="*/ 229 h 256"/>
                <a:gd name="T90" fmla="*/ 181 w 256"/>
                <a:gd name="T91" fmla="*/ 160 h 256"/>
                <a:gd name="T92" fmla="*/ 183 w 256"/>
                <a:gd name="T93" fmla="*/ 128 h 256"/>
                <a:gd name="T94" fmla="*/ 181 w 256"/>
                <a:gd name="T95" fmla="*/ 96 h 256"/>
                <a:gd name="T96" fmla="*/ 230 w 256"/>
                <a:gd name="T97" fmla="*/ 96 h 256"/>
                <a:gd name="T98" fmla="*/ 235 w 256"/>
                <a:gd name="T99" fmla="*/ 128 h 256"/>
                <a:gd name="T100" fmla="*/ 230 w 256"/>
                <a:gd name="T101" fmla="*/ 160 h 256"/>
                <a:gd name="T102" fmla="*/ 181 w 256"/>
                <a:gd name="T103" fmla="*/ 1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128" y="0"/>
                  </a:moveTo>
                  <a:cubicBezTo>
                    <a:pt x="116" y="0"/>
                    <a:pt x="104" y="2"/>
                    <a:pt x="93" y="5"/>
                  </a:cubicBezTo>
                  <a:cubicBezTo>
                    <a:pt x="87" y="6"/>
                    <a:pt x="84" y="12"/>
                    <a:pt x="86" y="18"/>
                  </a:cubicBezTo>
                  <a:cubicBezTo>
                    <a:pt x="87" y="22"/>
                    <a:pt x="90" y="25"/>
                    <a:pt x="94" y="25"/>
                  </a:cubicBezTo>
                  <a:cubicBezTo>
                    <a:pt x="87" y="39"/>
                    <a:pt x="81" y="56"/>
                    <a:pt x="78" y="75"/>
                  </a:cubicBezTo>
                  <a:cubicBezTo>
                    <a:pt x="75" y="75"/>
                    <a:pt x="75" y="75"/>
                    <a:pt x="75" y="75"/>
                  </a:cubicBezTo>
                  <a:cubicBezTo>
                    <a:pt x="69" y="75"/>
                    <a:pt x="64" y="79"/>
                    <a:pt x="64" y="85"/>
                  </a:cubicBezTo>
                  <a:cubicBezTo>
                    <a:pt x="64" y="91"/>
                    <a:pt x="69" y="96"/>
                    <a:pt x="75" y="96"/>
                  </a:cubicBezTo>
                  <a:cubicBezTo>
                    <a:pt x="75" y="96"/>
                    <a:pt x="75" y="96"/>
                    <a:pt x="75" y="96"/>
                  </a:cubicBezTo>
                  <a:cubicBezTo>
                    <a:pt x="74" y="106"/>
                    <a:pt x="73" y="117"/>
                    <a:pt x="73" y="128"/>
                  </a:cubicBezTo>
                  <a:cubicBezTo>
                    <a:pt x="73" y="139"/>
                    <a:pt x="74" y="150"/>
                    <a:pt x="75" y="160"/>
                  </a:cubicBezTo>
                  <a:cubicBezTo>
                    <a:pt x="26" y="160"/>
                    <a:pt x="26" y="160"/>
                    <a:pt x="26" y="160"/>
                  </a:cubicBezTo>
                  <a:cubicBezTo>
                    <a:pt x="24" y="153"/>
                    <a:pt x="22" y="145"/>
                    <a:pt x="22" y="138"/>
                  </a:cubicBezTo>
                  <a:cubicBezTo>
                    <a:pt x="21" y="132"/>
                    <a:pt x="16" y="127"/>
                    <a:pt x="10" y="128"/>
                  </a:cubicBezTo>
                  <a:cubicBezTo>
                    <a:pt x="4" y="129"/>
                    <a:pt x="0" y="134"/>
                    <a:pt x="1" y="140"/>
                  </a:cubicBezTo>
                  <a:cubicBezTo>
                    <a:pt x="6" y="206"/>
                    <a:pt x="61" y="256"/>
                    <a:pt x="128" y="256"/>
                  </a:cubicBezTo>
                  <a:cubicBezTo>
                    <a:pt x="199" y="256"/>
                    <a:pt x="256" y="199"/>
                    <a:pt x="256" y="128"/>
                  </a:cubicBezTo>
                  <a:cubicBezTo>
                    <a:pt x="256" y="57"/>
                    <a:pt x="199" y="0"/>
                    <a:pt x="128" y="0"/>
                  </a:cubicBezTo>
                  <a:close/>
                  <a:moveTo>
                    <a:pt x="36" y="181"/>
                  </a:moveTo>
                  <a:cubicBezTo>
                    <a:pt x="78" y="181"/>
                    <a:pt x="78" y="181"/>
                    <a:pt x="78" y="181"/>
                  </a:cubicBezTo>
                  <a:cubicBezTo>
                    <a:pt x="81" y="200"/>
                    <a:pt x="86" y="216"/>
                    <a:pt x="93" y="229"/>
                  </a:cubicBezTo>
                  <a:cubicBezTo>
                    <a:pt x="69" y="220"/>
                    <a:pt x="48" y="204"/>
                    <a:pt x="36" y="181"/>
                  </a:cubicBezTo>
                  <a:close/>
                  <a:moveTo>
                    <a:pt x="220" y="75"/>
                  </a:moveTo>
                  <a:cubicBezTo>
                    <a:pt x="178" y="75"/>
                    <a:pt x="178" y="75"/>
                    <a:pt x="178" y="75"/>
                  </a:cubicBezTo>
                  <a:cubicBezTo>
                    <a:pt x="175" y="57"/>
                    <a:pt x="170" y="40"/>
                    <a:pt x="163" y="27"/>
                  </a:cubicBezTo>
                  <a:cubicBezTo>
                    <a:pt x="187" y="36"/>
                    <a:pt x="207" y="53"/>
                    <a:pt x="220" y="75"/>
                  </a:cubicBezTo>
                  <a:close/>
                  <a:moveTo>
                    <a:pt x="128" y="21"/>
                  </a:moveTo>
                  <a:cubicBezTo>
                    <a:pt x="137" y="21"/>
                    <a:pt x="150" y="41"/>
                    <a:pt x="156" y="75"/>
                  </a:cubicBezTo>
                  <a:cubicBezTo>
                    <a:pt x="100" y="75"/>
                    <a:pt x="100" y="75"/>
                    <a:pt x="100" y="75"/>
                  </a:cubicBezTo>
                  <a:cubicBezTo>
                    <a:pt x="106" y="41"/>
                    <a:pt x="119" y="21"/>
                    <a:pt x="128" y="21"/>
                  </a:cubicBezTo>
                  <a:close/>
                  <a:moveTo>
                    <a:pt x="128" y="235"/>
                  </a:moveTo>
                  <a:cubicBezTo>
                    <a:pt x="119" y="235"/>
                    <a:pt x="106" y="215"/>
                    <a:pt x="100" y="181"/>
                  </a:cubicBezTo>
                  <a:cubicBezTo>
                    <a:pt x="156" y="181"/>
                    <a:pt x="156" y="181"/>
                    <a:pt x="156" y="181"/>
                  </a:cubicBezTo>
                  <a:cubicBezTo>
                    <a:pt x="150" y="215"/>
                    <a:pt x="137" y="235"/>
                    <a:pt x="128" y="235"/>
                  </a:cubicBezTo>
                  <a:close/>
                  <a:moveTo>
                    <a:pt x="160" y="160"/>
                  </a:moveTo>
                  <a:cubicBezTo>
                    <a:pt x="96" y="160"/>
                    <a:pt x="96" y="160"/>
                    <a:pt x="96" y="160"/>
                  </a:cubicBezTo>
                  <a:cubicBezTo>
                    <a:pt x="95" y="150"/>
                    <a:pt x="95" y="139"/>
                    <a:pt x="95" y="128"/>
                  </a:cubicBezTo>
                  <a:cubicBezTo>
                    <a:pt x="95" y="117"/>
                    <a:pt x="95" y="106"/>
                    <a:pt x="96" y="96"/>
                  </a:cubicBezTo>
                  <a:cubicBezTo>
                    <a:pt x="160" y="96"/>
                    <a:pt x="160" y="96"/>
                    <a:pt x="160" y="96"/>
                  </a:cubicBezTo>
                  <a:cubicBezTo>
                    <a:pt x="161" y="106"/>
                    <a:pt x="161" y="117"/>
                    <a:pt x="161" y="128"/>
                  </a:cubicBezTo>
                  <a:cubicBezTo>
                    <a:pt x="161" y="139"/>
                    <a:pt x="161" y="150"/>
                    <a:pt x="160" y="160"/>
                  </a:cubicBezTo>
                  <a:close/>
                  <a:moveTo>
                    <a:pt x="163" y="229"/>
                  </a:moveTo>
                  <a:cubicBezTo>
                    <a:pt x="170" y="216"/>
                    <a:pt x="175" y="199"/>
                    <a:pt x="178" y="181"/>
                  </a:cubicBezTo>
                  <a:cubicBezTo>
                    <a:pt x="220" y="181"/>
                    <a:pt x="220" y="181"/>
                    <a:pt x="220" y="181"/>
                  </a:cubicBezTo>
                  <a:cubicBezTo>
                    <a:pt x="207" y="203"/>
                    <a:pt x="187" y="220"/>
                    <a:pt x="163" y="229"/>
                  </a:cubicBezTo>
                  <a:close/>
                  <a:moveTo>
                    <a:pt x="181" y="160"/>
                  </a:moveTo>
                  <a:cubicBezTo>
                    <a:pt x="182" y="150"/>
                    <a:pt x="183" y="139"/>
                    <a:pt x="183" y="128"/>
                  </a:cubicBezTo>
                  <a:cubicBezTo>
                    <a:pt x="183" y="117"/>
                    <a:pt x="182" y="106"/>
                    <a:pt x="181" y="96"/>
                  </a:cubicBezTo>
                  <a:cubicBezTo>
                    <a:pt x="230" y="96"/>
                    <a:pt x="230" y="96"/>
                    <a:pt x="230" y="96"/>
                  </a:cubicBezTo>
                  <a:cubicBezTo>
                    <a:pt x="233" y="106"/>
                    <a:pt x="235" y="117"/>
                    <a:pt x="235" y="128"/>
                  </a:cubicBezTo>
                  <a:cubicBezTo>
                    <a:pt x="235" y="139"/>
                    <a:pt x="233" y="150"/>
                    <a:pt x="230" y="160"/>
                  </a:cubicBezTo>
                  <a:lnTo>
                    <a:pt x="181" y="16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GB" sz="2382" dirty="0">
                <a:solidFill>
                  <a:srgbClr val="111C4E"/>
                </a:solidFill>
                <a:latin typeface="Verdana"/>
              </a:endParaRPr>
            </a:p>
          </p:txBody>
        </p:sp>
        <p:sp>
          <p:nvSpPr>
            <p:cNvPr id="23" name="Freeform 39">
              <a:extLst>
                <a:ext uri="{FF2B5EF4-FFF2-40B4-BE49-F238E27FC236}">
                  <a16:creationId xmlns:a16="http://schemas.microsoft.com/office/drawing/2014/main" id="{2A111F17-78B7-40DC-9DFA-CB771F2FCF43}"/>
                </a:ext>
              </a:extLst>
            </p:cNvPr>
            <p:cNvSpPr>
              <a:spLocks noEditPoints="1"/>
            </p:cNvSpPr>
            <p:nvPr/>
          </p:nvSpPr>
          <p:spPr bwMode="auto">
            <a:xfrm>
              <a:off x="27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GB" sz="2382" dirty="0">
                <a:solidFill>
                  <a:srgbClr val="111C4E"/>
                </a:solidFill>
                <a:latin typeface="Verdana"/>
              </a:endParaRPr>
            </a:p>
          </p:txBody>
        </p:sp>
      </p:grpSp>
      <p:sp>
        <p:nvSpPr>
          <p:cNvPr id="13" name="Content Placeholder 3">
            <a:extLst>
              <a:ext uri="{FF2B5EF4-FFF2-40B4-BE49-F238E27FC236}">
                <a16:creationId xmlns:a16="http://schemas.microsoft.com/office/drawing/2014/main" id="{F4321C30-CF54-4CE5-AD64-E19002BF31AC}"/>
              </a:ext>
            </a:extLst>
          </p:cNvPr>
          <p:cNvSpPr txBox="1">
            <a:spLocks/>
          </p:cNvSpPr>
          <p:nvPr/>
        </p:nvSpPr>
        <p:spPr>
          <a:xfrm>
            <a:off x="623759" y="1862722"/>
            <a:ext cx="10180893" cy="3906457"/>
          </a:xfrm>
          <a:prstGeom prst="rect">
            <a:avLst/>
          </a:prstGeom>
        </p:spPr>
        <p:txBody>
          <a:bodyPr vert="horz" lIns="0" tIns="0" rIns="0" bIns="0" rtlCol="0">
            <a:noAutofit/>
          </a:bodyPr>
          <a:lstStyle>
            <a:lvl1pPr marL="0" indent="0" algn="l" defTabSz="1219170" rtl="0" eaLnBrk="1" latinLnBrk="0" hangingPunct="1">
              <a:lnSpc>
                <a:spcPct val="120000"/>
              </a:lnSpc>
              <a:spcBef>
                <a:spcPts val="0"/>
              </a:spcBef>
              <a:spcAft>
                <a:spcPts val="1200"/>
              </a:spcAft>
              <a:buSzPct val="100000"/>
              <a:buFontTx/>
              <a:buNone/>
              <a:defRPr sz="1400" b="1" kern="1200">
                <a:solidFill>
                  <a:schemeClr val="accent1"/>
                </a:solidFill>
                <a:latin typeface="Calibri" panose="020F0502020204030204" pitchFamily="34" charset="0"/>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a:lnSpc>
                <a:spcPct val="100000"/>
              </a:lnSpc>
            </a:pPr>
            <a:r>
              <a:rPr lang="en-US" sz="1091" b="0" dirty="0">
                <a:solidFill>
                  <a:schemeClr val="tx1"/>
                </a:solidFill>
                <a:cs typeface="Calibri" panose="020F0502020204030204" pitchFamily="34" charset="0"/>
              </a:rPr>
              <a:t>Business Continuity Management (BCM) is increasingly becoming a strategic imperative, forming part of Boardroom and C-suite conversations as a proven method to maintain reliable, continuous, and resilient operations. In addition to the requirements being enforced by regulators and the shareholders, BCM is the need of the hour especially due to the recent pandemic situation and supply chain issues.</a:t>
            </a:r>
          </a:p>
          <a:p>
            <a:pPr algn="just">
              <a:lnSpc>
                <a:spcPct val="100000"/>
              </a:lnSpc>
            </a:pPr>
            <a:r>
              <a:rPr lang="en-US" sz="1091" b="0" dirty="0">
                <a:solidFill>
                  <a:schemeClr val="tx1"/>
                </a:solidFill>
                <a:cs typeface="Calibri" panose="020F0502020204030204" pitchFamily="34" charset="0"/>
              </a:rPr>
              <a:t>Effective planning and implementation of BCM allows an organization to achieve the below key objectives:</a:t>
            </a:r>
          </a:p>
        </p:txBody>
      </p:sp>
      <p:sp>
        <p:nvSpPr>
          <p:cNvPr id="38" name="TextBox 37">
            <a:extLst>
              <a:ext uri="{FF2B5EF4-FFF2-40B4-BE49-F238E27FC236}">
                <a16:creationId xmlns:a16="http://schemas.microsoft.com/office/drawing/2014/main" id="{2BC5271B-5229-49DD-88D6-A3310B67FB8F}"/>
              </a:ext>
            </a:extLst>
          </p:cNvPr>
          <p:cNvSpPr txBox="1"/>
          <p:nvPr/>
        </p:nvSpPr>
        <p:spPr>
          <a:xfrm>
            <a:off x="5522640" y="3221758"/>
            <a:ext cx="4438772" cy="335397"/>
          </a:xfrm>
          <a:prstGeom prst="rect">
            <a:avLst/>
          </a:prstGeom>
          <a:noFill/>
        </p:spPr>
        <p:txBody>
          <a:bodyPr wrap="square" lIns="0" tIns="0" rIns="0" bIns="0" rtlCol="0">
            <a:spAutoFit/>
          </a:bodyPr>
          <a:lstStyle/>
          <a:p>
            <a:pPr defTabSz="906011">
              <a:spcAft>
                <a:spcPts val="591"/>
              </a:spcAft>
            </a:pPr>
            <a:r>
              <a:rPr lang="en-US" sz="1091" b="1" dirty="0">
                <a:solidFill>
                  <a:srgbClr val="005560"/>
                </a:solidFill>
                <a:latin typeface="Calibri" panose="020F0502020204030204" pitchFamily="34" charset="0"/>
                <a:ea typeface="Verdana" panose="020B0604030504040204" pitchFamily="34" charset="0"/>
                <a:cs typeface="Calibri" panose="020F0502020204030204" pitchFamily="34" charset="0"/>
              </a:rPr>
              <a:t>Health and Safety </a:t>
            </a:r>
            <a:r>
              <a:rPr lang="en-US" sz="1091" b="1" dirty="0">
                <a:solidFill>
                  <a:srgbClr val="0081D0"/>
                </a:solidFill>
                <a:latin typeface="Calibri" panose="020F0502020204030204" pitchFamily="34" charset="0"/>
                <a:ea typeface="Verdana" panose="020B0604030504040204" pitchFamily="34" charset="0"/>
                <a:cs typeface="Calibri" panose="020F0502020204030204" pitchFamily="34" charset="0"/>
              </a:rPr>
              <a:t>-</a:t>
            </a:r>
            <a:r>
              <a:rPr lang="en-US" sz="1091" dirty="0">
                <a:solidFill>
                  <a:srgbClr val="0081D0"/>
                </a:solidFill>
                <a:latin typeface="Calibri" panose="020F0502020204030204" pitchFamily="34" charset="0"/>
                <a:ea typeface="Verdana" panose="020B0604030504040204" pitchFamily="34" charset="0"/>
                <a:cs typeface="Calibri" panose="020F0502020204030204" pitchFamily="34" charset="0"/>
              </a:rPr>
              <a:t> </a:t>
            </a:r>
            <a:r>
              <a:rPr lang="en-US" sz="1091" dirty="0">
                <a:solidFill>
                  <a:srgbClr val="313131"/>
                </a:solidFill>
                <a:latin typeface="Calibri" panose="020F0502020204030204" pitchFamily="34" charset="0"/>
                <a:ea typeface="Verdana" panose="020B0604030504040204" pitchFamily="34" charset="0"/>
                <a:cs typeface="Calibri" panose="020F0502020204030204" pitchFamily="34" charset="0"/>
              </a:rPr>
              <a:t>Protect health and safety of employees, contractors, customers and vendors in the location.</a:t>
            </a:r>
          </a:p>
        </p:txBody>
      </p:sp>
      <p:sp>
        <p:nvSpPr>
          <p:cNvPr id="39" name="Oval 8">
            <a:extLst>
              <a:ext uri="{FF2B5EF4-FFF2-40B4-BE49-F238E27FC236}">
                <a16:creationId xmlns:a16="http://schemas.microsoft.com/office/drawing/2014/main" id="{C53D2854-4D00-471D-B2AE-D9CC84662328}"/>
              </a:ext>
            </a:extLst>
          </p:cNvPr>
          <p:cNvSpPr/>
          <p:nvPr/>
        </p:nvSpPr>
        <p:spPr>
          <a:xfrm rot="21012786">
            <a:off x="4888669" y="3235803"/>
            <a:ext cx="475544" cy="285459"/>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005560"/>
          </a:solidFill>
          <a:ln w="12700" cap="flat" cmpd="sng" algn="ctr">
            <a:noFill/>
            <a:prstDash val="solid"/>
          </a:ln>
          <a:effectLst/>
        </p:spPr>
        <p:txBody>
          <a:bodyPr wrap="square" lIns="35667" tIns="35667" rIns="35667" bIns="35667" rtlCol="0" anchor="ctr">
            <a:spAutoFit/>
          </a:bodyPr>
          <a:lstStyle/>
          <a:p>
            <a:pPr algn="ctr" defTabSz="906011">
              <a:defRPr/>
            </a:pPr>
            <a:endParaRPr lang="en-US" sz="1391" kern="0" dirty="0">
              <a:solidFill>
                <a:srgbClr val="002776"/>
              </a:solidFill>
              <a:latin typeface="Arial"/>
            </a:endParaRPr>
          </a:p>
        </p:txBody>
      </p:sp>
      <p:sp>
        <p:nvSpPr>
          <p:cNvPr id="40" name="TextBox 39">
            <a:extLst>
              <a:ext uri="{FF2B5EF4-FFF2-40B4-BE49-F238E27FC236}">
                <a16:creationId xmlns:a16="http://schemas.microsoft.com/office/drawing/2014/main" id="{939A0A6D-31D8-49CC-A930-9AD73B8EA4CF}"/>
              </a:ext>
            </a:extLst>
          </p:cNvPr>
          <p:cNvSpPr txBox="1"/>
          <p:nvPr/>
        </p:nvSpPr>
        <p:spPr>
          <a:xfrm>
            <a:off x="5522642" y="3763004"/>
            <a:ext cx="4327083" cy="335397"/>
          </a:xfrm>
          <a:prstGeom prst="rect">
            <a:avLst/>
          </a:prstGeom>
          <a:noFill/>
        </p:spPr>
        <p:txBody>
          <a:bodyPr wrap="square" lIns="0" tIns="0" rIns="0" bIns="0" rtlCol="0">
            <a:spAutoFit/>
          </a:bodyPr>
          <a:lstStyle/>
          <a:p>
            <a:pPr defTabSz="906011">
              <a:spcAft>
                <a:spcPts val="591"/>
              </a:spcAft>
            </a:pPr>
            <a:r>
              <a:rPr lang="en-US" sz="1091" b="1" dirty="0">
                <a:solidFill>
                  <a:srgbClr val="00A3E0"/>
                </a:solidFill>
                <a:latin typeface="Calibri" panose="020F0502020204030204" pitchFamily="34" charset="0"/>
                <a:ea typeface="Verdana" panose="020B0604030504040204" pitchFamily="34" charset="0"/>
                <a:cs typeface="Calibri" panose="020F0502020204030204" pitchFamily="34" charset="0"/>
              </a:rPr>
              <a:t>Viability</a:t>
            </a:r>
            <a:r>
              <a:rPr lang="en-US" sz="1091" dirty="0">
                <a:solidFill>
                  <a:srgbClr val="00A3E0"/>
                </a:solidFill>
                <a:latin typeface="Calibri" panose="020F0502020204030204" pitchFamily="34" charset="0"/>
                <a:ea typeface="Verdana" panose="020B0604030504040204" pitchFamily="34" charset="0"/>
                <a:cs typeface="Calibri" panose="020F0502020204030204" pitchFamily="34" charset="0"/>
              </a:rPr>
              <a:t> </a:t>
            </a:r>
            <a:r>
              <a:rPr lang="en-US" sz="1091" b="1" dirty="0">
                <a:solidFill>
                  <a:srgbClr val="00A3E0"/>
                </a:solidFill>
                <a:latin typeface="Calibri" panose="020F0502020204030204" pitchFamily="34" charset="0"/>
                <a:ea typeface="Verdana" panose="020B0604030504040204" pitchFamily="34" charset="0"/>
                <a:cs typeface="Calibri" panose="020F0502020204030204" pitchFamily="34" charset="0"/>
              </a:rPr>
              <a:t>-</a:t>
            </a:r>
            <a:r>
              <a:rPr lang="en-US" sz="1091" dirty="0">
                <a:solidFill>
                  <a:srgbClr val="00A3E0"/>
                </a:solidFill>
                <a:latin typeface="Calibri" panose="020F0502020204030204" pitchFamily="34" charset="0"/>
                <a:ea typeface="Verdana" panose="020B0604030504040204" pitchFamily="34" charset="0"/>
                <a:cs typeface="Calibri" panose="020F0502020204030204" pitchFamily="34" charset="0"/>
              </a:rPr>
              <a:t> </a:t>
            </a:r>
            <a:r>
              <a:rPr lang="en-US" sz="1091" dirty="0">
                <a:solidFill>
                  <a:srgbClr val="313131"/>
                </a:solidFill>
                <a:latin typeface="Calibri" panose="020F0502020204030204" pitchFamily="34" charset="0"/>
                <a:ea typeface="Verdana" panose="020B0604030504040204" pitchFamily="34" charset="0"/>
                <a:cs typeface="Calibri" panose="020F0502020204030204" pitchFamily="34" charset="0"/>
              </a:rPr>
              <a:t>Keeping the organization in the business, continuing to provide quality of products and services to customers.</a:t>
            </a:r>
          </a:p>
        </p:txBody>
      </p:sp>
      <p:sp>
        <p:nvSpPr>
          <p:cNvPr id="41" name="Oval 8">
            <a:extLst>
              <a:ext uri="{FF2B5EF4-FFF2-40B4-BE49-F238E27FC236}">
                <a16:creationId xmlns:a16="http://schemas.microsoft.com/office/drawing/2014/main" id="{593E13FB-11FA-4755-96D1-20C411E1BEEA}"/>
              </a:ext>
            </a:extLst>
          </p:cNvPr>
          <p:cNvSpPr/>
          <p:nvPr/>
        </p:nvSpPr>
        <p:spPr>
          <a:xfrm rot="13988512">
            <a:off x="4909714" y="3862384"/>
            <a:ext cx="433433" cy="285459"/>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00A3E0"/>
          </a:solidFill>
          <a:ln w="12700" cap="flat" cmpd="sng" algn="ctr">
            <a:noFill/>
            <a:prstDash val="solid"/>
          </a:ln>
          <a:effectLst/>
        </p:spPr>
        <p:txBody>
          <a:bodyPr wrap="square" lIns="35667" tIns="35667" rIns="35667" bIns="35667" rtlCol="0" anchor="ctr">
            <a:spAutoFit/>
          </a:bodyPr>
          <a:lstStyle/>
          <a:p>
            <a:pPr algn="ctr" defTabSz="906011">
              <a:defRPr/>
            </a:pPr>
            <a:endParaRPr lang="en-US" sz="1391" kern="0" dirty="0">
              <a:solidFill>
                <a:srgbClr val="002776"/>
              </a:solidFill>
              <a:latin typeface="Arial"/>
            </a:endParaRPr>
          </a:p>
        </p:txBody>
      </p:sp>
      <p:sp>
        <p:nvSpPr>
          <p:cNvPr id="42" name="TextBox 41">
            <a:extLst>
              <a:ext uri="{FF2B5EF4-FFF2-40B4-BE49-F238E27FC236}">
                <a16:creationId xmlns:a16="http://schemas.microsoft.com/office/drawing/2014/main" id="{4A3BB78E-DD65-40DD-B5EC-63A607529323}"/>
              </a:ext>
            </a:extLst>
          </p:cNvPr>
          <p:cNvSpPr txBox="1"/>
          <p:nvPr/>
        </p:nvSpPr>
        <p:spPr>
          <a:xfrm>
            <a:off x="5522640" y="4397193"/>
            <a:ext cx="4438772" cy="167698"/>
          </a:xfrm>
          <a:prstGeom prst="rect">
            <a:avLst/>
          </a:prstGeom>
          <a:noFill/>
        </p:spPr>
        <p:txBody>
          <a:bodyPr wrap="square" lIns="0" tIns="0" rIns="0" bIns="0" rtlCol="0">
            <a:spAutoFit/>
          </a:bodyPr>
          <a:lstStyle/>
          <a:p>
            <a:pPr defTabSz="906011"/>
            <a:r>
              <a:rPr lang="en-US" sz="1091" b="1" dirty="0">
                <a:solidFill>
                  <a:srgbClr val="00ABAB"/>
                </a:solidFill>
                <a:latin typeface="Calibri" panose="020F0502020204030204" pitchFamily="34" charset="0"/>
                <a:ea typeface="Verdana" panose="020B0604030504040204" pitchFamily="34" charset="0"/>
                <a:cs typeface="Calibri" panose="020F0502020204030204" pitchFamily="34" charset="0"/>
              </a:rPr>
              <a:t>Financial Protection - </a:t>
            </a:r>
            <a:r>
              <a:rPr lang="en-US" sz="1091" dirty="0">
                <a:solidFill>
                  <a:srgbClr val="313131"/>
                </a:solidFill>
                <a:latin typeface="Calibri" panose="020F0502020204030204" pitchFamily="34" charset="0"/>
                <a:ea typeface="Verdana" panose="020B0604030504040204" pitchFamily="34" charset="0"/>
                <a:cs typeface="Calibri" panose="020F0502020204030204" pitchFamily="34" charset="0"/>
              </a:rPr>
              <a:t>Protecting the organizations financial commitments.</a:t>
            </a:r>
          </a:p>
        </p:txBody>
      </p:sp>
      <p:sp>
        <p:nvSpPr>
          <p:cNvPr id="43" name="Oval 8">
            <a:extLst>
              <a:ext uri="{FF2B5EF4-FFF2-40B4-BE49-F238E27FC236}">
                <a16:creationId xmlns:a16="http://schemas.microsoft.com/office/drawing/2014/main" id="{3E0D866A-5811-4D06-9D98-C14287C88DE4}"/>
              </a:ext>
            </a:extLst>
          </p:cNvPr>
          <p:cNvSpPr/>
          <p:nvPr/>
        </p:nvSpPr>
        <p:spPr>
          <a:xfrm rot="17081601">
            <a:off x="4875522" y="4428332"/>
            <a:ext cx="501833" cy="285459"/>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00ABAB"/>
          </a:solidFill>
          <a:ln w="12700" cap="flat" cmpd="sng" algn="ctr">
            <a:noFill/>
            <a:prstDash val="solid"/>
          </a:ln>
          <a:effectLst/>
        </p:spPr>
        <p:txBody>
          <a:bodyPr wrap="square" lIns="35667" tIns="35667" rIns="35667" bIns="35667" rtlCol="0" anchor="ctr">
            <a:spAutoFit/>
          </a:bodyPr>
          <a:lstStyle/>
          <a:p>
            <a:pPr algn="ctr" defTabSz="906011">
              <a:defRPr/>
            </a:pPr>
            <a:endParaRPr lang="en-US" sz="1391" kern="0" dirty="0">
              <a:solidFill>
                <a:srgbClr val="002776"/>
              </a:solidFill>
              <a:latin typeface="Arial"/>
            </a:endParaRPr>
          </a:p>
        </p:txBody>
      </p:sp>
      <p:sp>
        <p:nvSpPr>
          <p:cNvPr id="44" name="TextBox 43">
            <a:extLst>
              <a:ext uri="{FF2B5EF4-FFF2-40B4-BE49-F238E27FC236}">
                <a16:creationId xmlns:a16="http://schemas.microsoft.com/office/drawing/2014/main" id="{E16DC0AB-F1D1-4EF2-A635-2642E83C9180}"/>
              </a:ext>
            </a:extLst>
          </p:cNvPr>
          <p:cNvSpPr txBox="1"/>
          <p:nvPr/>
        </p:nvSpPr>
        <p:spPr>
          <a:xfrm>
            <a:off x="5522640" y="4930531"/>
            <a:ext cx="4438772" cy="335397"/>
          </a:xfrm>
          <a:prstGeom prst="rect">
            <a:avLst/>
          </a:prstGeom>
          <a:noFill/>
        </p:spPr>
        <p:txBody>
          <a:bodyPr wrap="square" lIns="0" tIns="0" rIns="0" bIns="0" rtlCol="0">
            <a:spAutoFit/>
          </a:bodyPr>
          <a:lstStyle/>
          <a:p>
            <a:pPr defTabSz="906011">
              <a:spcAft>
                <a:spcPts val="591"/>
              </a:spcAft>
            </a:pPr>
            <a:r>
              <a:rPr lang="en-US" sz="1091" b="1" dirty="0">
                <a:solidFill>
                  <a:srgbClr val="0097A9"/>
                </a:solidFill>
                <a:latin typeface="Calibri" panose="020F0502020204030204" pitchFamily="34" charset="0"/>
                <a:ea typeface="Verdana" panose="020B0604030504040204" pitchFamily="34" charset="0"/>
                <a:cs typeface="Calibri" panose="020F0502020204030204" pitchFamily="34" charset="0"/>
              </a:rPr>
              <a:t>Attract New Customers -</a:t>
            </a:r>
            <a:r>
              <a:rPr lang="en-US" sz="1091" dirty="0">
                <a:solidFill>
                  <a:srgbClr val="0097A9"/>
                </a:solidFill>
                <a:latin typeface="Calibri" panose="020F0502020204030204" pitchFamily="34" charset="0"/>
                <a:ea typeface="Verdana" panose="020B0604030504040204" pitchFamily="34" charset="0"/>
                <a:cs typeface="Calibri" panose="020F0502020204030204" pitchFamily="34" charset="0"/>
              </a:rPr>
              <a:t> </a:t>
            </a:r>
            <a:r>
              <a:rPr lang="en-US" sz="1091" dirty="0">
                <a:solidFill>
                  <a:srgbClr val="313131"/>
                </a:solidFill>
                <a:latin typeface="Calibri" panose="020F0502020204030204" pitchFamily="34" charset="0"/>
                <a:ea typeface="Verdana" panose="020B0604030504040204" pitchFamily="34" charset="0"/>
                <a:cs typeface="Calibri" panose="020F0502020204030204" pitchFamily="34" charset="0"/>
              </a:rPr>
              <a:t>Maintaining the ability to attract new customers and partners with the confidence of having a comprehensive BCMS.</a:t>
            </a:r>
          </a:p>
        </p:txBody>
      </p:sp>
      <p:sp>
        <p:nvSpPr>
          <p:cNvPr id="46" name="Oval 8">
            <a:extLst>
              <a:ext uri="{FF2B5EF4-FFF2-40B4-BE49-F238E27FC236}">
                <a16:creationId xmlns:a16="http://schemas.microsoft.com/office/drawing/2014/main" id="{CD0C8537-E590-4ABF-B6CA-D1A0FEA06489}"/>
              </a:ext>
            </a:extLst>
          </p:cNvPr>
          <p:cNvSpPr/>
          <p:nvPr/>
        </p:nvSpPr>
        <p:spPr>
          <a:xfrm rot="20617441">
            <a:off x="4885552" y="4950648"/>
            <a:ext cx="481766" cy="285459"/>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0097A9"/>
          </a:solidFill>
          <a:ln w="12700" cap="flat" cmpd="sng" algn="ctr">
            <a:noFill/>
            <a:prstDash val="solid"/>
          </a:ln>
          <a:effectLst/>
        </p:spPr>
        <p:txBody>
          <a:bodyPr wrap="square" lIns="35667" tIns="35667" rIns="35667" bIns="35667" rtlCol="0" anchor="ctr">
            <a:spAutoFit/>
          </a:bodyPr>
          <a:lstStyle/>
          <a:p>
            <a:pPr algn="ctr" defTabSz="906011">
              <a:defRPr/>
            </a:pPr>
            <a:endParaRPr lang="en-US" sz="1391" kern="0" dirty="0">
              <a:solidFill>
                <a:srgbClr val="002776"/>
              </a:solidFill>
              <a:latin typeface="Arial"/>
            </a:endParaRPr>
          </a:p>
        </p:txBody>
      </p:sp>
      <p:sp>
        <p:nvSpPr>
          <p:cNvPr id="47" name="TextBox 46">
            <a:extLst>
              <a:ext uri="{FF2B5EF4-FFF2-40B4-BE49-F238E27FC236}">
                <a16:creationId xmlns:a16="http://schemas.microsoft.com/office/drawing/2014/main" id="{19DEAB83-E3C3-49E0-A4E8-A95BF41481E0}"/>
              </a:ext>
            </a:extLst>
          </p:cNvPr>
          <p:cNvSpPr txBox="1"/>
          <p:nvPr/>
        </p:nvSpPr>
        <p:spPr>
          <a:xfrm>
            <a:off x="5522640" y="5527522"/>
            <a:ext cx="4438772" cy="335397"/>
          </a:xfrm>
          <a:prstGeom prst="rect">
            <a:avLst/>
          </a:prstGeom>
          <a:noFill/>
        </p:spPr>
        <p:txBody>
          <a:bodyPr wrap="square" lIns="0" tIns="0" rIns="0" bIns="0" rtlCol="0">
            <a:spAutoFit/>
          </a:bodyPr>
          <a:lstStyle/>
          <a:p>
            <a:pPr defTabSz="906011"/>
            <a:r>
              <a:rPr lang="en-US" sz="1091" b="1" dirty="0">
                <a:solidFill>
                  <a:srgbClr val="0076A8"/>
                </a:solidFill>
                <a:latin typeface="Calibri" panose="020F0502020204030204" pitchFamily="34" charset="0"/>
                <a:ea typeface="Verdana" panose="020B0604030504040204" pitchFamily="34" charset="0"/>
                <a:cs typeface="Calibri" panose="020F0502020204030204" pitchFamily="34" charset="0"/>
              </a:rPr>
              <a:t>Brand Protection -</a:t>
            </a:r>
            <a:r>
              <a:rPr lang="en-US" sz="1091" dirty="0">
                <a:solidFill>
                  <a:srgbClr val="0076A8"/>
                </a:solidFill>
                <a:latin typeface="Calibri" panose="020F0502020204030204" pitchFamily="34" charset="0"/>
                <a:ea typeface="Verdana" panose="020B0604030504040204" pitchFamily="34" charset="0"/>
                <a:cs typeface="Calibri" panose="020F0502020204030204" pitchFamily="34" charset="0"/>
              </a:rPr>
              <a:t> </a:t>
            </a:r>
            <a:r>
              <a:rPr lang="en-US" sz="1091" dirty="0">
                <a:solidFill>
                  <a:srgbClr val="313131"/>
                </a:solidFill>
                <a:latin typeface="Calibri" panose="020F0502020204030204" pitchFamily="34" charset="0"/>
                <a:ea typeface="Verdana" panose="020B0604030504040204" pitchFamily="34" charset="0"/>
                <a:cs typeface="Calibri" panose="020F0502020204030204" pitchFamily="34" charset="0"/>
              </a:rPr>
              <a:t>Avoiding embarrassment in the industry and loss of credibility.</a:t>
            </a:r>
          </a:p>
        </p:txBody>
      </p:sp>
      <p:sp>
        <p:nvSpPr>
          <p:cNvPr id="48" name="Oval 8">
            <a:extLst>
              <a:ext uri="{FF2B5EF4-FFF2-40B4-BE49-F238E27FC236}">
                <a16:creationId xmlns:a16="http://schemas.microsoft.com/office/drawing/2014/main" id="{F00D07C5-62A0-4F0D-87A9-843AA2829BE1}"/>
              </a:ext>
            </a:extLst>
          </p:cNvPr>
          <p:cNvSpPr/>
          <p:nvPr/>
        </p:nvSpPr>
        <p:spPr>
          <a:xfrm rot="2134922">
            <a:off x="4911032" y="5525136"/>
            <a:ext cx="430813" cy="285459"/>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0076A8"/>
          </a:solidFill>
          <a:ln w="12700" cap="flat" cmpd="sng" algn="ctr">
            <a:noFill/>
            <a:prstDash val="solid"/>
          </a:ln>
          <a:effectLst/>
        </p:spPr>
        <p:txBody>
          <a:bodyPr wrap="square" lIns="35667" tIns="35667" rIns="35667" bIns="35667" rtlCol="0" anchor="ctr">
            <a:spAutoFit/>
          </a:bodyPr>
          <a:lstStyle/>
          <a:p>
            <a:pPr algn="ctr" defTabSz="906011">
              <a:defRPr/>
            </a:pPr>
            <a:endParaRPr lang="en-US" sz="1391" kern="0" dirty="0">
              <a:solidFill>
                <a:srgbClr val="002776"/>
              </a:solidFill>
              <a:latin typeface="Arial"/>
            </a:endParaRPr>
          </a:p>
        </p:txBody>
      </p:sp>
      <p:grpSp>
        <p:nvGrpSpPr>
          <p:cNvPr id="74" name="Group 73">
            <a:extLst>
              <a:ext uri="{FF2B5EF4-FFF2-40B4-BE49-F238E27FC236}">
                <a16:creationId xmlns:a16="http://schemas.microsoft.com/office/drawing/2014/main" id="{B8AC92EF-AD18-43F1-B08D-906249CE5D53}"/>
              </a:ext>
            </a:extLst>
          </p:cNvPr>
          <p:cNvGrpSpPr/>
          <p:nvPr/>
        </p:nvGrpSpPr>
        <p:grpSpPr>
          <a:xfrm>
            <a:off x="1848842" y="4484440"/>
            <a:ext cx="1082885" cy="2021040"/>
            <a:chOff x="1603826" y="4089464"/>
            <a:chExt cx="1310291" cy="2445458"/>
          </a:xfrm>
        </p:grpSpPr>
        <p:sp>
          <p:nvSpPr>
            <p:cNvPr id="75" name="Isosceles Triangle 1">
              <a:extLst>
                <a:ext uri="{FF2B5EF4-FFF2-40B4-BE49-F238E27FC236}">
                  <a16:creationId xmlns:a16="http://schemas.microsoft.com/office/drawing/2014/main" id="{D3BDD42B-A71B-4D16-9467-6B3D2FF5BCE2}"/>
                </a:ext>
              </a:extLst>
            </p:cNvPr>
            <p:cNvSpPr/>
            <p:nvPr/>
          </p:nvSpPr>
          <p:spPr>
            <a:xfrm>
              <a:off x="1641139" y="4089464"/>
              <a:ext cx="1272978" cy="2445458"/>
            </a:xfrm>
            <a:custGeom>
              <a:avLst/>
              <a:gdLst>
                <a:gd name="connsiteX0" fmla="*/ 0 w 716890"/>
                <a:gd name="connsiteY0" fmla="*/ 1963496 h 1963496"/>
                <a:gd name="connsiteX1" fmla="*/ 358445 w 716890"/>
                <a:gd name="connsiteY1" fmla="*/ 0 h 1963496"/>
                <a:gd name="connsiteX2" fmla="*/ 716890 w 716890"/>
                <a:gd name="connsiteY2" fmla="*/ 1963496 h 1963496"/>
                <a:gd name="connsiteX3" fmla="*/ 0 w 716890"/>
                <a:gd name="connsiteY3" fmla="*/ 1963496 h 1963496"/>
                <a:gd name="connsiteX0" fmla="*/ 0 w 716890"/>
                <a:gd name="connsiteY0" fmla="*/ 1963496 h 1963496"/>
                <a:gd name="connsiteX1" fmla="*/ 358445 w 716890"/>
                <a:gd name="connsiteY1" fmla="*/ 0 h 1963496"/>
                <a:gd name="connsiteX2" fmla="*/ 716890 w 716890"/>
                <a:gd name="connsiteY2" fmla="*/ 1963496 h 1963496"/>
                <a:gd name="connsiteX3" fmla="*/ 0 w 716890"/>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1019785"/>
                <a:gd name="connsiteY0" fmla="*/ 1963496 h 1963496"/>
                <a:gd name="connsiteX1" fmla="*/ 405308 w 1019785"/>
                <a:gd name="connsiteY1" fmla="*/ 0 h 1963496"/>
                <a:gd name="connsiteX2" fmla="*/ 1019785 w 1019785"/>
                <a:gd name="connsiteY2" fmla="*/ 1950553 h 1963496"/>
                <a:gd name="connsiteX3" fmla="*/ 46863 w 1019785"/>
                <a:gd name="connsiteY3" fmla="*/ 1963496 h 1963496"/>
                <a:gd name="connsiteX0" fmla="*/ 25021 w 1151563"/>
                <a:gd name="connsiteY0" fmla="*/ 1957025 h 1957025"/>
                <a:gd name="connsiteX1" fmla="*/ 537086 w 1151563"/>
                <a:gd name="connsiteY1" fmla="*/ 0 h 1957025"/>
                <a:gd name="connsiteX2" fmla="*/ 1151563 w 1151563"/>
                <a:gd name="connsiteY2" fmla="*/ 1950553 h 1957025"/>
                <a:gd name="connsiteX3" fmla="*/ 25021 w 1151563"/>
                <a:gd name="connsiteY3" fmla="*/ 1957025 h 1957025"/>
              </a:gdLst>
              <a:ahLst/>
              <a:cxnLst>
                <a:cxn ang="0">
                  <a:pos x="connsiteX0" y="connsiteY0"/>
                </a:cxn>
                <a:cxn ang="0">
                  <a:pos x="connsiteX1" y="connsiteY1"/>
                </a:cxn>
                <a:cxn ang="0">
                  <a:pos x="connsiteX2" y="connsiteY2"/>
                </a:cxn>
                <a:cxn ang="0">
                  <a:pos x="connsiteX3" y="connsiteY3"/>
                </a:cxn>
              </a:cxnLst>
              <a:rect l="l" t="t" r="r" b="b"/>
              <a:pathLst>
                <a:path w="1151563" h="1957025">
                  <a:moveTo>
                    <a:pt x="25021" y="1957025"/>
                  </a:moveTo>
                  <a:cubicBezTo>
                    <a:pt x="-67638" y="1448830"/>
                    <a:pt x="95735" y="1181193"/>
                    <a:pt x="537086" y="0"/>
                  </a:cubicBezTo>
                  <a:cubicBezTo>
                    <a:pt x="481004" y="873955"/>
                    <a:pt x="871147" y="1376522"/>
                    <a:pt x="1151563" y="1950553"/>
                  </a:cubicBezTo>
                  <a:lnTo>
                    <a:pt x="25021" y="1957025"/>
                  </a:lnTo>
                  <a:close/>
                </a:path>
              </a:pathLst>
            </a:custGeom>
            <a:solidFill>
              <a:srgbClr val="575757"/>
            </a:solidFill>
            <a:ln w="12700" cap="flat" cmpd="sng" algn="ctr">
              <a:noFill/>
              <a:prstDash val="solid"/>
            </a:ln>
            <a:effectLst/>
          </p:spPr>
          <p:txBody>
            <a:bodyPr lIns="36000" tIns="36000" rIns="36000" bIns="36000" rtlCol="0" anchor="ctr">
              <a:noAutofit/>
            </a:bodyPr>
            <a:lstStyle/>
            <a:p>
              <a:pPr algn="ctr" defTabSz="914206">
                <a:defRPr/>
              </a:pPr>
              <a:endParaRPr lang="en-US" sz="1400" kern="0" dirty="0">
                <a:solidFill>
                  <a:srgbClr val="002776"/>
                </a:solidFill>
                <a:latin typeface="Arial"/>
              </a:endParaRPr>
            </a:p>
          </p:txBody>
        </p:sp>
        <p:sp>
          <p:nvSpPr>
            <p:cNvPr id="76" name="Rectangle 75">
              <a:extLst>
                <a:ext uri="{FF2B5EF4-FFF2-40B4-BE49-F238E27FC236}">
                  <a16:creationId xmlns:a16="http://schemas.microsoft.com/office/drawing/2014/main" id="{AC42179C-C415-4F3B-966B-354D0B65349A}"/>
                </a:ext>
              </a:extLst>
            </p:cNvPr>
            <p:cNvSpPr/>
            <p:nvPr/>
          </p:nvSpPr>
          <p:spPr>
            <a:xfrm>
              <a:off x="1603826" y="5785713"/>
              <a:ext cx="1114345" cy="614475"/>
            </a:xfrm>
            <a:prstGeom prst="rect">
              <a:avLst/>
            </a:prstGeom>
          </p:spPr>
          <p:txBody>
            <a:bodyPr wrap="square" lIns="0" tIns="0" rIns="0" bIns="0">
              <a:spAutoFit/>
            </a:bodyPr>
            <a:lstStyle/>
            <a:p>
              <a:pPr algn="ctr" defTabSz="914206">
                <a:spcAft>
                  <a:spcPts val="600"/>
                </a:spcAft>
              </a:pPr>
              <a:r>
                <a:rPr lang="en-US" sz="1100" b="1" dirty="0">
                  <a:solidFill>
                    <a:srgbClr val="FFFFFF"/>
                  </a:solidFill>
                  <a:latin typeface="Calibri" panose="020F0502020204030204" pitchFamily="34" charset="0"/>
                  <a:ea typeface="Verdana" panose="020B0604030504040204" pitchFamily="34" charset="0"/>
                  <a:cs typeface="Calibri" panose="020F0502020204030204" pitchFamily="34" charset="0"/>
                </a:rPr>
                <a:t>Business Continuity Objectives</a:t>
              </a:r>
            </a:p>
          </p:txBody>
        </p:sp>
      </p:grpSp>
      <p:grpSp>
        <p:nvGrpSpPr>
          <p:cNvPr id="77" name="Group 76">
            <a:extLst>
              <a:ext uri="{FF2B5EF4-FFF2-40B4-BE49-F238E27FC236}">
                <a16:creationId xmlns:a16="http://schemas.microsoft.com/office/drawing/2014/main" id="{384508F8-6A35-4BEA-8638-666A8B9AEDBA}"/>
              </a:ext>
            </a:extLst>
          </p:cNvPr>
          <p:cNvGrpSpPr/>
          <p:nvPr/>
        </p:nvGrpSpPr>
        <p:grpSpPr>
          <a:xfrm>
            <a:off x="727778" y="4372116"/>
            <a:ext cx="1534333" cy="761887"/>
            <a:chOff x="213519" y="3911548"/>
            <a:chExt cx="1856543" cy="921884"/>
          </a:xfrm>
          <a:solidFill>
            <a:srgbClr val="005560"/>
          </a:solidFill>
        </p:grpSpPr>
        <p:sp>
          <p:nvSpPr>
            <p:cNvPr id="78" name="Oval 8">
              <a:extLst>
                <a:ext uri="{FF2B5EF4-FFF2-40B4-BE49-F238E27FC236}">
                  <a16:creationId xmlns:a16="http://schemas.microsoft.com/office/drawing/2014/main" id="{E7B060F1-E8A8-4679-AA30-6C137DC7C8DC}"/>
                </a:ext>
              </a:extLst>
            </p:cNvPr>
            <p:cNvSpPr/>
            <p:nvPr/>
          </p:nvSpPr>
          <p:spPr>
            <a:xfrm rot="21012786">
              <a:off x="213519" y="3911548"/>
              <a:ext cx="1856543" cy="921884"/>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grpFill/>
            <a:ln w="12700" cap="flat" cmpd="sng" algn="ctr">
              <a:noFill/>
              <a:prstDash val="solid"/>
            </a:ln>
            <a:effectLst/>
          </p:spPr>
          <p:txBody>
            <a:bodyPr lIns="36000" tIns="36000" rIns="36000" bIns="36000" rtlCol="0" anchor="ctr">
              <a:spAutoFit/>
            </a:bodyPr>
            <a:lstStyle/>
            <a:p>
              <a:pPr algn="ctr" defTabSz="914206">
                <a:defRPr/>
              </a:pPr>
              <a:endParaRPr lang="en-US" sz="1400" kern="0" dirty="0">
                <a:solidFill>
                  <a:srgbClr val="002776"/>
                </a:solidFill>
                <a:latin typeface="Arial"/>
              </a:endParaRPr>
            </a:p>
          </p:txBody>
        </p:sp>
        <p:sp>
          <p:nvSpPr>
            <p:cNvPr id="79" name="Rectangle 78">
              <a:extLst>
                <a:ext uri="{FF2B5EF4-FFF2-40B4-BE49-F238E27FC236}">
                  <a16:creationId xmlns:a16="http://schemas.microsoft.com/office/drawing/2014/main" id="{E42D6F0D-07F2-4085-83FC-2FCCF9E81528}"/>
                </a:ext>
              </a:extLst>
            </p:cNvPr>
            <p:cNvSpPr/>
            <p:nvPr/>
          </p:nvSpPr>
          <p:spPr>
            <a:xfrm rot="21015576">
              <a:off x="344240" y="4290186"/>
              <a:ext cx="1450709" cy="204825"/>
            </a:xfrm>
            <a:prstGeom prst="rect">
              <a:avLst/>
            </a:prstGeom>
            <a:grpFill/>
          </p:spPr>
          <p:txBody>
            <a:bodyPr wrap="square" lIns="0" tIns="0" rIns="0" bIns="0">
              <a:spAutoFit/>
            </a:bodyPr>
            <a:lstStyle/>
            <a:p>
              <a:pPr algn="ctr" defTabSz="914206">
                <a:spcAft>
                  <a:spcPts val="600"/>
                </a:spcAft>
              </a:pPr>
              <a:r>
                <a:rPr lang="en-US" sz="1100" b="1" dirty="0">
                  <a:solidFill>
                    <a:srgbClr val="FFFFFF"/>
                  </a:solidFill>
                  <a:latin typeface="Calibri" panose="020F0502020204030204" pitchFamily="34" charset="0"/>
                  <a:ea typeface="Verdana" panose="020B0604030504040204" pitchFamily="34" charset="0"/>
                  <a:cs typeface="Calibri" panose="020F0502020204030204" pitchFamily="34" charset="0"/>
                </a:rPr>
                <a:t>Health and Safety</a:t>
              </a:r>
              <a:endParaRPr lang="en-US" sz="1100" dirty="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grpSp>
      <p:grpSp>
        <p:nvGrpSpPr>
          <p:cNvPr id="80" name="Group 79">
            <a:extLst>
              <a:ext uri="{FF2B5EF4-FFF2-40B4-BE49-F238E27FC236}">
                <a16:creationId xmlns:a16="http://schemas.microsoft.com/office/drawing/2014/main" id="{CEED0332-2AFC-4CA6-BFB6-5A484E708849}"/>
              </a:ext>
            </a:extLst>
          </p:cNvPr>
          <p:cNvGrpSpPr/>
          <p:nvPr/>
        </p:nvGrpSpPr>
        <p:grpSpPr>
          <a:xfrm>
            <a:off x="2506016" y="3965076"/>
            <a:ext cx="1532968" cy="629659"/>
            <a:chOff x="2473251" y="3173822"/>
            <a:chExt cx="2244418" cy="921888"/>
          </a:xfrm>
          <a:solidFill>
            <a:srgbClr val="0097A9"/>
          </a:solidFill>
        </p:grpSpPr>
        <p:sp>
          <p:nvSpPr>
            <p:cNvPr id="81" name="Oval 8">
              <a:extLst>
                <a:ext uri="{FF2B5EF4-FFF2-40B4-BE49-F238E27FC236}">
                  <a16:creationId xmlns:a16="http://schemas.microsoft.com/office/drawing/2014/main" id="{760EB885-6C4D-4243-B479-380B7E8EC672}"/>
                </a:ext>
              </a:extLst>
            </p:cNvPr>
            <p:cNvSpPr/>
            <p:nvPr/>
          </p:nvSpPr>
          <p:spPr>
            <a:xfrm rot="20617441">
              <a:off x="2473251" y="3173822"/>
              <a:ext cx="2244418" cy="92188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grpFill/>
            <a:ln w="12700" cap="flat" cmpd="sng" algn="ctr">
              <a:noFill/>
              <a:prstDash val="solid"/>
            </a:ln>
            <a:effectLst/>
          </p:spPr>
          <p:txBody>
            <a:bodyPr lIns="36000" tIns="36000" rIns="36000" bIns="36000" rtlCol="0" anchor="ctr">
              <a:spAutoFit/>
            </a:bodyPr>
            <a:lstStyle/>
            <a:p>
              <a:pPr algn="ctr" defTabSz="914206">
                <a:defRPr/>
              </a:pPr>
              <a:endParaRPr lang="en-US" sz="1400" kern="0" dirty="0">
                <a:solidFill>
                  <a:srgbClr val="002776"/>
                </a:solidFill>
                <a:latin typeface="Arial"/>
              </a:endParaRPr>
            </a:p>
          </p:txBody>
        </p:sp>
        <p:sp>
          <p:nvSpPr>
            <p:cNvPr id="82" name="Rectangle 81">
              <a:extLst>
                <a:ext uri="{FF2B5EF4-FFF2-40B4-BE49-F238E27FC236}">
                  <a16:creationId xmlns:a16="http://schemas.microsoft.com/office/drawing/2014/main" id="{A7B54AE7-315D-4645-9367-BF66EF2910DE}"/>
                </a:ext>
              </a:extLst>
            </p:cNvPr>
            <p:cNvSpPr/>
            <p:nvPr/>
          </p:nvSpPr>
          <p:spPr>
            <a:xfrm rot="20553628">
              <a:off x="2773561" y="3450071"/>
              <a:ext cx="1658378" cy="204826"/>
            </a:xfrm>
            <a:prstGeom prst="rect">
              <a:avLst/>
            </a:prstGeom>
            <a:grpFill/>
          </p:spPr>
          <p:txBody>
            <a:bodyPr wrap="square" lIns="0" tIns="0" rIns="0" bIns="0">
              <a:spAutoFit/>
            </a:bodyPr>
            <a:lstStyle/>
            <a:p>
              <a:pPr algn="ctr" defTabSz="914206">
                <a:spcAft>
                  <a:spcPts val="600"/>
                </a:spcAft>
              </a:pPr>
              <a:r>
                <a:rPr lang="en-US" sz="1100" b="1" dirty="0">
                  <a:solidFill>
                    <a:srgbClr val="FFFFFF"/>
                  </a:solidFill>
                  <a:latin typeface="Calibri" panose="020F0502020204030204" pitchFamily="34" charset="0"/>
                  <a:ea typeface="Verdana" panose="020B0604030504040204" pitchFamily="34" charset="0"/>
                  <a:cs typeface="Calibri" panose="020F0502020204030204" pitchFamily="34" charset="0"/>
                </a:rPr>
                <a:t>Attract New Customers</a:t>
              </a:r>
              <a:endParaRPr lang="en-US" sz="1100" dirty="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grpSp>
      <p:grpSp>
        <p:nvGrpSpPr>
          <p:cNvPr id="83" name="Group 82">
            <a:extLst>
              <a:ext uri="{FF2B5EF4-FFF2-40B4-BE49-F238E27FC236}">
                <a16:creationId xmlns:a16="http://schemas.microsoft.com/office/drawing/2014/main" id="{4120080A-6CB3-4438-AA6C-90E8A3FB110F}"/>
              </a:ext>
            </a:extLst>
          </p:cNvPr>
          <p:cNvGrpSpPr/>
          <p:nvPr/>
        </p:nvGrpSpPr>
        <p:grpSpPr>
          <a:xfrm>
            <a:off x="2304183" y="4755071"/>
            <a:ext cx="1398592" cy="692625"/>
            <a:chOff x="2229327" y="4314112"/>
            <a:chExt cx="1861526" cy="921884"/>
          </a:xfrm>
          <a:solidFill>
            <a:srgbClr val="0076A8"/>
          </a:solidFill>
        </p:grpSpPr>
        <p:sp>
          <p:nvSpPr>
            <p:cNvPr id="84" name="Oval 8">
              <a:extLst>
                <a:ext uri="{FF2B5EF4-FFF2-40B4-BE49-F238E27FC236}">
                  <a16:creationId xmlns:a16="http://schemas.microsoft.com/office/drawing/2014/main" id="{AAD43E0B-19D6-426D-8C33-A9F01087F57A}"/>
                </a:ext>
              </a:extLst>
            </p:cNvPr>
            <p:cNvSpPr/>
            <p:nvPr/>
          </p:nvSpPr>
          <p:spPr>
            <a:xfrm rot="2134922">
              <a:off x="2229327" y="4314112"/>
              <a:ext cx="1861526" cy="921884"/>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grpFill/>
            <a:ln w="12700" cap="flat" cmpd="sng" algn="ctr">
              <a:noFill/>
              <a:prstDash val="solid"/>
            </a:ln>
            <a:effectLst/>
          </p:spPr>
          <p:txBody>
            <a:bodyPr wrap="square" lIns="36000" tIns="36000" rIns="36000" bIns="36000" rtlCol="0" anchor="ctr">
              <a:spAutoFit/>
            </a:bodyPr>
            <a:lstStyle/>
            <a:p>
              <a:pPr algn="ctr" defTabSz="914206">
                <a:defRPr/>
              </a:pPr>
              <a:endParaRPr lang="en-US" sz="1400" kern="0" dirty="0">
                <a:solidFill>
                  <a:srgbClr val="002776"/>
                </a:solidFill>
                <a:latin typeface="Arial"/>
              </a:endParaRPr>
            </a:p>
          </p:txBody>
        </p:sp>
        <p:sp>
          <p:nvSpPr>
            <p:cNvPr id="85" name="Rectangle 84">
              <a:extLst>
                <a:ext uri="{FF2B5EF4-FFF2-40B4-BE49-F238E27FC236}">
                  <a16:creationId xmlns:a16="http://schemas.microsoft.com/office/drawing/2014/main" id="{3D3454F0-AC70-43C0-BEE2-7B098DF26BEB}"/>
                </a:ext>
              </a:extLst>
            </p:cNvPr>
            <p:cNvSpPr/>
            <p:nvPr/>
          </p:nvSpPr>
          <p:spPr>
            <a:xfrm rot="1945462">
              <a:off x="2469377" y="4680042"/>
              <a:ext cx="1450709" cy="204825"/>
            </a:xfrm>
            <a:prstGeom prst="rect">
              <a:avLst/>
            </a:prstGeom>
            <a:grpFill/>
          </p:spPr>
          <p:txBody>
            <a:bodyPr wrap="square" lIns="0" tIns="0" rIns="0" bIns="0">
              <a:spAutoFit/>
            </a:bodyPr>
            <a:lstStyle/>
            <a:p>
              <a:pPr algn="ctr" defTabSz="914206">
                <a:spcAft>
                  <a:spcPts val="600"/>
                </a:spcAft>
              </a:pPr>
              <a:r>
                <a:rPr lang="en-US" sz="1100" b="1" dirty="0">
                  <a:solidFill>
                    <a:srgbClr val="FFFFFF"/>
                  </a:solidFill>
                  <a:latin typeface="Calibri" panose="020F0502020204030204" pitchFamily="34" charset="0"/>
                  <a:ea typeface="Verdana" panose="020B0604030504040204" pitchFamily="34" charset="0"/>
                  <a:cs typeface="Calibri" panose="020F0502020204030204" pitchFamily="34" charset="0"/>
                </a:rPr>
                <a:t>Brand Protection</a:t>
              </a:r>
              <a:endParaRPr lang="en-US" sz="1100" dirty="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grpSp>
      <p:sp>
        <p:nvSpPr>
          <p:cNvPr id="86" name="Isosceles Triangle 85">
            <a:extLst>
              <a:ext uri="{FF2B5EF4-FFF2-40B4-BE49-F238E27FC236}">
                <a16:creationId xmlns:a16="http://schemas.microsoft.com/office/drawing/2014/main" id="{E30F7278-B0DC-40DD-B830-503D9483BC33}"/>
              </a:ext>
            </a:extLst>
          </p:cNvPr>
          <p:cNvSpPr/>
          <p:nvPr/>
        </p:nvSpPr>
        <p:spPr>
          <a:xfrm rot="15375693">
            <a:off x="1866955" y="4117093"/>
            <a:ext cx="99418" cy="308915"/>
          </a:xfrm>
          <a:prstGeom prst="triangle">
            <a:avLst/>
          </a:prstGeom>
          <a:solidFill>
            <a:srgbClr val="FFFFFF"/>
          </a:solidFill>
          <a:ln w="12700" cap="flat" cmpd="sng" algn="ctr">
            <a:noFill/>
            <a:prstDash val="solid"/>
          </a:ln>
          <a:effectLst/>
        </p:spPr>
        <p:txBody>
          <a:bodyPr lIns="36000" tIns="36000" rIns="36000" bIns="36000" rtlCol="0" anchor="ctr">
            <a:spAutoFit/>
          </a:bodyPr>
          <a:lstStyle/>
          <a:p>
            <a:pPr algn="ctr" defTabSz="914206">
              <a:defRPr/>
            </a:pPr>
            <a:endParaRPr lang="en-US" sz="1400" kern="0" dirty="0">
              <a:solidFill>
                <a:srgbClr val="002776"/>
              </a:solidFill>
              <a:latin typeface="Arial"/>
            </a:endParaRPr>
          </a:p>
        </p:txBody>
      </p:sp>
      <p:sp>
        <p:nvSpPr>
          <p:cNvPr id="87" name="Isosceles Triangle 86">
            <a:extLst>
              <a:ext uri="{FF2B5EF4-FFF2-40B4-BE49-F238E27FC236}">
                <a16:creationId xmlns:a16="http://schemas.microsoft.com/office/drawing/2014/main" id="{14EEEDA2-CC37-43F6-89A3-7EE0A391C6A7}"/>
              </a:ext>
            </a:extLst>
          </p:cNvPr>
          <p:cNvSpPr/>
          <p:nvPr/>
        </p:nvSpPr>
        <p:spPr>
          <a:xfrm rot="19771605">
            <a:off x="1838542" y="3591058"/>
            <a:ext cx="140624" cy="371831"/>
          </a:xfrm>
          <a:prstGeom prst="triangle">
            <a:avLst/>
          </a:prstGeom>
          <a:solidFill>
            <a:srgbClr val="FFFFFF"/>
          </a:solidFill>
          <a:ln w="12700" cap="flat" cmpd="sng" algn="ctr">
            <a:noFill/>
            <a:prstDash val="solid"/>
          </a:ln>
          <a:effectLst/>
        </p:spPr>
        <p:txBody>
          <a:bodyPr lIns="36000" tIns="36000" rIns="36000" bIns="36000" rtlCol="0" anchor="ctr">
            <a:spAutoFit/>
          </a:bodyPr>
          <a:lstStyle/>
          <a:p>
            <a:pPr algn="ctr" defTabSz="914206">
              <a:defRPr/>
            </a:pPr>
            <a:endParaRPr lang="en-US" sz="1400" kern="0" dirty="0">
              <a:solidFill>
                <a:srgbClr val="002776"/>
              </a:solidFill>
              <a:latin typeface="Arial"/>
            </a:endParaRPr>
          </a:p>
        </p:txBody>
      </p:sp>
      <p:sp>
        <p:nvSpPr>
          <p:cNvPr id="88" name="Isosceles Triangle 87">
            <a:extLst>
              <a:ext uri="{FF2B5EF4-FFF2-40B4-BE49-F238E27FC236}">
                <a16:creationId xmlns:a16="http://schemas.microsoft.com/office/drawing/2014/main" id="{6A97EB03-7629-409D-9FB2-2AC4EFBD18CD}"/>
              </a:ext>
            </a:extLst>
          </p:cNvPr>
          <p:cNvSpPr/>
          <p:nvPr/>
        </p:nvSpPr>
        <p:spPr>
          <a:xfrm rot="667926">
            <a:off x="2294391" y="3568727"/>
            <a:ext cx="99568" cy="291528"/>
          </a:xfrm>
          <a:prstGeom prst="triangle">
            <a:avLst/>
          </a:prstGeom>
          <a:solidFill>
            <a:srgbClr val="FFFFFF"/>
          </a:solidFill>
          <a:ln w="12700" cap="flat" cmpd="sng" algn="ctr">
            <a:noFill/>
            <a:prstDash val="solid"/>
          </a:ln>
          <a:effectLst/>
        </p:spPr>
        <p:txBody>
          <a:bodyPr lIns="36000" tIns="36000" rIns="36000" bIns="36000" rtlCol="0" anchor="ctr">
            <a:spAutoFit/>
          </a:bodyPr>
          <a:lstStyle/>
          <a:p>
            <a:pPr algn="ctr" defTabSz="914206">
              <a:defRPr/>
            </a:pPr>
            <a:endParaRPr lang="en-US" sz="1400" kern="0" dirty="0">
              <a:solidFill>
                <a:srgbClr val="002776"/>
              </a:solidFill>
              <a:latin typeface="Arial"/>
            </a:endParaRPr>
          </a:p>
        </p:txBody>
      </p:sp>
      <p:sp>
        <p:nvSpPr>
          <p:cNvPr id="89" name="Isosceles Triangle 88">
            <a:extLst>
              <a:ext uri="{FF2B5EF4-FFF2-40B4-BE49-F238E27FC236}">
                <a16:creationId xmlns:a16="http://schemas.microsoft.com/office/drawing/2014/main" id="{234AF9F7-5972-496E-9A75-B025BD240FE4}"/>
              </a:ext>
            </a:extLst>
          </p:cNvPr>
          <p:cNvSpPr/>
          <p:nvPr/>
        </p:nvSpPr>
        <p:spPr>
          <a:xfrm rot="4612747">
            <a:off x="2581188" y="3790901"/>
            <a:ext cx="99568" cy="291528"/>
          </a:xfrm>
          <a:prstGeom prst="triangle">
            <a:avLst/>
          </a:prstGeom>
          <a:solidFill>
            <a:srgbClr val="FFFFFF"/>
          </a:solidFill>
          <a:ln w="12700" cap="flat" cmpd="sng" algn="ctr">
            <a:noFill/>
            <a:prstDash val="solid"/>
          </a:ln>
          <a:effectLst/>
        </p:spPr>
        <p:txBody>
          <a:bodyPr lIns="36000" tIns="36000" rIns="36000" bIns="36000" rtlCol="0" anchor="ctr">
            <a:spAutoFit/>
          </a:bodyPr>
          <a:lstStyle/>
          <a:p>
            <a:pPr algn="ctr" defTabSz="914206">
              <a:defRPr/>
            </a:pPr>
            <a:endParaRPr lang="en-US" sz="1400" kern="0" dirty="0">
              <a:solidFill>
                <a:srgbClr val="002776"/>
              </a:solidFill>
              <a:latin typeface="Arial"/>
            </a:endParaRPr>
          </a:p>
        </p:txBody>
      </p:sp>
      <p:sp>
        <p:nvSpPr>
          <p:cNvPr id="90" name="Isosceles Triangle 89">
            <a:extLst>
              <a:ext uri="{FF2B5EF4-FFF2-40B4-BE49-F238E27FC236}">
                <a16:creationId xmlns:a16="http://schemas.microsoft.com/office/drawing/2014/main" id="{2D6080E0-816E-4D47-9E06-51075E5EB693}"/>
              </a:ext>
            </a:extLst>
          </p:cNvPr>
          <p:cNvSpPr/>
          <p:nvPr/>
        </p:nvSpPr>
        <p:spPr>
          <a:xfrm rot="7641846">
            <a:off x="2426348" y="4147732"/>
            <a:ext cx="99568" cy="291528"/>
          </a:xfrm>
          <a:prstGeom prst="triangle">
            <a:avLst/>
          </a:prstGeom>
          <a:solidFill>
            <a:srgbClr val="FFFFFF"/>
          </a:solidFill>
          <a:ln w="12700" cap="flat" cmpd="sng" algn="ctr">
            <a:noFill/>
            <a:prstDash val="solid"/>
          </a:ln>
          <a:effectLst/>
        </p:spPr>
        <p:txBody>
          <a:bodyPr lIns="36000" tIns="36000" rIns="36000" bIns="36000" rtlCol="0" anchor="ctr">
            <a:spAutoFit/>
          </a:bodyPr>
          <a:lstStyle/>
          <a:p>
            <a:pPr algn="ctr" defTabSz="914206">
              <a:defRPr/>
            </a:pPr>
            <a:endParaRPr lang="en-US" sz="1400" kern="0" dirty="0">
              <a:solidFill>
                <a:srgbClr val="002776"/>
              </a:solidFill>
              <a:latin typeface="Arial"/>
            </a:endParaRPr>
          </a:p>
        </p:txBody>
      </p:sp>
      <p:grpSp>
        <p:nvGrpSpPr>
          <p:cNvPr id="91" name="Group 90">
            <a:extLst>
              <a:ext uri="{FF2B5EF4-FFF2-40B4-BE49-F238E27FC236}">
                <a16:creationId xmlns:a16="http://schemas.microsoft.com/office/drawing/2014/main" id="{48509E40-93CD-4CA5-AC1C-8B368B59E721}"/>
              </a:ext>
            </a:extLst>
          </p:cNvPr>
          <p:cNvGrpSpPr/>
          <p:nvPr/>
        </p:nvGrpSpPr>
        <p:grpSpPr>
          <a:xfrm>
            <a:off x="2225084" y="2977620"/>
            <a:ext cx="692625" cy="1464045"/>
            <a:chOff x="2141848" y="1722169"/>
            <a:chExt cx="921885" cy="2143509"/>
          </a:xfrm>
          <a:solidFill>
            <a:srgbClr val="00ABAB"/>
          </a:solidFill>
        </p:grpSpPr>
        <p:sp>
          <p:nvSpPr>
            <p:cNvPr id="92" name="Oval 8">
              <a:extLst>
                <a:ext uri="{FF2B5EF4-FFF2-40B4-BE49-F238E27FC236}">
                  <a16:creationId xmlns:a16="http://schemas.microsoft.com/office/drawing/2014/main" id="{15DF87BA-4E8E-41ED-BD00-887BA2B2C93F}"/>
                </a:ext>
              </a:extLst>
            </p:cNvPr>
            <p:cNvSpPr/>
            <p:nvPr/>
          </p:nvSpPr>
          <p:spPr>
            <a:xfrm rot="17081601">
              <a:off x="1531036" y="2332981"/>
              <a:ext cx="2143509" cy="921885"/>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grpFill/>
            <a:ln w="12700" cap="flat" cmpd="sng" algn="ctr">
              <a:noFill/>
              <a:prstDash val="solid"/>
            </a:ln>
            <a:effectLst/>
          </p:spPr>
          <p:txBody>
            <a:bodyPr wrap="square" lIns="36000" tIns="36000" rIns="36000" bIns="36000" rtlCol="0" anchor="ctr">
              <a:spAutoFit/>
            </a:bodyPr>
            <a:lstStyle/>
            <a:p>
              <a:pPr algn="ctr" defTabSz="914206">
                <a:defRPr/>
              </a:pPr>
              <a:endParaRPr lang="en-US" sz="1400" kern="0" dirty="0">
                <a:solidFill>
                  <a:srgbClr val="002776"/>
                </a:solidFill>
                <a:latin typeface="Arial"/>
              </a:endParaRPr>
            </a:p>
          </p:txBody>
        </p:sp>
        <p:sp>
          <p:nvSpPr>
            <p:cNvPr id="93" name="Rectangle 92">
              <a:extLst>
                <a:ext uri="{FF2B5EF4-FFF2-40B4-BE49-F238E27FC236}">
                  <a16:creationId xmlns:a16="http://schemas.microsoft.com/office/drawing/2014/main" id="{75F4F8AA-1BF1-47BB-92E5-EFC4442E6996}"/>
                </a:ext>
              </a:extLst>
            </p:cNvPr>
            <p:cNvSpPr/>
            <p:nvPr/>
          </p:nvSpPr>
          <p:spPr>
            <a:xfrm rot="17082654">
              <a:off x="2024560" y="2626774"/>
              <a:ext cx="1131127" cy="372409"/>
            </a:xfrm>
            <a:prstGeom prst="rect">
              <a:avLst/>
            </a:prstGeom>
            <a:grpFill/>
          </p:spPr>
          <p:txBody>
            <a:bodyPr wrap="square" lIns="0" tIns="0" rIns="0" bIns="0">
              <a:spAutoFit/>
            </a:bodyPr>
            <a:lstStyle/>
            <a:p>
              <a:pPr algn="ctr" defTabSz="914206"/>
              <a:r>
                <a:rPr lang="en-US" sz="1100" b="1" dirty="0">
                  <a:solidFill>
                    <a:srgbClr val="FFFFFF"/>
                  </a:solidFill>
                  <a:latin typeface="Calibri" panose="020F0502020204030204" pitchFamily="34" charset="0"/>
                  <a:ea typeface="Verdana" panose="020B0604030504040204" pitchFamily="34" charset="0"/>
                  <a:cs typeface="Calibri" panose="020F0502020204030204" pitchFamily="34" charset="0"/>
                </a:rPr>
                <a:t>Financial Protection</a:t>
              </a:r>
              <a:endParaRPr lang="en-US" sz="1100" dirty="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grpSp>
      <p:grpSp>
        <p:nvGrpSpPr>
          <p:cNvPr id="94" name="Group 93">
            <a:extLst>
              <a:ext uri="{FF2B5EF4-FFF2-40B4-BE49-F238E27FC236}">
                <a16:creationId xmlns:a16="http://schemas.microsoft.com/office/drawing/2014/main" id="{D39F19A3-18C4-42F1-8C6B-3C7EB39FB174}"/>
              </a:ext>
            </a:extLst>
          </p:cNvPr>
          <p:cNvGrpSpPr/>
          <p:nvPr/>
        </p:nvGrpSpPr>
        <p:grpSpPr>
          <a:xfrm>
            <a:off x="1324766" y="2957371"/>
            <a:ext cx="772354" cy="1665062"/>
            <a:chOff x="726966" y="1897394"/>
            <a:chExt cx="1243883" cy="2216198"/>
          </a:xfrm>
          <a:solidFill>
            <a:srgbClr val="00A3E0"/>
          </a:solidFill>
        </p:grpSpPr>
        <p:sp>
          <p:nvSpPr>
            <p:cNvPr id="95" name="Oval 8">
              <a:extLst>
                <a:ext uri="{FF2B5EF4-FFF2-40B4-BE49-F238E27FC236}">
                  <a16:creationId xmlns:a16="http://schemas.microsoft.com/office/drawing/2014/main" id="{B88E4FFE-8B36-40F8-BB6A-D75CD5B98DA4}"/>
                </a:ext>
              </a:extLst>
            </p:cNvPr>
            <p:cNvSpPr/>
            <p:nvPr/>
          </p:nvSpPr>
          <p:spPr>
            <a:xfrm rot="13988512">
              <a:off x="236960" y="2419822"/>
              <a:ext cx="2216198" cy="117134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grpFill/>
            <a:ln w="12700" cap="flat" cmpd="sng" algn="ctr">
              <a:noFill/>
              <a:prstDash val="solid"/>
            </a:ln>
            <a:effectLst/>
          </p:spPr>
          <p:txBody>
            <a:bodyPr lIns="36000" tIns="36000" rIns="36000" bIns="36000" rtlCol="0" anchor="ctr">
              <a:spAutoFit/>
            </a:bodyPr>
            <a:lstStyle/>
            <a:p>
              <a:pPr algn="ctr" defTabSz="914206">
                <a:defRPr/>
              </a:pPr>
              <a:endParaRPr lang="en-US" sz="1400" kern="0" dirty="0">
                <a:solidFill>
                  <a:srgbClr val="002776"/>
                </a:solidFill>
                <a:latin typeface="Arial"/>
              </a:endParaRPr>
            </a:p>
          </p:txBody>
        </p:sp>
        <p:sp>
          <p:nvSpPr>
            <p:cNvPr id="96" name="Rectangle 95">
              <a:extLst>
                <a:ext uri="{FF2B5EF4-FFF2-40B4-BE49-F238E27FC236}">
                  <a16:creationId xmlns:a16="http://schemas.microsoft.com/office/drawing/2014/main" id="{DEC12799-216A-4D16-B513-10198AEE802A}"/>
                </a:ext>
              </a:extLst>
            </p:cNvPr>
            <p:cNvSpPr/>
            <p:nvPr/>
          </p:nvSpPr>
          <p:spPr>
            <a:xfrm>
              <a:off x="726966" y="2879488"/>
              <a:ext cx="1243883" cy="204825"/>
            </a:xfrm>
            <a:prstGeom prst="rect">
              <a:avLst/>
            </a:prstGeom>
            <a:grpFill/>
          </p:spPr>
          <p:txBody>
            <a:bodyPr wrap="square" lIns="0" tIns="0" rIns="0" bIns="0">
              <a:spAutoFit/>
            </a:bodyPr>
            <a:lstStyle/>
            <a:p>
              <a:pPr algn="ctr" defTabSz="914206">
                <a:spcAft>
                  <a:spcPts val="600"/>
                </a:spcAft>
              </a:pPr>
              <a:r>
                <a:rPr lang="en-US" sz="1100" b="1" dirty="0">
                  <a:solidFill>
                    <a:srgbClr val="FFFFFF"/>
                  </a:solidFill>
                  <a:latin typeface="Calibri" panose="020F0502020204030204" pitchFamily="34" charset="0"/>
                  <a:ea typeface="Verdana" panose="020B0604030504040204" pitchFamily="34" charset="0"/>
                  <a:cs typeface="Calibri" panose="020F0502020204030204" pitchFamily="34" charset="0"/>
                </a:rPr>
                <a:t>Viability</a:t>
              </a:r>
              <a:endParaRPr lang="en-US" sz="1100" dirty="0">
                <a:solidFill>
                  <a:srgbClr val="FFFFFF"/>
                </a:solidFill>
                <a:latin typeface="Calibri" panose="020F0502020204030204" pitchFamily="34" charset="0"/>
                <a:ea typeface="Verdana" panose="020B0604030504040204" pitchFamily="34" charset="0"/>
                <a:cs typeface="Calibri" panose="020F0502020204030204" pitchFamily="34" charset="0"/>
              </a:endParaRPr>
            </a:p>
          </p:txBody>
        </p:sp>
      </p:grpSp>
      <p:sp>
        <p:nvSpPr>
          <p:cNvPr id="98" name="Rectangle 97">
            <a:extLst>
              <a:ext uri="{FF2B5EF4-FFF2-40B4-BE49-F238E27FC236}">
                <a16:creationId xmlns:a16="http://schemas.microsoft.com/office/drawing/2014/main" id="{5E9ED55B-AEC7-496D-9FC9-AC15C33AC95D}"/>
              </a:ext>
            </a:extLst>
          </p:cNvPr>
          <p:cNvSpPr/>
          <p:nvPr/>
        </p:nvSpPr>
        <p:spPr bwMode="gray">
          <a:xfrm>
            <a:off x="1" y="0"/>
            <a:ext cx="165462" cy="6858000"/>
          </a:xfrm>
          <a:prstGeom prst="rect">
            <a:avLst/>
          </a:prstGeom>
          <a:solidFill>
            <a:srgbClr val="7F7F7F"/>
          </a:solidFill>
          <a:ln w="19050" algn="ctr">
            <a:noFill/>
            <a:miter lim="800000"/>
            <a:headEnd/>
            <a:tailEnd/>
          </a:ln>
        </p:spPr>
        <p:txBody>
          <a:bodyPr wrap="square" lIns="88900" tIns="88900" rIns="88900" bIns="88900" rtlCol="0" anchor="b"/>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332052444"/>
      </p:ext>
    </p:extLst>
  </p:cSld>
  <p:clrMapOvr>
    <a:masterClrMapping/>
  </p:clrMapOvr>
  <p:transition spd="med">
    <p:pull/>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EA765964-1504-43F4-A44C-FD52378F1F4D}"/>
              </a:ext>
            </a:extLst>
          </p:cNvPr>
          <p:cNvSpPr>
            <a:spLocks noGrp="1"/>
          </p:cNvSpPr>
          <p:nvPr>
            <p:ph type="title"/>
          </p:nvPr>
        </p:nvSpPr>
        <p:spPr/>
        <p:txBody>
          <a:bodyPr/>
          <a:lstStyle/>
          <a:p>
            <a:r>
              <a:rPr lang="en-US" sz="2382" dirty="0"/>
              <a:t>Project Assumptions</a:t>
            </a:r>
          </a:p>
        </p:txBody>
      </p:sp>
      <p:sp>
        <p:nvSpPr>
          <p:cNvPr id="8" name="Rectangle 7">
            <a:extLst>
              <a:ext uri="{FF2B5EF4-FFF2-40B4-BE49-F238E27FC236}">
                <a16:creationId xmlns:a16="http://schemas.microsoft.com/office/drawing/2014/main" id="{0B855EE4-7941-4EBE-AFA4-B0B5073D1465}"/>
              </a:ext>
            </a:extLst>
          </p:cNvPr>
          <p:cNvSpPr/>
          <p:nvPr/>
        </p:nvSpPr>
        <p:spPr>
          <a:xfrm>
            <a:off x="406932" y="1114385"/>
            <a:ext cx="10694169" cy="5439951"/>
          </a:xfrm>
          <a:prstGeom prst="rect">
            <a:avLst/>
          </a:prstGeom>
        </p:spPr>
        <p:txBody>
          <a:bodyPr wrap="square">
            <a:spAutoFit/>
          </a:bodyPr>
          <a:lstStyle/>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Due to the latest travel restrictions applied to flights and passengers departing from certain destinations and considering rapid and unexpected changes in the application of these travel restrictions, Deloitte cannot guarantee that any of resources and team members will be available on the ground at the project start date or at any date thereafter.</a:t>
            </a:r>
          </a:p>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If these risks materialize to any of the Deloitte project team members (and our experts, as applicable) before and/or during project implementation, both Parties will collaborate to redesign the project delivery model while taking advantage of digital methods of team communication and cross-border cooperation to reduce the impact on the project where possible. Deloitte will continue to monitor the situation across the region and will keep an open channel of communication with you in order to deploy the most effective methods of delivery, where possible, and while taking into consideration the challenges we encounter regarding the Epidemics or Pandemics, whilst ensuring that the safety and health of both your and our personnel is our priority</a:t>
            </a:r>
          </a:p>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Deloitte Touche Tohmatsu Limited (“DTTL”), is a UK private company limited by guarantee. DTTL and each of the DTTL member firms, their subsidiaries, predecessors, successors, assignees and subcontractors and all partners, associate partners, members, owners, directors, employees and agents of all such entities (hereinafter collectively “D&amp;T Parties”) are separate and independent legal entities, which cannot obligate, bind or act on behalf of each other. Each DTTL member firm renders services in a particular geographic area and jurisdiction and is subject to the laws and professional regulations of the particular country or countries in which it operates. DTTL itself does not render services to clients. DTTL and each DTTL member firm are liable only for their own acts or omissions and not those of each other. This Agreement is solely between the Client and Deloitte &amp; Touche Advisory Saudi Limited (“Deloitte”).</a:t>
            </a:r>
          </a:p>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Services may include advice and recommendations provided by Deloitte, but all decisions in connection with the implementation of such advice and recommendations shall be the responsibility of, and made by, stc. Deliverables are supplied on the basis that they are for the sole internal use of the Client and for the exclusive purpose set out therein. Deloitte shall not be liable for any loss, damages, costs or expenses directly or indirectly incurred by any party other than the Client who may rely upon the Deliverables for whatsoever reason. Any advice, recommendation, report, certificate, schedule or other Deliverable arising from or in connection with the Services under this Agreement will be for the sole use of the Client. No person other than the Client shall be entitled to make use of any Deliverable, unless this has been agreed to in writing between the Parties, in advance, and subject to terms agreed between the Parties. Any such advice, recommendation, report, certificate, schedule or other Deliverable is based on the particular facts and circumstances of the Client at a particular point in time. Consequently, such advice, recommendation, report, certificate, schedule or other Deliverable may not be relevant to another Party or at a different time and under different circumstances.</a:t>
            </a:r>
          </a:p>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The Client and related parties, e.g., hardware/software providers or Internet Service Providers, shall cooperate with Deloitte in the performance by Deloitte of the Services, including, without limitation, providing Deloitte with reasonable facilities and timely access to data, information and personnel of the Client. The Client shall be responsible for the performance of its personnel and agents and for the accuracy and completeness of all data and information provided to Deloitte for purposes of the performance by Deloitte of the Services. The Client acknowledges and agrees that Deloitte’s performance is dependent upon the timely and effective satisfaction of the Client’s responsibilities hereunder and timely decisions and approvals of the Client in connection with the Services. Deloitte shall be entitled to rely on all decisions and approvals of the Client. The Client shall be solely responsible for, among other things:</a:t>
            </a:r>
          </a:p>
          <a:p>
            <a:pPr marL="627114" lvl="1" indent="-169914">
              <a:spcBef>
                <a:spcPts val="200"/>
              </a:spcBef>
              <a:buClr>
                <a:srgbClr val="00ABAB"/>
              </a:buClr>
              <a:buFont typeface="Arial" panose="020B0604020202020204" pitchFamily="34" charset="0"/>
              <a:buChar char="•"/>
              <a:defRPr/>
            </a:pPr>
            <a:r>
              <a:rPr lang="en-US" sz="1050" dirty="0">
                <a:latin typeface="Calibri" panose="020F0502020204030204" pitchFamily="34" charset="0"/>
              </a:rPr>
              <a:t>making all management decisions and performing all management functions.</a:t>
            </a:r>
          </a:p>
          <a:p>
            <a:pPr marL="627114" lvl="1" indent="-169914">
              <a:spcBef>
                <a:spcPts val="200"/>
              </a:spcBef>
              <a:buClr>
                <a:srgbClr val="00ABAB"/>
              </a:buClr>
              <a:buFont typeface="Arial" panose="020B0604020202020204" pitchFamily="34" charset="0"/>
              <a:buChar char="•"/>
              <a:defRPr/>
            </a:pPr>
            <a:r>
              <a:rPr lang="en-US" sz="1050" dirty="0">
                <a:latin typeface="Calibri" panose="020F0502020204030204" pitchFamily="34" charset="0"/>
              </a:rPr>
              <a:t>designating a competent management member to oversee the Services. </a:t>
            </a:r>
          </a:p>
          <a:p>
            <a:pPr marL="627114" lvl="1" indent="-169914">
              <a:spcBef>
                <a:spcPts val="200"/>
              </a:spcBef>
              <a:buClr>
                <a:srgbClr val="00ABAB"/>
              </a:buClr>
              <a:buFont typeface="Arial" panose="020B0604020202020204" pitchFamily="34" charset="0"/>
              <a:buChar char="•"/>
              <a:defRPr/>
            </a:pPr>
            <a:r>
              <a:rPr lang="en-US" sz="1050" dirty="0">
                <a:latin typeface="Calibri" panose="020F0502020204030204" pitchFamily="34" charset="0"/>
              </a:rPr>
              <a:t>evaluating the adequacy and results of the Services.</a:t>
            </a:r>
          </a:p>
          <a:p>
            <a:pPr marL="627114" lvl="1" indent="-169914">
              <a:spcBef>
                <a:spcPts val="200"/>
              </a:spcBef>
              <a:buClr>
                <a:srgbClr val="00ABAB"/>
              </a:buClr>
              <a:buFont typeface="Arial" panose="020B0604020202020204" pitchFamily="34" charset="0"/>
              <a:buChar char="•"/>
              <a:defRPr/>
            </a:pPr>
            <a:r>
              <a:rPr lang="en-US" sz="1050" dirty="0">
                <a:latin typeface="Calibri" panose="020F0502020204030204" pitchFamily="34" charset="0"/>
              </a:rPr>
              <a:t>accepting responsibility for the results of the Services. </a:t>
            </a:r>
          </a:p>
          <a:p>
            <a:pPr marL="627114" lvl="1" indent="-169914">
              <a:spcBef>
                <a:spcPts val="200"/>
              </a:spcBef>
              <a:buClr>
                <a:srgbClr val="00ABAB"/>
              </a:buClr>
              <a:buFont typeface="Arial" panose="020B0604020202020204" pitchFamily="34" charset="0"/>
              <a:buChar char="•"/>
              <a:defRPr/>
            </a:pPr>
            <a:r>
              <a:rPr lang="en-US" sz="1050" dirty="0">
                <a:latin typeface="Calibri" panose="020F0502020204030204" pitchFamily="34" charset="0"/>
              </a:rPr>
              <a:t>establishing and maintaining internal controls, including, without limitation, monitoring ongoing activities; and </a:t>
            </a:r>
          </a:p>
          <a:p>
            <a:pPr marL="627114" lvl="1" indent="-169914">
              <a:spcBef>
                <a:spcPts val="200"/>
              </a:spcBef>
              <a:buClr>
                <a:srgbClr val="00ABAB"/>
              </a:buClr>
              <a:buFont typeface="Arial" panose="020B0604020202020204" pitchFamily="34" charset="0"/>
              <a:buChar char="•"/>
              <a:defRPr/>
            </a:pPr>
            <a:r>
              <a:rPr lang="en-US" sz="1050" dirty="0">
                <a:latin typeface="Calibri" panose="020F0502020204030204" pitchFamily="34" charset="0"/>
              </a:rPr>
              <a:t>providing Deloitte with correct and accurate information, data, form or any other required to complete its Services, as Deloitte will carry no liability for any incorrect information provided by the Client</a:t>
            </a:r>
          </a:p>
        </p:txBody>
      </p:sp>
      <p:sp>
        <p:nvSpPr>
          <p:cNvPr id="7" name="Triangle 28">
            <a:extLst>
              <a:ext uri="{FF2B5EF4-FFF2-40B4-BE49-F238E27FC236}">
                <a16:creationId xmlns:a16="http://schemas.microsoft.com/office/drawing/2014/main" id="{18CC9782-6F30-4BC2-A9E7-271F02C919EF}"/>
              </a:ext>
            </a:extLst>
          </p:cNvPr>
          <p:cNvSpPr/>
          <p:nvPr/>
        </p:nvSpPr>
        <p:spPr>
          <a:xfrm rot="16200000">
            <a:off x="11086720" y="4289010"/>
            <a:ext cx="264966" cy="22841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10" name="Rectangle 9">
            <a:extLst>
              <a:ext uri="{FF2B5EF4-FFF2-40B4-BE49-F238E27FC236}">
                <a16:creationId xmlns:a16="http://schemas.microsoft.com/office/drawing/2014/main" id="{CCB934DA-E433-49D7-BBA4-CE734D15E679}"/>
              </a:ext>
            </a:extLst>
          </p:cNvPr>
          <p:cNvSpPr/>
          <p:nvPr/>
        </p:nvSpPr>
        <p:spPr bwMode="gray">
          <a:xfrm>
            <a:off x="1" y="0"/>
            <a:ext cx="165462" cy="6858000"/>
          </a:xfrm>
          <a:prstGeom prst="rect">
            <a:avLst/>
          </a:prstGeom>
          <a:solidFill>
            <a:srgbClr val="0097A9"/>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12" name="Text Placeholder 1">
            <a:extLst>
              <a:ext uri="{FF2B5EF4-FFF2-40B4-BE49-F238E27FC236}">
                <a16:creationId xmlns:a16="http://schemas.microsoft.com/office/drawing/2014/main" id="{C8893C7D-4680-4DF0-8ABB-10323AD9C952}"/>
              </a:ext>
            </a:extLst>
          </p:cNvPr>
          <p:cNvSpPr txBox="1">
            <a:spLocks/>
          </p:cNvSpPr>
          <p:nvPr/>
        </p:nvSpPr>
        <p:spPr>
          <a:xfrm>
            <a:off x="469899" y="736689"/>
            <a:ext cx="10648963" cy="340271"/>
          </a:xfrm>
          <a:prstGeom prst="rect">
            <a:avLst/>
          </a:prstGeom>
        </p:spPr>
        <p:txBody>
          <a:bodyPr vert="horz" lIns="0" tIns="0" rIns="0" bIns="0" rtlCol="0">
            <a:noAutofit/>
          </a:bodyPr>
          <a:lstStyle>
            <a:defPPr>
              <a:defRPr lang="en-US"/>
            </a:defPPr>
            <a:lvl1pPr indent="0">
              <a:spcBef>
                <a:spcPts val="0"/>
              </a:spcBef>
              <a:spcAft>
                <a:spcPts val="1333"/>
              </a:spcAft>
              <a:buSzPct val="100000"/>
              <a:buFontTx/>
              <a:buNone/>
              <a:defRPr sz="2000" b="0">
                <a:solidFill>
                  <a:srgbClr val="575757"/>
                </a:solidFill>
                <a:latin typeface="Calibri" panose="020F0502020204030204" pitchFamily="34" charset="0"/>
                <a:cs typeface="Calibri" panose="020F0502020204030204" pitchFamily="34" charset="0"/>
              </a:defRPr>
            </a:lvl1pPr>
            <a:lvl2pPr marL="127000" indent="-127000">
              <a:spcBef>
                <a:spcPts val="0"/>
              </a:spcBef>
              <a:spcAft>
                <a:spcPts val="1333"/>
              </a:spcAft>
              <a:buClrTx/>
              <a:buSzPct val="100000"/>
              <a:buFont typeface="Arial" panose="020B0604020202020204" pitchFamily="34" charset="0"/>
              <a:buChar char="•"/>
              <a:defRPr sz="1200" b="0">
                <a:latin typeface="Calibri" panose="020F0502020204030204" pitchFamily="34" charset="0"/>
              </a:defRPr>
            </a:lvl2pPr>
            <a:lvl3pPr marL="279400" indent="-127000">
              <a:spcBef>
                <a:spcPts val="0"/>
              </a:spcBef>
              <a:spcAft>
                <a:spcPts val="1333"/>
              </a:spcAft>
              <a:buClrTx/>
              <a:buSzPct val="100000"/>
              <a:buFont typeface="Arial" panose="020B0604020202020204" pitchFamily="34" charset="0"/>
              <a:buChar char="−"/>
              <a:defRPr sz="1200">
                <a:latin typeface="Calibri" panose="020F0502020204030204" pitchFamily="34" charset="0"/>
              </a:defRPr>
            </a:lvl3pPr>
            <a:lvl4pPr marL="431800" indent="-127000">
              <a:spcBef>
                <a:spcPts val="0"/>
              </a:spcBef>
              <a:spcAft>
                <a:spcPts val="1333"/>
              </a:spcAft>
              <a:buClrTx/>
              <a:buSzPct val="100000"/>
              <a:buFont typeface="Arial" panose="020B0604020202020204" pitchFamily="34" charset="0"/>
              <a:buChar char="◦"/>
              <a:defRPr sz="1200" baseline="0">
                <a:latin typeface="Calibri" panose="020F0502020204030204" pitchFamily="34" charset="0"/>
              </a:defRPr>
            </a:lvl4pPr>
            <a:lvl5pPr marL="584200" indent="-127000" defTabSz="1064657">
              <a:spcBef>
                <a:spcPts val="0"/>
              </a:spcBef>
              <a:spcAft>
                <a:spcPts val="1333"/>
              </a:spcAft>
              <a:buClrTx/>
              <a:buSzPct val="100000"/>
              <a:buFont typeface="Arial" panose="020B0604020202020204" pitchFamily="34" charset="0"/>
              <a:buChar char="−"/>
              <a:tabLst/>
              <a:defRPr sz="1200" baseline="0">
                <a:latin typeface="Calibri" panose="020F0502020204030204" pitchFamily="34" charset="0"/>
              </a:defRPr>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dirty="0">
                <a:solidFill>
                  <a:srgbClr val="0097A9"/>
                </a:solidFill>
              </a:rPr>
              <a:t>General Assumptions (2/3)</a:t>
            </a:r>
          </a:p>
        </p:txBody>
      </p:sp>
    </p:spTree>
    <p:extLst>
      <p:ext uri="{BB962C8B-B14F-4D97-AF65-F5344CB8AC3E}">
        <p14:creationId xmlns:p14="http://schemas.microsoft.com/office/powerpoint/2010/main" val="4215209204"/>
      </p:ext>
    </p:extLst>
  </p:cSld>
  <p:clrMapOvr>
    <a:masterClrMapping/>
  </p:clrMapOvr>
  <p:transition spd="med">
    <p:pull/>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EA765964-1504-43F4-A44C-FD52378F1F4D}"/>
              </a:ext>
            </a:extLst>
          </p:cNvPr>
          <p:cNvSpPr>
            <a:spLocks noGrp="1"/>
          </p:cNvSpPr>
          <p:nvPr>
            <p:ph type="title"/>
          </p:nvPr>
        </p:nvSpPr>
        <p:spPr/>
        <p:txBody>
          <a:bodyPr/>
          <a:lstStyle/>
          <a:p>
            <a:r>
              <a:rPr lang="en-US" sz="2382" dirty="0"/>
              <a:t>Project Assumptions</a:t>
            </a:r>
          </a:p>
        </p:txBody>
      </p:sp>
      <p:sp>
        <p:nvSpPr>
          <p:cNvPr id="8" name="Rectangle 7">
            <a:extLst>
              <a:ext uri="{FF2B5EF4-FFF2-40B4-BE49-F238E27FC236}">
                <a16:creationId xmlns:a16="http://schemas.microsoft.com/office/drawing/2014/main" id="{0B855EE4-7941-4EBE-AFA4-B0B5073D1465}"/>
              </a:ext>
            </a:extLst>
          </p:cNvPr>
          <p:cNvSpPr/>
          <p:nvPr/>
        </p:nvSpPr>
        <p:spPr>
          <a:xfrm>
            <a:off x="406932" y="1114385"/>
            <a:ext cx="10694169" cy="5086008"/>
          </a:xfrm>
          <a:prstGeom prst="rect">
            <a:avLst/>
          </a:prstGeom>
        </p:spPr>
        <p:txBody>
          <a:bodyPr wrap="square">
            <a:spAutoFit/>
          </a:bodyPr>
          <a:lstStyle/>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Deloitte may, from time to time in its sole discretion, subcontract external companies to provide resources to Deloitte, to enable Deloitte to fulfill its obligations under this engagement. For purposes of this engagement, Personnel of such a subcontractor would be included in the Personnel of Deloitte. In the event of another D&amp;T Party providing resources to Deloitte for the Project, such D&amp;T Party would, for the purposes of this engagement, be considered a subcontractor to Deloitte without a need for the Client prior written consent. Notwithstanding the fact that certain Services under the engagement may be carried out by Personnel provided to Deloitte from other D&amp;T Parties through service or other internal agreements, the Client agrees that none of the D&amp;T Parties (except Deloitte Contracting Party) will have any liability to the Client and that the Client will not bring any claim or proceedings of any nature (whether in contract, delict, breach of statutory duty or otherwise and including, but not limited to, a claim for negligence) in any way in respect of or in connection with this engagement against any of the D&amp;T Parties (except Deloitte contracting party) nor against any subcontractors that Deloitte may use to render the Services.</a:t>
            </a:r>
          </a:p>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Notwithstanding any other term in the Client Request for Proposal, the Client Group’s management acting on behalf of its shareholders provide their consent ,by issuance of the Request for Proposal, for Deloitte to transfer the Group’s information to other members of the Deloitte Network, third parties or contractors providing administrative, infrastructure and other support services for the needs of our completion and submission of the Request for Proposal, and to store and process any information received, wherever located within or outside of the Kingdom of Saudi Arabia. In this respect, members of the Deloitte Network and third parties are bound by similar confidentiality, privacy and data security obligations (“Confidentiality and Privacy Obligations”) to those contained in this Request for Proposal. In addition, such members of the Deloitte Network and third parties will keep all data confidential and private and will be shared with their employees/ management/ partners/ agents/ officers/ members strictly on a need-to-know basis (“Authorized Recipient”). The Authorized Recipients are also bound by similar Confidentiality and Privacy Obligations. The Client and Deloitte shall both be solely responsible for its own breach of Confidentiality and Privacy obligations including that of its Authorized Recipient. The above provision constitutes an express written consent from the Group’s management acting on behalf of its shareholders regarding the transfer of the Group’s information to the abovementioned third parties.</a:t>
            </a:r>
          </a:p>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Deloitte is required to maintain, and to be seen to maintain, its independence as auditors when rendering non-audit services to, and forming business relationships with, audit clients. Deloitte is therefore prohibited from rendering certain consulting services or forming business relationships which may result in a Conflict of Interest or a lack of Independence for Deloitte. Please note that Deloitte will not perform any professional services until the results of any internal Client and Engagement Acceptance procedures have been completed, including Conflict and Background Checks and approval from the audit committee. Deloitte reserves the right, without any liability, to withdraw from this opportunity in the event that any conflict of interest or independence issues arise as a result of the Client and Engagement Acceptance procedures.</a:t>
            </a:r>
          </a:p>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Deloitte may terminate this Agreement or any impacted part of the Services due to Auditor Independence, without incurring any penalty. Deloitte’s right to terminate: Where a governmental, regulatory or professional body, or a relevant authority having the force of law, has introduced a new, or modified an existing, law, rule, regulation, interpretation or decision, the result of which would render the provision of, or any part of the services provided by the Deloitte illegal or otherwise unlawful, or in conflict with independence or professional rules.</a:t>
            </a:r>
          </a:p>
          <a:p>
            <a:pPr marL="169914" indent="-169914">
              <a:spcBef>
                <a:spcPts val="300"/>
              </a:spcBef>
              <a:spcAft>
                <a:spcPts val="300"/>
              </a:spcAft>
              <a:buClr>
                <a:srgbClr val="00ABAB"/>
              </a:buClr>
              <a:buFont typeface="Arial" panose="020B0604020202020204" pitchFamily="34" charset="0"/>
              <a:buChar char="•"/>
              <a:defRPr/>
            </a:pPr>
            <a:r>
              <a:rPr lang="en-US" sz="1050" dirty="0">
                <a:latin typeface="Calibri" panose="020F0502020204030204" pitchFamily="34" charset="0"/>
              </a:rPr>
              <a:t>The Client agrees to provide Deloitte with at least 2 weeks’ notice prior to the carrying out of an audit for this engagement. Any request for an audit shall be limited in scope to the people, process and technologies involved in the engagement and with Client data. The payment for any audit will be borne by the Client requesting the audit, and any request for an audit will be limited to a maximum of once per calendar year. The Client agrees that if any audit is to be carried out by a client appointed vendor/ third party or external auditor, that Deloitte will be provided with notice of this appointed vendor to allow Deloitte to carry out its internal compliance and conflict check procedures to approve the appointed vendor or not. Deloitte may not be audited by a competitor.</a:t>
            </a:r>
          </a:p>
        </p:txBody>
      </p:sp>
      <p:sp>
        <p:nvSpPr>
          <p:cNvPr id="7" name="Triangle 28">
            <a:extLst>
              <a:ext uri="{FF2B5EF4-FFF2-40B4-BE49-F238E27FC236}">
                <a16:creationId xmlns:a16="http://schemas.microsoft.com/office/drawing/2014/main" id="{18CC9782-6F30-4BC2-A9E7-271F02C919EF}"/>
              </a:ext>
            </a:extLst>
          </p:cNvPr>
          <p:cNvSpPr/>
          <p:nvPr/>
        </p:nvSpPr>
        <p:spPr>
          <a:xfrm rot="16200000">
            <a:off x="11086720" y="4289010"/>
            <a:ext cx="264966" cy="22841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10" name="Rectangle 9">
            <a:extLst>
              <a:ext uri="{FF2B5EF4-FFF2-40B4-BE49-F238E27FC236}">
                <a16:creationId xmlns:a16="http://schemas.microsoft.com/office/drawing/2014/main" id="{CCB934DA-E433-49D7-BBA4-CE734D15E679}"/>
              </a:ext>
            </a:extLst>
          </p:cNvPr>
          <p:cNvSpPr/>
          <p:nvPr/>
        </p:nvSpPr>
        <p:spPr bwMode="gray">
          <a:xfrm>
            <a:off x="1" y="0"/>
            <a:ext cx="165462" cy="6858000"/>
          </a:xfrm>
          <a:prstGeom prst="rect">
            <a:avLst/>
          </a:prstGeom>
          <a:solidFill>
            <a:srgbClr val="0097A9"/>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12" name="Text Placeholder 1">
            <a:extLst>
              <a:ext uri="{FF2B5EF4-FFF2-40B4-BE49-F238E27FC236}">
                <a16:creationId xmlns:a16="http://schemas.microsoft.com/office/drawing/2014/main" id="{C8893C7D-4680-4DF0-8ABB-10323AD9C952}"/>
              </a:ext>
            </a:extLst>
          </p:cNvPr>
          <p:cNvSpPr txBox="1">
            <a:spLocks/>
          </p:cNvSpPr>
          <p:nvPr/>
        </p:nvSpPr>
        <p:spPr>
          <a:xfrm>
            <a:off x="469899" y="736689"/>
            <a:ext cx="10648963" cy="340271"/>
          </a:xfrm>
          <a:prstGeom prst="rect">
            <a:avLst/>
          </a:prstGeom>
        </p:spPr>
        <p:txBody>
          <a:bodyPr vert="horz" lIns="0" tIns="0" rIns="0" bIns="0" rtlCol="0">
            <a:noAutofit/>
          </a:bodyPr>
          <a:lstStyle>
            <a:defPPr>
              <a:defRPr lang="en-US"/>
            </a:defPPr>
            <a:lvl1pPr indent="0">
              <a:spcBef>
                <a:spcPts val="0"/>
              </a:spcBef>
              <a:spcAft>
                <a:spcPts val="1333"/>
              </a:spcAft>
              <a:buSzPct val="100000"/>
              <a:buFontTx/>
              <a:buNone/>
              <a:defRPr sz="2000" b="0">
                <a:solidFill>
                  <a:srgbClr val="575757"/>
                </a:solidFill>
                <a:latin typeface="Calibri" panose="020F0502020204030204" pitchFamily="34" charset="0"/>
                <a:cs typeface="Calibri" panose="020F0502020204030204" pitchFamily="34" charset="0"/>
              </a:defRPr>
            </a:lvl1pPr>
            <a:lvl2pPr marL="127000" indent="-127000">
              <a:spcBef>
                <a:spcPts val="0"/>
              </a:spcBef>
              <a:spcAft>
                <a:spcPts val="1333"/>
              </a:spcAft>
              <a:buClrTx/>
              <a:buSzPct val="100000"/>
              <a:buFont typeface="Arial" panose="020B0604020202020204" pitchFamily="34" charset="0"/>
              <a:buChar char="•"/>
              <a:defRPr sz="1200" b="0">
                <a:latin typeface="Calibri" panose="020F0502020204030204" pitchFamily="34" charset="0"/>
              </a:defRPr>
            </a:lvl2pPr>
            <a:lvl3pPr marL="279400" indent="-127000">
              <a:spcBef>
                <a:spcPts val="0"/>
              </a:spcBef>
              <a:spcAft>
                <a:spcPts val="1333"/>
              </a:spcAft>
              <a:buClrTx/>
              <a:buSzPct val="100000"/>
              <a:buFont typeface="Arial" panose="020B0604020202020204" pitchFamily="34" charset="0"/>
              <a:buChar char="−"/>
              <a:defRPr sz="1200">
                <a:latin typeface="Calibri" panose="020F0502020204030204" pitchFamily="34" charset="0"/>
              </a:defRPr>
            </a:lvl3pPr>
            <a:lvl4pPr marL="431800" indent="-127000">
              <a:spcBef>
                <a:spcPts val="0"/>
              </a:spcBef>
              <a:spcAft>
                <a:spcPts val="1333"/>
              </a:spcAft>
              <a:buClrTx/>
              <a:buSzPct val="100000"/>
              <a:buFont typeface="Arial" panose="020B0604020202020204" pitchFamily="34" charset="0"/>
              <a:buChar char="◦"/>
              <a:defRPr sz="1200" baseline="0">
                <a:latin typeface="Calibri" panose="020F0502020204030204" pitchFamily="34" charset="0"/>
              </a:defRPr>
            </a:lvl4pPr>
            <a:lvl5pPr marL="584200" indent="-127000" defTabSz="1064657">
              <a:spcBef>
                <a:spcPts val="0"/>
              </a:spcBef>
              <a:spcAft>
                <a:spcPts val="1333"/>
              </a:spcAft>
              <a:buClrTx/>
              <a:buSzPct val="100000"/>
              <a:buFont typeface="Arial" panose="020B0604020202020204" pitchFamily="34" charset="0"/>
              <a:buChar char="−"/>
              <a:tabLst/>
              <a:defRPr sz="1200" baseline="0">
                <a:latin typeface="Calibri" panose="020F0502020204030204" pitchFamily="34" charset="0"/>
              </a:defRPr>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dirty="0">
                <a:solidFill>
                  <a:srgbClr val="0097A9"/>
                </a:solidFill>
              </a:rPr>
              <a:t>General Assumptions (3/3)</a:t>
            </a:r>
          </a:p>
        </p:txBody>
      </p:sp>
    </p:spTree>
    <p:extLst>
      <p:ext uri="{BB962C8B-B14F-4D97-AF65-F5344CB8AC3E}">
        <p14:creationId xmlns:p14="http://schemas.microsoft.com/office/powerpoint/2010/main" val="2820723140"/>
      </p:ext>
    </p:extLst>
  </p:cSld>
  <p:clrMapOvr>
    <a:masterClrMapping/>
  </p:clrMapOvr>
  <p:transition spd="med">
    <p:pull/>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riangle 28">
            <a:extLst>
              <a:ext uri="{FF2B5EF4-FFF2-40B4-BE49-F238E27FC236}">
                <a16:creationId xmlns:a16="http://schemas.microsoft.com/office/drawing/2014/main" id="{27367C90-8648-4F77-B5E9-1AF5CA227DCA}"/>
              </a:ext>
            </a:extLst>
          </p:cNvPr>
          <p:cNvSpPr/>
          <p:nvPr/>
        </p:nvSpPr>
        <p:spPr>
          <a:xfrm rot="16200000">
            <a:off x="11086720" y="4289010"/>
            <a:ext cx="264966" cy="22841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10" name="Rectangle 9">
            <a:extLst>
              <a:ext uri="{FF2B5EF4-FFF2-40B4-BE49-F238E27FC236}">
                <a16:creationId xmlns:a16="http://schemas.microsoft.com/office/drawing/2014/main" id="{4E63D088-1AC8-4659-B8B5-76DA18E9D8A8}"/>
              </a:ext>
            </a:extLst>
          </p:cNvPr>
          <p:cNvSpPr/>
          <p:nvPr/>
        </p:nvSpPr>
        <p:spPr bwMode="gray">
          <a:xfrm>
            <a:off x="1" y="0"/>
            <a:ext cx="165462" cy="6858000"/>
          </a:xfrm>
          <a:prstGeom prst="rect">
            <a:avLst/>
          </a:prstGeom>
          <a:solidFill>
            <a:srgbClr val="0097A9"/>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2">
            <a:extLst>
              <a:ext uri="{FF2B5EF4-FFF2-40B4-BE49-F238E27FC236}">
                <a16:creationId xmlns:a16="http://schemas.microsoft.com/office/drawing/2014/main" id="{120B607C-82FE-0182-24AE-740C781547AE}"/>
              </a:ext>
            </a:extLst>
          </p:cNvPr>
          <p:cNvSpPr>
            <a:spLocks noGrp="1"/>
          </p:cNvSpPr>
          <p:nvPr>
            <p:ph type="title"/>
          </p:nvPr>
        </p:nvSpPr>
        <p:spPr>
          <a:xfrm>
            <a:off x="469909" y="402587"/>
            <a:ext cx="11252200" cy="334102"/>
          </a:xfrm>
        </p:spPr>
        <p:txBody>
          <a:bodyPr/>
          <a:lstStyle/>
          <a:p>
            <a:r>
              <a:rPr lang="en-US" sz="2382" dirty="0"/>
              <a:t>Project Assumptions</a:t>
            </a:r>
          </a:p>
        </p:txBody>
      </p:sp>
      <p:sp>
        <p:nvSpPr>
          <p:cNvPr id="5" name="Text Placeholder 1">
            <a:extLst>
              <a:ext uri="{FF2B5EF4-FFF2-40B4-BE49-F238E27FC236}">
                <a16:creationId xmlns:a16="http://schemas.microsoft.com/office/drawing/2014/main" id="{D61A5375-D549-182B-27DB-2BA160371B25}"/>
              </a:ext>
            </a:extLst>
          </p:cNvPr>
          <p:cNvSpPr txBox="1">
            <a:spLocks/>
          </p:cNvSpPr>
          <p:nvPr/>
        </p:nvSpPr>
        <p:spPr>
          <a:xfrm>
            <a:off x="469899" y="736689"/>
            <a:ext cx="10648963" cy="340271"/>
          </a:xfrm>
          <a:prstGeom prst="rect">
            <a:avLst/>
          </a:prstGeom>
        </p:spPr>
        <p:txBody>
          <a:bodyPr vert="horz" lIns="0" tIns="0" rIns="0" bIns="0" rtlCol="0">
            <a:noAutofit/>
          </a:bodyPr>
          <a:lstStyle>
            <a:defPPr>
              <a:defRPr lang="en-US"/>
            </a:defPPr>
            <a:lvl1pPr indent="0">
              <a:spcBef>
                <a:spcPts val="0"/>
              </a:spcBef>
              <a:spcAft>
                <a:spcPts val="1333"/>
              </a:spcAft>
              <a:buSzPct val="100000"/>
              <a:buFontTx/>
              <a:buNone/>
              <a:defRPr sz="2000" b="0">
                <a:solidFill>
                  <a:srgbClr val="575757"/>
                </a:solidFill>
                <a:latin typeface="Calibri" panose="020F0502020204030204" pitchFamily="34" charset="0"/>
                <a:cs typeface="Calibri" panose="020F0502020204030204" pitchFamily="34" charset="0"/>
              </a:defRPr>
            </a:lvl1pPr>
            <a:lvl2pPr marL="127000" indent="-127000">
              <a:spcBef>
                <a:spcPts val="0"/>
              </a:spcBef>
              <a:spcAft>
                <a:spcPts val="1333"/>
              </a:spcAft>
              <a:buClrTx/>
              <a:buSzPct val="100000"/>
              <a:buFont typeface="Arial" panose="020B0604020202020204" pitchFamily="34" charset="0"/>
              <a:buChar char="•"/>
              <a:defRPr sz="1200" b="0">
                <a:latin typeface="Calibri" panose="020F0502020204030204" pitchFamily="34" charset="0"/>
              </a:defRPr>
            </a:lvl2pPr>
            <a:lvl3pPr marL="279400" indent="-127000">
              <a:spcBef>
                <a:spcPts val="0"/>
              </a:spcBef>
              <a:spcAft>
                <a:spcPts val="1333"/>
              </a:spcAft>
              <a:buClrTx/>
              <a:buSzPct val="100000"/>
              <a:buFont typeface="Arial" panose="020B0604020202020204" pitchFamily="34" charset="0"/>
              <a:buChar char="−"/>
              <a:defRPr sz="1200">
                <a:latin typeface="Calibri" panose="020F0502020204030204" pitchFamily="34" charset="0"/>
              </a:defRPr>
            </a:lvl3pPr>
            <a:lvl4pPr marL="431800" indent="-127000">
              <a:spcBef>
                <a:spcPts val="0"/>
              </a:spcBef>
              <a:spcAft>
                <a:spcPts val="1333"/>
              </a:spcAft>
              <a:buClrTx/>
              <a:buSzPct val="100000"/>
              <a:buFont typeface="Arial" panose="020B0604020202020204" pitchFamily="34" charset="0"/>
              <a:buChar char="◦"/>
              <a:defRPr sz="1200" baseline="0">
                <a:latin typeface="Calibri" panose="020F0502020204030204" pitchFamily="34" charset="0"/>
              </a:defRPr>
            </a:lvl4pPr>
            <a:lvl5pPr marL="584200" indent="-127000" defTabSz="1064657">
              <a:spcBef>
                <a:spcPts val="0"/>
              </a:spcBef>
              <a:spcAft>
                <a:spcPts val="1333"/>
              </a:spcAft>
              <a:buClrTx/>
              <a:buSzPct val="100000"/>
              <a:buFont typeface="Arial" panose="020B0604020202020204" pitchFamily="34" charset="0"/>
              <a:buChar char="−"/>
              <a:tabLst/>
              <a:defRPr sz="1200" baseline="0">
                <a:latin typeface="Calibri" panose="020F0502020204030204" pitchFamily="34" charset="0"/>
              </a:defRPr>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dirty="0">
                <a:solidFill>
                  <a:srgbClr val="0097A9"/>
                </a:solidFill>
              </a:rPr>
              <a:t>Project-specific Assumptions</a:t>
            </a:r>
          </a:p>
        </p:txBody>
      </p:sp>
      <p:sp>
        <p:nvSpPr>
          <p:cNvPr id="2" name="Content Placeholder 3">
            <a:extLst>
              <a:ext uri="{FF2B5EF4-FFF2-40B4-BE49-F238E27FC236}">
                <a16:creationId xmlns:a16="http://schemas.microsoft.com/office/drawing/2014/main" id="{590F3B04-C224-A176-FD5D-C9F6EB4CF4FB}"/>
              </a:ext>
            </a:extLst>
          </p:cNvPr>
          <p:cNvSpPr txBox="1">
            <a:spLocks/>
          </p:cNvSpPr>
          <p:nvPr/>
        </p:nvSpPr>
        <p:spPr>
          <a:xfrm>
            <a:off x="469900" y="1083751"/>
            <a:ext cx="10635094" cy="5509536"/>
          </a:xfrm>
          <a:prstGeom prst="rect">
            <a:avLst/>
          </a:prstGeom>
        </p:spPr>
        <p:txBody>
          <a:bodyPr vert="horz" lIns="0" tIns="0" rIns="0" bIns="0" rtlCol="0">
            <a:noAutofit/>
          </a:bodyPr>
          <a:lstStyle>
            <a:lvl1pPr marL="0" indent="0" algn="l" defTabSz="1219170" rtl="0" eaLnBrk="1" latinLnBrk="0" hangingPunct="1">
              <a:lnSpc>
                <a:spcPct val="120000"/>
              </a:lnSpc>
              <a:spcBef>
                <a:spcPts val="0"/>
              </a:spcBef>
              <a:spcAft>
                <a:spcPts val="12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defTabSz="914400">
              <a:lnSpc>
                <a:spcPct val="100000"/>
              </a:lnSpc>
              <a:spcAft>
                <a:spcPts val="0"/>
              </a:spcAft>
              <a:buClr>
                <a:srgbClr val="86BC25"/>
              </a:buClr>
              <a:buSzTx/>
              <a:defRPr/>
            </a:pPr>
            <a:r>
              <a:rPr lang="en-US" sz="1600" b="1" dirty="0">
                <a:solidFill>
                  <a:srgbClr val="0097A9"/>
                </a:solidFill>
                <a:latin typeface="Calibri" panose="020F0502020204030204" pitchFamily="34" charset="0"/>
                <a:ea typeface="Verdana" panose="020B0604030504040204" pitchFamily="34" charset="0"/>
                <a:cs typeface="Calibri" panose="020F0502020204030204" pitchFamily="34" charset="0"/>
              </a:rPr>
              <a:t>Delivery Model Option 1 – Value-based, Cost-effective Scope Delivery</a:t>
            </a:r>
          </a:p>
          <a:p>
            <a:pPr algn="just" defTabSz="914400">
              <a:lnSpc>
                <a:spcPct val="100000"/>
              </a:lnSpc>
              <a:spcAft>
                <a:spcPts val="0"/>
              </a:spcAft>
              <a:buClr>
                <a:srgbClr val="86BC25"/>
              </a:buClr>
              <a:buSzTx/>
              <a:defRPr/>
            </a:pPr>
            <a:r>
              <a:rPr lang="en-US" sz="1091" b="1" dirty="0">
                <a:solidFill>
                  <a:srgbClr val="0097A9"/>
                </a:solidFill>
                <a:latin typeface="Calibri" panose="020F0502020204030204" pitchFamily="34" charset="0"/>
                <a:ea typeface="Verdana" panose="020B0604030504040204" pitchFamily="34" charset="0"/>
                <a:cs typeface="Calibri" panose="020F0502020204030204" pitchFamily="34" charset="0"/>
              </a:rPr>
              <a:t>Project Initiation Activities</a:t>
            </a:r>
          </a:p>
          <a:p>
            <a:pPr marL="169914" marR="0" lvl="0" indent="-169914" algn="l" defTabSz="914400" rtl="0" eaLnBrk="1" fontAlgn="auto"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ime taken during the contract preparation and signing process is not part of this phase and is considered as pre-project activity. Project duration calculation will start two weeks after contract signing date to allow team mobilization.</a:t>
            </a:r>
          </a:p>
          <a:p>
            <a:pPr marL="169914" marR="0" lvl="0" indent="-169914" algn="l" defTabSz="914400" rtl="0" eaLnBrk="1" fontAlgn="auto"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ny changes to the scope, project plan and the deliverables shall be discussed and agreed between Deloitte and stc. Deloitte will assess the impact of change and discuss additional efforts and fees. </a:t>
            </a:r>
          </a:p>
          <a:p>
            <a:pPr marL="169914" indent="-169914" defTabSz="914400">
              <a:lnSpc>
                <a:spcPct val="100000"/>
              </a:lnSpc>
              <a:spcAft>
                <a:spcPts val="0"/>
              </a:spcAft>
              <a:buClr>
                <a:srgbClr val="00ABAB"/>
              </a:buClr>
              <a:buSzTx/>
              <a:buFont typeface="Arial" panose="020B0604020202020204" pitchFamily="34" charset="0"/>
              <a:buChar char="•"/>
              <a:defRPr/>
            </a:pPr>
            <a:r>
              <a:rPr lang="en-US" sz="1100" dirty="0">
                <a:latin typeface="Calibri" panose="020F0502020204030204" pitchFamily="34" charset="0"/>
              </a:rPr>
              <a:t>Stc shall provide templates for project charter, status reports etc. to Deloitte to be used throughout the project. In case there is no official format, Deloitte will propose its templates for approval of stc.</a:t>
            </a:r>
          </a:p>
          <a:p>
            <a:pPr algn="just" defTabSz="914400">
              <a:lnSpc>
                <a:spcPct val="100000"/>
              </a:lnSpc>
              <a:spcAft>
                <a:spcPts val="0"/>
              </a:spcAft>
              <a:buClr>
                <a:srgbClr val="86BC25"/>
              </a:buClr>
              <a:buSzTx/>
              <a:defRPr/>
            </a:pPr>
            <a:r>
              <a:rPr lang="en-US" sz="1091" b="1" dirty="0">
                <a:solidFill>
                  <a:srgbClr val="0097A9"/>
                </a:solidFill>
                <a:latin typeface="Calibri" panose="020F0502020204030204" pitchFamily="34" charset="0"/>
                <a:ea typeface="Verdana" panose="020B0604030504040204" pitchFamily="34" charset="0"/>
                <a:cs typeface="Calibri" panose="020F0502020204030204" pitchFamily="34" charset="0"/>
              </a:rPr>
              <a:t>Phase 1 – BCM Risk Assessment</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isk assessment activities in stc Head Office and other locations in Riyadh will be performed onsite where possible.</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All risk assessment activities outside Riyadh will be performed remotely. The assessment will be limited to interviews and review of documentations. However, no control verification will be performed, and risk mitigation plan will be proposed based on the design of control provided during workshops.</a:t>
            </a:r>
          </a:p>
          <a:p>
            <a:pPr algn="just" defTabSz="914400">
              <a:lnSpc>
                <a:spcPct val="100000"/>
              </a:lnSpc>
              <a:spcAft>
                <a:spcPts val="0"/>
              </a:spcAft>
              <a:buClr>
                <a:srgbClr val="86BC25"/>
              </a:buClr>
              <a:buSzTx/>
              <a:defRPr/>
            </a:pPr>
            <a:r>
              <a:rPr lang="en-US" sz="1091" b="1" dirty="0">
                <a:solidFill>
                  <a:srgbClr val="0097A9"/>
                </a:solidFill>
                <a:latin typeface="Calibri" panose="020F0502020204030204" pitchFamily="34" charset="0"/>
                <a:ea typeface="Verdana" panose="020B0604030504040204" pitchFamily="34" charset="0"/>
                <a:cs typeface="Calibri" panose="020F0502020204030204" pitchFamily="34" charset="0"/>
              </a:rPr>
              <a:t>Phase 2 – BCM Strategy and Roadmap</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urrent state assessment will be performed against GSNRC Framework, ISO 22301, ISO 22361, and ISO 22320. </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loitte will neither conduct any business impact analysis (BIA) activities or review any existing BIAs. All BIA outputs will be taken as-is for identifying the recovery strategies.</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loitte will not be responsible for any manpower analysis or cost / budget estimation for the initiatives identified in 3-year roadmap. </a:t>
            </a:r>
          </a:p>
          <a:p>
            <a:pPr algn="just" defTabSz="914400">
              <a:lnSpc>
                <a:spcPct val="100000"/>
              </a:lnSpc>
              <a:spcAft>
                <a:spcPts val="0"/>
              </a:spcAft>
              <a:buClr>
                <a:srgbClr val="86BC25"/>
              </a:buClr>
              <a:buSzTx/>
              <a:defRPr/>
            </a:pPr>
            <a:r>
              <a:rPr lang="en-US" sz="1091" b="1" dirty="0">
                <a:solidFill>
                  <a:srgbClr val="0097A9"/>
                </a:solidFill>
                <a:latin typeface="Calibri" panose="020F0502020204030204" pitchFamily="34" charset="0"/>
                <a:ea typeface="Verdana" panose="020B0604030504040204" pitchFamily="34" charset="0"/>
                <a:cs typeface="Calibri" panose="020F0502020204030204" pitchFamily="34" charset="0"/>
              </a:rPr>
              <a:t>Phase 3 - Plans Review and Enhancement</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Business continuity plans will be developed using the recovery requirements identified during BIA already performed by stc.</a:t>
            </a:r>
            <a:endPar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eview and enhancement of incident management plans will be limited to ten (10) plans</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eview and enhancement of IT DR plan will be limited to one (01) centralized IT DRP, while review and enhancement of technical recovery plans will be limited to twenty (20) plans.</a:t>
            </a:r>
          </a:p>
          <a:p>
            <a:pPr marL="169914" indent="-169914" defTabSz="914400">
              <a:lnSpc>
                <a:spcPct val="100000"/>
              </a:lnSpc>
              <a:spcAft>
                <a:spcPts val="0"/>
              </a:spcAft>
              <a:buClr>
                <a:srgbClr val="00ABAB"/>
              </a:buClr>
              <a:buSzTx/>
              <a:buFont typeface="Arial" panose="020B0604020202020204" pitchFamily="34" charset="0"/>
              <a:buChar char="•"/>
              <a:defRPr/>
            </a:pPr>
            <a:r>
              <a:rPr lang="en-US" sz="1100" dirty="0">
                <a:latin typeface="Calibri" panose="020F0502020204030204" pitchFamily="34" charset="0"/>
                <a:cs typeface="Calibri" panose="020F0502020204030204" pitchFamily="34" charset="0"/>
              </a:rPr>
              <a:t>Our scope is limited to development of emergency response plan (ERP) template. However, the ERPs will be developed by relevant departments of stc. to be used by stc departments</a:t>
            </a:r>
          </a:p>
          <a:p>
            <a:pPr algn="just" defTabSz="914400">
              <a:lnSpc>
                <a:spcPct val="100000"/>
              </a:lnSpc>
              <a:spcAft>
                <a:spcPts val="0"/>
              </a:spcAft>
              <a:buClr>
                <a:srgbClr val="86BC25"/>
              </a:buClr>
              <a:buSzTx/>
              <a:defRPr/>
            </a:pPr>
            <a:r>
              <a:rPr lang="en-US" sz="1091" b="1" dirty="0">
                <a:solidFill>
                  <a:srgbClr val="0097A9"/>
                </a:solidFill>
                <a:latin typeface="Calibri" panose="020F0502020204030204" pitchFamily="34" charset="0"/>
                <a:ea typeface="Verdana" panose="020B0604030504040204" pitchFamily="34" charset="0"/>
                <a:cs typeface="Calibri" panose="020F0502020204030204" pitchFamily="34" charset="0"/>
              </a:rPr>
              <a:t>Phase 4 – BCM Exercising</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loitte will identify a maximum of ten (10) different test scenarios</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Our scope is limited to conducting a maximum of seven (07) tabletop exercises covering IMPs, BCPs, IT DRP, TRP, CMP and CCP</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loitte will conduct three (03) crisis simulations covering CMP and CCP</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he scope does not cover performing any IT DR failover exercise.</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he scope does not cover performing any integrated exercise covering functional execution of any plans.</a:t>
            </a:r>
          </a:p>
          <a:p>
            <a:pPr marL="169914" indent="-169914" defTabSz="914400">
              <a:lnSpc>
                <a:spcPct val="100000"/>
              </a:lnSpc>
              <a:spcAft>
                <a:spcPts val="0"/>
              </a:spcAft>
              <a:buClr>
                <a:srgbClr val="00ABAB"/>
              </a:buClr>
              <a:buSzTx/>
              <a:buFont typeface="Arial" panose="020B0604020202020204" pitchFamily="34" charset="0"/>
              <a:buChar char="•"/>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244941993"/>
      </p:ext>
    </p:extLst>
  </p:cSld>
  <p:clrMapOvr>
    <a:masterClrMapping/>
  </p:clrMapOvr>
  <p:transition spd="med">
    <p:pull/>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riangle 28">
            <a:extLst>
              <a:ext uri="{FF2B5EF4-FFF2-40B4-BE49-F238E27FC236}">
                <a16:creationId xmlns:a16="http://schemas.microsoft.com/office/drawing/2014/main" id="{27367C90-8648-4F77-B5E9-1AF5CA227DCA}"/>
              </a:ext>
            </a:extLst>
          </p:cNvPr>
          <p:cNvSpPr/>
          <p:nvPr/>
        </p:nvSpPr>
        <p:spPr>
          <a:xfrm rot="16200000">
            <a:off x="11086720" y="4289010"/>
            <a:ext cx="264966" cy="228419"/>
          </a:xfrm>
          <a:prstGeom prst="triangle">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10" name="Rectangle 9">
            <a:extLst>
              <a:ext uri="{FF2B5EF4-FFF2-40B4-BE49-F238E27FC236}">
                <a16:creationId xmlns:a16="http://schemas.microsoft.com/office/drawing/2014/main" id="{4E63D088-1AC8-4659-B8B5-76DA18E9D8A8}"/>
              </a:ext>
            </a:extLst>
          </p:cNvPr>
          <p:cNvSpPr/>
          <p:nvPr/>
        </p:nvSpPr>
        <p:spPr bwMode="gray">
          <a:xfrm>
            <a:off x="1" y="0"/>
            <a:ext cx="165462" cy="6858000"/>
          </a:xfrm>
          <a:prstGeom prst="rect">
            <a:avLst/>
          </a:prstGeom>
          <a:solidFill>
            <a:srgbClr val="0097A9"/>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2">
            <a:extLst>
              <a:ext uri="{FF2B5EF4-FFF2-40B4-BE49-F238E27FC236}">
                <a16:creationId xmlns:a16="http://schemas.microsoft.com/office/drawing/2014/main" id="{120B607C-82FE-0182-24AE-740C781547AE}"/>
              </a:ext>
            </a:extLst>
          </p:cNvPr>
          <p:cNvSpPr>
            <a:spLocks noGrp="1"/>
          </p:cNvSpPr>
          <p:nvPr>
            <p:ph type="title"/>
          </p:nvPr>
        </p:nvSpPr>
        <p:spPr>
          <a:xfrm>
            <a:off x="469909" y="402587"/>
            <a:ext cx="11252200" cy="334102"/>
          </a:xfrm>
        </p:spPr>
        <p:txBody>
          <a:bodyPr/>
          <a:lstStyle/>
          <a:p>
            <a:r>
              <a:rPr lang="en-US" sz="2382" dirty="0"/>
              <a:t>Project Assumptions</a:t>
            </a:r>
          </a:p>
        </p:txBody>
      </p:sp>
      <p:sp>
        <p:nvSpPr>
          <p:cNvPr id="5" name="Text Placeholder 1">
            <a:extLst>
              <a:ext uri="{FF2B5EF4-FFF2-40B4-BE49-F238E27FC236}">
                <a16:creationId xmlns:a16="http://schemas.microsoft.com/office/drawing/2014/main" id="{D61A5375-D549-182B-27DB-2BA160371B25}"/>
              </a:ext>
            </a:extLst>
          </p:cNvPr>
          <p:cNvSpPr txBox="1">
            <a:spLocks/>
          </p:cNvSpPr>
          <p:nvPr/>
        </p:nvSpPr>
        <p:spPr>
          <a:xfrm>
            <a:off x="469899" y="736689"/>
            <a:ext cx="10648963" cy="340271"/>
          </a:xfrm>
          <a:prstGeom prst="rect">
            <a:avLst/>
          </a:prstGeom>
        </p:spPr>
        <p:txBody>
          <a:bodyPr vert="horz" lIns="0" tIns="0" rIns="0" bIns="0" rtlCol="0">
            <a:noAutofit/>
          </a:bodyPr>
          <a:lstStyle>
            <a:defPPr>
              <a:defRPr lang="en-US"/>
            </a:defPPr>
            <a:lvl1pPr indent="0">
              <a:spcBef>
                <a:spcPts val="0"/>
              </a:spcBef>
              <a:spcAft>
                <a:spcPts val="1333"/>
              </a:spcAft>
              <a:buSzPct val="100000"/>
              <a:buFontTx/>
              <a:buNone/>
              <a:defRPr sz="2000" b="0">
                <a:solidFill>
                  <a:srgbClr val="575757"/>
                </a:solidFill>
                <a:latin typeface="Calibri" panose="020F0502020204030204" pitchFamily="34" charset="0"/>
                <a:cs typeface="Calibri" panose="020F0502020204030204" pitchFamily="34" charset="0"/>
              </a:defRPr>
            </a:lvl1pPr>
            <a:lvl2pPr marL="127000" indent="-127000">
              <a:spcBef>
                <a:spcPts val="0"/>
              </a:spcBef>
              <a:spcAft>
                <a:spcPts val="1333"/>
              </a:spcAft>
              <a:buClrTx/>
              <a:buSzPct val="100000"/>
              <a:buFont typeface="Arial" panose="020B0604020202020204" pitchFamily="34" charset="0"/>
              <a:buChar char="•"/>
              <a:defRPr sz="1200" b="0">
                <a:latin typeface="Calibri" panose="020F0502020204030204" pitchFamily="34" charset="0"/>
              </a:defRPr>
            </a:lvl2pPr>
            <a:lvl3pPr marL="279400" indent="-127000">
              <a:spcBef>
                <a:spcPts val="0"/>
              </a:spcBef>
              <a:spcAft>
                <a:spcPts val="1333"/>
              </a:spcAft>
              <a:buClrTx/>
              <a:buSzPct val="100000"/>
              <a:buFont typeface="Arial" panose="020B0604020202020204" pitchFamily="34" charset="0"/>
              <a:buChar char="−"/>
              <a:defRPr sz="1200">
                <a:latin typeface="Calibri" panose="020F0502020204030204" pitchFamily="34" charset="0"/>
              </a:defRPr>
            </a:lvl3pPr>
            <a:lvl4pPr marL="431800" indent="-127000">
              <a:spcBef>
                <a:spcPts val="0"/>
              </a:spcBef>
              <a:spcAft>
                <a:spcPts val="1333"/>
              </a:spcAft>
              <a:buClrTx/>
              <a:buSzPct val="100000"/>
              <a:buFont typeface="Arial" panose="020B0604020202020204" pitchFamily="34" charset="0"/>
              <a:buChar char="◦"/>
              <a:defRPr sz="1200" baseline="0">
                <a:latin typeface="Calibri" panose="020F0502020204030204" pitchFamily="34" charset="0"/>
              </a:defRPr>
            </a:lvl4pPr>
            <a:lvl5pPr marL="584200" indent="-127000" defTabSz="1064657">
              <a:spcBef>
                <a:spcPts val="0"/>
              </a:spcBef>
              <a:spcAft>
                <a:spcPts val="1333"/>
              </a:spcAft>
              <a:buClrTx/>
              <a:buSzPct val="100000"/>
              <a:buFont typeface="Arial" panose="020B0604020202020204" pitchFamily="34" charset="0"/>
              <a:buChar char="−"/>
              <a:tabLst/>
              <a:defRPr sz="1200" baseline="0">
                <a:latin typeface="Calibri" panose="020F0502020204030204" pitchFamily="34" charset="0"/>
              </a:defRPr>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dirty="0">
                <a:solidFill>
                  <a:srgbClr val="0097A9"/>
                </a:solidFill>
              </a:rPr>
              <a:t>Project-specific Assumptions</a:t>
            </a:r>
          </a:p>
        </p:txBody>
      </p:sp>
      <p:sp>
        <p:nvSpPr>
          <p:cNvPr id="3" name="Content Placeholder 3">
            <a:extLst>
              <a:ext uri="{FF2B5EF4-FFF2-40B4-BE49-F238E27FC236}">
                <a16:creationId xmlns:a16="http://schemas.microsoft.com/office/drawing/2014/main" id="{DD7C4E3F-C6F1-B4C0-46EB-AE87E30BE6B9}"/>
              </a:ext>
            </a:extLst>
          </p:cNvPr>
          <p:cNvSpPr txBox="1">
            <a:spLocks/>
          </p:cNvSpPr>
          <p:nvPr/>
        </p:nvSpPr>
        <p:spPr>
          <a:xfrm>
            <a:off x="469900" y="1089080"/>
            <a:ext cx="10678336" cy="5356398"/>
          </a:xfrm>
          <a:prstGeom prst="rect">
            <a:avLst/>
          </a:prstGeom>
        </p:spPr>
        <p:txBody>
          <a:bodyPr vert="horz" lIns="0" tIns="0" rIns="0" bIns="0" rtlCol="0">
            <a:noAutofit/>
          </a:bodyPr>
          <a:lstStyle>
            <a:lvl1pPr marL="0" indent="0" algn="l" defTabSz="1219170" rtl="0" eaLnBrk="1" latinLnBrk="0" hangingPunct="1">
              <a:lnSpc>
                <a:spcPct val="120000"/>
              </a:lnSpc>
              <a:spcBef>
                <a:spcPts val="0"/>
              </a:spcBef>
              <a:spcAft>
                <a:spcPts val="12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
                <a:srgbClr val="86BC25"/>
              </a:buClr>
              <a:buSzTx/>
              <a:buFontTx/>
              <a:buNone/>
              <a:tabLst/>
              <a:defRPr/>
            </a:pPr>
            <a:r>
              <a:rPr kumimoji="0" lang="en-US" sz="1600" b="1" i="0" u="none" strike="noStrike" kern="1200" cap="none" spc="0" normalizeH="0" baseline="0" noProof="0" dirty="0">
                <a:ln>
                  <a:noFill/>
                </a:ln>
                <a:solidFill>
                  <a:srgbClr val="0097A9"/>
                </a:solidFill>
                <a:effectLst/>
                <a:uLnTx/>
                <a:uFillTx/>
                <a:latin typeface="Calibri" panose="020F0502020204030204" pitchFamily="34" charset="0"/>
                <a:ea typeface="Verdana" panose="020B0604030504040204" pitchFamily="34" charset="0"/>
                <a:cs typeface="Calibri" panose="020F0502020204030204" pitchFamily="34" charset="0"/>
              </a:rPr>
              <a:t>Delivery Model Option 2 – Full-scope Delivery</a:t>
            </a:r>
          </a:p>
          <a:p>
            <a:pPr algn="just" defTabSz="914400">
              <a:lnSpc>
                <a:spcPct val="100000"/>
              </a:lnSpc>
              <a:spcAft>
                <a:spcPts val="0"/>
              </a:spcAft>
              <a:buClr>
                <a:srgbClr val="86BC25"/>
              </a:buClr>
              <a:buSzTx/>
              <a:defRPr/>
            </a:pPr>
            <a:r>
              <a:rPr lang="en-US" sz="1091" b="1" dirty="0">
                <a:solidFill>
                  <a:srgbClr val="0097A9"/>
                </a:solidFill>
                <a:latin typeface="Calibri" panose="020F0502020204030204" pitchFamily="34" charset="0"/>
                <a:ea typeface="Verdana" panose="020B0604030504040204" pitchFamily="34" charset="0"/>
                <a:cs typeface="Calibri" panose="020F0502020204030204" pitchFamily="34" charset="0"/>
              </a:rPr>
              <a:t>Project Initiation Activities</a:t>
            </a:r>
          </a:p>
          <a:p>
            <a:pPr marL="169914" marR="0" lvl="0" indent="-169914" algn="l" defTabSz="914400" rtl="0" eaLnBrk="1" fontAlgn="auto"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ime taken during the contract preparation and signing process is not part of this phase and is considered as pre-project activity. Project duration calculation will start two weeks after contract signing date to allow team mobilization.</a:t>
            </a:r>
          </a:p>
          <a:p>
            <a:pPr marL="169914" marR="0" lvl="0" indent="-169914" algn="l" defTabSz="914400" rtl="0" eaLnBrk="1" fontAlgn="auto" latinLnBrk="0" hangingPunct="1">
              <a:lnSpc>
                <a:spcPct val="100000"/>
              </a:lnSpc>
              <a:spcBef>
                <a:spcPts val="0"/>
              </a:spcBef>
              <a:spcAft>
                <a:spcPts val="0"/>
              </a:spcAft>
              <a:buClr>
                <a:srgbClr val="00ABAB"/>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ny changes to the scope, project plan and the deliverables shall be discussed and agreed between Deloitte and stc. Deloitte will assess the impact of change and discuss additional efforts and fees. </a:t>
            </a:r>
          </a:p>
          <a:p>
            <a:pPr marL="169914" indent="-169914" defTabSz="914400">
              <a:lnSpc>
                <a:spcPct val="100000"/>
              </a:lnSpc>
              <a:spcAft>
                <a:spcPts val="0"/>
              </a:spcAft>
              <a:buClr>
                <a:srgbClr val="00ABAB"/>
              </a:buClr>
              <a:buSzTx/>
              <a:buFont typeface="Arial" panose="020B0604020202020204" pitchFamily="34" charset="0"/>
              <a:buChar char="•"/>
              <a:defRPr/>
            </a:pPr>
            <a:r>
              <a:rPr lang="en-US" sz="1100" dirty="0">
                <a:latin typeface="Calibri" panose="020F0502020204030204" pitchFamily="34" charset="0"/>
              </a:rPr>
              <a:t>Stc shall provide templates for project charter, status reports etc. to Deloitte to be used throughout the project. In case there is no official format, Deloitte will propose its templates for approval of stc.</a:t>
            </a:r>
          </a:p>
          <a:p>
            <a:pPr algn="just" defTabSz="914400">
              <a:lnSpc>
                <a:spcPct val="100000"/>
              </a:lnSpc>
              <a:spcAft>
                <a:spcPts val="0"/>
              </a:spcAft>
              <a:buClr>
                <a:srgbClr val="86BC25"/>
              </a:buClr>
              <a:buSzTx/>
              <a:defRPr/>
            </a:pPr>
            <a:r>
              <a:rPr lang="en-US" sz="1091" b="1" dirty="0">
                <a:solidFill>
                  <a:srgbClr val="0097A9"/>
                </a:solidFill>
                <a:latin typeface="Calibri" panose="020F0502020204030204" pitchFamily="34" charset="0"/>
                <a:ea typeface="Verdana" panose="020B0604030504040204" pitchFamily="34" charset="0"/>
                <a:cs typeface="Calibri" panose="020F0502020204030204" pitchFamily="34" charset="0"/>
              </a:rPr>
              <a:t>Phase 1 – BCM Risk Assessment</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isk assessment activities will be performed onsite for all in-scope locations, where possible.</a:t>
            </a:r>
          </a:p>
          <a:p>
            <a:pPr algn="just" defTabSz="914400">
              <a:lnSpc>
                <a:spcPct val="100000"/>
              </a:lnSpc>
              <a:spcAft>
                <a:spcPts val="0"/>
              </a:spcAft>
              <a:buClr>
                <a:srgbClr val="86BC25"/>
              </a:buClr>
              <a:buSzTx/>
              <a:defRPr/>
            </a:pPr>
            <a:r>
              <a:rPr lang="en-US" sz="1091" b="1" dirty="0">
                <a:solidFill>
                  <a:srgbClr val="0097A9"/>
                </a:solidFill>
                <a:latin typeface="Calibri" panose="020F0502020204030204" pitchFamily="34" charset="0"/>
                <a:ea typeface="Verdana" panose="020B0604030504040204" pitchFamily="34" charset="0"/>
                <a:cs typeface="Calibri" panose="020F0502020204030204" pitchFamily="34" charset="0"/>
              </a:rPr>
              <a:t>Phase 2 – BCM Strategy and Roadmap</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urrent state assessment will be performed against GSNRC Framework, ISO 22301, ISO 22361, and ISO 22320. </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loitte will neither conduct any business impact analysis (BIA) activities or review any existing BIAs. All BIA outputs will be taken as-is for identifying the recovery strategies.</a:t>
            </a: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loitte will not be responsible for any manpower analysis or cost / budget estimation for the initiatives identified in 3-year roadmap.</a:t>
            </a:r>
          </a:p>
          <a:p>
            <a:pPr algn="just" defTabSz="914400">
              <a:lnSpc>
                <a:spcPct val="100000"/>
              </a:lnSpc>
              <a:spcAft>
                <a:spcPts val="0"/>
              </a:spcAft>
              <a:buClr>
                <a:srgbClr val="86BC25"/>
              </a:buClr>
              <a:buSzTx/>
              <a:defRPr/>
            </a:pPr>
            <a:r>
              <a:rPr lang="en-US" sz="1100" b="1" dirty="0">
                <a:solidFill>
                  <a:srgbClr val="0097A9"/>
                </a:solidFill>
                <a:latin typeface="Calibri" panose="020F0502020204030204" pitchFamily="34" charset="0"/>
                <a:ea typeface="Verdana" panose="020B0604030504040204" pitchFamily="34" charset="0"/>
                <a:cs typeface="Calibri" panose="020F0502020204030204" pitchFamily="34" charset="0"/>
              </a:rPr>
              <a:t>Phase 3 - Plans Review and Enhancement</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Business continuity plans will be developed using the recovery requirements identified during BIA already performed by stc.</a:t>
            </a:r>
            <a:endPar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69914" indent="-169914" defTabSz="914400">
              <a:lnSpc>
                <a:spcPct val="100000"/>
              </a:lnSpc>
              <a:spcAft>
                <a:spcPts val="0"/>
              </a:spcAft>
              <a:buClr>
                <a:srgbClr val="00ABAB"/>
              </a:buClr>
              <a:buSzTx/>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eview and enhancement of incident management plans will be performed for all IMPs in stc (a maximum of 100).</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Review and enhancement of IT DR plan will be limited to one (01) centralized IT DRP, while review and enhancement of technical recovery plans will be limited to a maximum of three-hundred (300) plans.</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Our scope is limited to development of emergency response plan (ERP) template and a maximum of ten (10) emergency response plans for stc Head Office.</a:t>
            </a:r>
          </a:p>
          <a:p>
            <a:pPr algn="just" defTabSz="914400">
              <a:lnSpc>
                <a:spcPct val="100000"/>
              </a:lnSpc>
              <a:spcAft>
                <a:spcPts val="0"/>
              </a:spcAft>
              <a:buClr>
                <a:srgbClr val="86BC25"/>
              </a:buClr>
              <a:buSzTx/>
              <a:defRPr/>
            </a:pPr>
            <a:r>
              <a:rPr lang="en-US" sz="1100" b="1" dirty="0">
                <a:solidFill>
                  <a:srgbClr val="0097A9"/>
                </a:solidFill>
                <a:latin typeface="Calibri" panose="020F0502020204030204" pitchFamily="34" charset="0"/>
                <a:ea typeface="Verdana" panose="020B0604030504040204" pitchFamily="34" charset="0"/>
                <a:cs typeface="Calibri" panose="020F0502020204030204" pitchFamily="34" charset="0"/>
              </a:rPr>
              <a:t>Phase 4 – BCM Exercising</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Deloitte will identify a maximum of ten (10) different test scenarios</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Our scope is limited to conducting a maximum of seven (07) tabletop exercises covering IMPs, BCPs, IT DRP, TRP, CMP and CCP</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Deloitte will conduct two (02) crisis simulations covering CMP and CCP</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Deloitte will </a:t>
            </a:r>
            <a:r>
              <a:rPr lang="en-US" sz="1100" kern="1200" dirty="0">
                <a:solidFill>
                  <a:schemeClr val="dk1"/>
                </a:solidFill>
                <a:latin typeface="Calibri" panose="020F0502020204030204" pitchFamily="34" charset="0"/>
                <a:ea typeface="+mn-ea"/>
                <a:cs typeface="Calibri" panose="020F0502020204030204" pitchFamily="34" charset="0"/>
              </a:rPr>
              <a:t>conduct one (01</a:t>
            </a:r>
            <a:r>
              <a:rPr lang="en-US" sz="1100" kern="1200">
                <a:solidFill>
                  <a:schemeClr val="dk1"/>
                </a:solidFill>
                <a:latin typeface="Calibri" panose="020F0502020204030204" pitchFamily="34" charset="0"/>
                <a:ea typeface="+mn-ea"/>
                <a:cs typeface="Calibri" panose="020F0502020204030204" pitchFamily="34" charset="0"/>
              </a:rPr>
              <a:t>) integrated </a:t>
            </a:r>
            <a:r>
              <a:rPr lang="en-US" sz="1100" kern="1200" dirty="0">
                <a:solidFill>
                  <a:schemeClr val="dk1"/>
                </a:solidFill>
                <a:latin typeface="Calibri" panose="020F0502020204030204" pitchFamily="34" charset="0"/>
                <a:ea typeface="+mn-ea"/>
                <a:cs typeface="Calibri" panose="020F0502020204030204" pitchFamily="34" charset="0"/>
              </a:rPr>
              <a:t>simulation covering selected IMPs, BCPs, IT DRP, TRPs, CMP and CCP</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The scope does not cover performing any IT DR failover exercise.</a:t>
            </a:r>
          </a:p>
          <a:p>
            <a:pPr marL="169914" indent="-169914" defTabSz="914400">
              <a:lnSpc>
                <a:spcPct val="100000"/>
              </a:lnSpc>
              <a:spcAft>
                <a:spcPts val="0"/>
              </a:spcAft>
              <a:buClr>
                <a:srgbClr val="00ABAB"/>
              </a:buClr>
              <a:buSzTx/>
              <a:buFont typeface="Arial" panose="020B0604020202020204" pitchFamily="34" charset="0"/>
              <a:buChar char="•"/>
              <a:defRPr/>
            </a:pPr>
            <a:r>
              <a:rPr lang="en-US" dirty="0">
                <a:solidFill>
                  <a:prstClr val="black"/>
                </a:solidFill>
                <a:latin typeface="Calibri" panose="020F0502020204030204" pitchFamily="34" charset="0"/>
              </a:rPr>
              <a:t>The scope does not cover performing any integrated exercise covering functional execution of any plans.</a:t>
            </a:r>
          </a:p>
        </p:txBody>
      </p:sp>
    </p:spTree>
    <p:extLst>
      <p:ext uri="{BB962C8B-B14F-4D97-AF65-F5344CB8AC3E}">
        <p14:creationId xmlns:p14="http://schemas.microsoft.com/office/powerpoint/2010/main" val="3538802403"/>
      </p:ext>
    </p:extLst>
  </p:cSld>
  <p:clrMapOvr>
    <a:masterClrMapping/>
  </p:clrMapOvr>
  <p:transition spd="med">
    <p:pull/>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525"/>
            <a:ext cx="11297263" cy="6861268"/>
          </a:xfrm>
          <a:prstGeom prst="rect">
            <a:avLst/>
          </a:prstGeom>
        </p:spPr>
      </p:pic>
      <p:grpSp>
        <p:nvGrpSpPr>
          <p:cNvPr id="6" name="Group 5">
            <a:extLst>
              <a:ext uri="{FF2B5EF4-FFF2-40B4-BE49-F238E27FC236}">
                <a16:creationId xmlns:a16="http://schemas.microsoft.com/office/drawing/2014/main" id="{B0BFBE09-3C6A-44C7-9D03-289EB3B4D0A7}"/>
              </a:ext>
            </a:extLst>
          </p:cNvPr>
          <p:cNvGrpSpPr/>
          <p:nvPr/>
        </p:nvGrpSpPr>
        <p:grpSpPr>
          <a:xfrm>
            <a:off x="10791565" y="6425836"/>
            <a:ext cx="364450" cy="364450"/>
            <a:chOff x="2624423" y="132075"/>
            <a:chExt cx="864729" cy="864729"/>
          </a:xfrm>
        </p:grpSpPr>
        <p:sp>
          <p:nvSpPr>
            <p:cNvPr id="9" name="Oval 8">
              <a:extLst>
                <a:ext uri="{FF2B5EF4-FFF2-40B4-BE49-F238E27FC236}">
                  <a16:creationId xmlns:a16="http://schemas.microsoft.com/office/drawing/2014/main" id="{55483B00-835E-4566-9353-F7D981928BD8}"/>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defTabSz="1208241">
                <a:lnSpc>
                  <a:spcPct val="106000"/>
                </a:lnSpc>
                <a:defRPr/>
              </a:pPr>
              <a:endParaRPr lang="en-US" sz="2382" b="1" dirty="0">
                <a:solidFill>
                  <a:prstClr val="white"/>
                </a:solidFill>
                <a:latin typeface="Calibri" panose="020F0502020204030204" pitchFamily="34" charset="0"/>
              </a:endParaRPr>
            </a:p>
          </p:txBody>
        </p:sp>
        <p:grpSp>
          <p:nvGrpSpPr>
            <p:cNvPr id="12" name="Group 22">
              <a:extLst>
                <a:ext uri="{FF2B5EF4-FFF2-40B4-BE49-F238E27FC236}">
                  <a16:creationId xmlns:a16="http://schemas.microsoft.com/office/drawing/2014/main" id="{A0C95259-4342-46A6-B68D-4CF9DEC6145C}"/>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13" name="Freeform 23">
                <a:extLst>
                  <a:ext uri="{FF2B5EF4-FFF2-40B4-BE49-F238E27FC236}">
                    <a16:creationId xmlns:a16="http://schemas.microsoft.com/office/drawing/2014/main" id="{E6E79448-B6DB-4A98-9563-02D545B944F3}"/>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US" sz="2382" dirty="0">
                  <a:solidFill>
                    <a:prstClr val="black"/>
                  </a:solidFill>
                  <a:latin typeface="Calibri" panose="020F0502020204030204" pitchFamily="34" charset="0"/>
                </a:endParaRPr>
              </a:p>
            </p:txBody>
          </p:sp>
          <p:sp>
            <p:nvSpPr>
              <p:cNvPr id="14" name="Freeform 24">
                <a:extLst>
                  <a:ext uri="{FF2B5EF4-FFF2-40B4-BE49-F238E27FC236}">
                    <a16:creationId xmlns:a16="http://schemas.microsoft.com/office/drawing/2014/main" id="{939E9201-1847-488F-940F-2E436A00A10B}"/>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US" sz="2382" dirty="0">
                  <a:solidFill>
                    <a:prstClr val="black"/>
                  </a:solidFill>
                  <a:latin typeface="Calibri" panose="020F0502020204030204" pitchFamily="34" charset="0"/>
                </a:endParaRPr>
              </a:p>
            </p:txBody>
          </p:sp>
        </p:grpSp>
      </p:grpSp>
      <p:sp>
        <p:nvSpPr>
          <p:cNvPr id="15" name="Oval 14">
            <a:hlinkClick r:id="rId3" action="ppaction://hlinksldjump"/>
            <a:extLst>
              <a:ext uri="{FF2B5EF4-FFF2-40B4-BE49-F238E27FC236}">
                <a16:creationId xmlns:a16="http://schemas.microsoft.com/office/drawing/2014/main" id="{B201DE4F-2986-47A1-A1B4-FD9A0B785BBF}"/>
              </a:ext>
            </a:extLst>
          </p:cNvPr>
          <p:cNvSpPr/>
          <p:nvPr/>
        </p:nvSpPr>
        <p:spPr bwMode="gray">
          <a:xfrm>
            <a:off x="10751701" y="6426652"/>
            <a:ext cx="423091" cy="423091"/>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defTabSz="1208241">
              <a:lnSpc>
                <a:spcPct val="106000"/>
              </a:lnSpc>
              <a:defRPr/>
            </a:pPr>
            <a:endParaRPr lang="en-US" sz="1582" b="1" dirty="0">
              <a:solidFill>
                <a:prstClr val="white"/>
              </a:solidFill>
              <a:latin typeface="Calibri" panose="020F0502020204030204" pitchFamily="34" charset="0"/>
            </a:endParaRPr>
          </a:p>
        </p:txBody>
      </p:sp>
      <p:sp>
        <p:nvSpPr>
          <p:cNvPr id="17" name="Triangle 28">
            <a:extLst>
              <a:ext uri="{FF2B5EF4-FFF2-40B4-BE49-F238E27FC236}">
                <a16:creationId xmlns:a16="http://schemas.microsoft.com/office/drawing/2014/main" id="{37ED30D5-F2E8-4211-A4E6-109A299B23CF}"/>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19" name="Rectangle 18">
            <a:extLst>
              <a:ext uri="{FF2B5EF4-FFF2-40B4-BE49-F238E27FC236}">
                <a16:creationId xmlns:a16="http://schemas.microsoft.com/office/drawing/2014/main" id="{7E2C63DE-C0B5-46DE-81B8-D3664AF147D2}"/>
              </a:ext>
            </a:extLst>
          </p:cNvPr>
          <p:cNvSpPr/>
          <p:nvPr/>
        </p:nvSpPr>
        <p:spPr bwMode="gray">
          <a:xfrm>
            <a:off x="0" y="-19402"/>
            <a:ext cx="11308616" cy="6877401"/>
          </a:xfrm>
          <a:prstGeom prst="rect">
            <a:avLst/>
          </a:prstGeom>
          <a:solidFill>
            <a:schemeClr val="tx1">
              <a:alpha val="48000"/>
            </a:scheme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10" name="Title 1">
            <a:extLst>
              <a:ext uri="{FF2B5EF4-FFF2-40B4-BE49-F238E27FC236}">
                <a16:creationId xmlns:a16="http://schemas.microsoft.com/office/drawing/2014/main" id="{EC016919-2EDD-472D-8BFC-124E277AD105}"/>
              </a:ext>
            </a:extLst>
          </p:cNvPr>
          <p:cNvSpPr>
            <a:spLocks noGrp="1"/>
          </p:cNvSpPr>
          <p:nvPr>
            <p:ph type="title"/>
          </p:nvPr>
        </p:nvSpPr>
        <p:spPr bwMode="gray">
          <a:xfrm>
            <a:off x="522376" y="460105"/>
            <a:ext cx="10321069" cy="157755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b="0" dirty="0">
                <a:latin typeface="Calibri" panose="020F0502020204030204" pitchFamily="34" charset="0"/>
              </a:rPr>
              <a:t>Our Team</a:t>
            </a:r>
            <a:endParaRPr lang="en-US" b="0" noProof="0" dirty="0">
              <a:latin typeface="Calibri" panose="020F0502020204030204" pitchFamily="34" charset="0"/>
            </a:endParaRPr>
          </a:p>
        </p:txBody>
      </p:sp>
      <p:sp>
        <p:nvSpPr>
          <p:cNvPr id="11" name="Text Placeholder 2">
            <a:extLst>
              <a:ext uri="{FF2B5EF4-FFF2-40B4-BE49-F238E27FC236}">
                <a16:creationId xmlns:a16="http://schemas.microsoft.com/office/drawing/2014/main" id="{6DD4D66A-D889-4ED3-9DF1-AF716327167B}"/>
              </a:ext>
            </a:extLst>
          </p:cNvPr>
          <p:cNvSpPr txBox="1">
            <a:spLocks/>
          </p:cNvSpPr>
          <p:nvPr/>
        </p:nvSpPr>
        <p:spPr bwMode="gray">
          <a:xfrm>
            <a:off x="522376" y="2167362"/>
            <a:ext cx="10321069" cy="155192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pPr lvl="0"/>
            <a:endParaRPr lang="en-US" sz="1982" dirty="0">
              <a:solidFill>
                <a:prstClr val="white"/>
              </a:solidFill>
              <a:latin typeface="Calibri" panose="020F0502020204030204" pitchFamily="34" charset="0"/>
            </a:endParaRPr>
          </a:p>
        </p:txBody>
      </p:sp>
      <p:sp>
        <p:nvSpPr>
          <p:cNvPr id="18" name="Text Placeholder 2">
            <a:extLst>
              <a:ext uri="{FF2B5EF4-FFF2-40B4-BE49-F238E27FC236}">
                <a16:creationId xmlns:a16="http://schemas.microsoft.com/office/drawing/2014/main" id="{6DD4D66A-D889-4ED3-9DF1-AF716327167B}"/>
              </a:ext>
            </a:extLst>
          </p:cNvPr>
          <p:cNvSpPr txBox="1">
            <a:spLocks/>
          </p:cNvSpPr>
          <p:nvPr/>
        </p:nvSpPr>
        <p:spPr bwMode="gray">
          <a:xfrm>
            <a:off x="553007" y="2297070"/>
            <a:ext cx="10321069" cy="155192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sz="1982" dirty="0">
                <a:latin typeface="Calibri" panose="020F0502020204030204" pitchFamily="34" charset="0"/>
              </a:rPr>
              <a:t>Members of our core team have prior experience with similar organizations and have relevant certifications.</a:t>
            </a:r>
          </a:p>
          <a:p>
            <a:endParaRPr lang="en-US" sz="1982" dirty="0">
              <a:latin typeface="Calibri" panose="020F0502020204030204" pitchFamily="34" charset="0"/>
              <a:ea typeface="Verdana" panose="020B0604030504040204" pitchFamily="34" charset="0"/>
              <a:cs typeface="Calibri" panose="020F0502020204030204" pitchFamily="34" charset="0"/>
            </a:endParaRPr>
          </a:p>
          <a:p>
            <a:r>
              <a:rPr lang="en-US" sz="1982" dirty="0">
                <a:latin typeface="Calibri" panose="020F0502020204030204" pitchFamily="34" charset="0"/>
                <a:ea typeface="Verdana" panose="020B0604030504040204" pitchFamily="34" charset="0"/>
                <a:cs typeface="Calibri" panose="020F0502020204030204" pitchFamily="34" charset="0"/>
              </a:rPr>
              <a:t>We believe it is all about people who make the difference. Therefore, we have carefully structured a multidisciplinary team which has the required technical skills, industry knowledge and previous experience of working on similar projects.</a:t>
            </a:r>
          </a:p>
        </p:txBody>
      </p:sp>
    </p:spTree>
    <p:extLst>
      <p:ext uri="{BB962C8B-B14F-4D97-AF65-F5344CB8AC3E}">
        <p14:creationId xmlns:p14="http://schemas.microsoft.com/office/powerpoint/2010/main" val="2846274507"/>
      </p:ext>
    </p:extLst>
  </p:cSld>
  <p:clrMapOvr>
    <a:masterClrMapping/>
  </p:clrMapOvr>
  <p:transition spd="med">
    <p:pull/>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EA765964-1504-43F4-A44C-FD52378F1F4D}"/>
              </a:ext>
            </a:extLst>
          </p:cNvPr>
          <p:cNvSpPr>
            <a:spLocks noGrp="1"/>
          </p:cNvSpPr>
          <p:nvPr>
            <p:ph type="title"/>
          </p:nvPr>
        </p:nvSpPr>
        <p:spPr/>
        <p:txBody>
          <a:bodyPr/>
          <a:lstStyle/>
          <a:p>
            <a:r>
              <a:rPr lang="en-US" sz="2382" dirty="0">
                <a:solidFill>
                  <a:srgbClr val="0076A8"/>
                </a:solidFill>
              </a:rPr>
              <a:t>Our Team</a:t>
            </a:r>
          </a:p>
        </p:txBody>
      </p:sp>
      <p:sp>
        <p:nvSpPr>
          <p:cNvPr id="8" name="object 12"/>
          <p:cNvSpPr txBox="1"/>
          <p:nvPr/>
        </p:nvSpPr>
        <p:spPr>
          <a:xfrm>
            <a:off x="7338533" y="3397519"/>
            <a:ext cx="3609647" cy="251548"/>
          </a:xfrm>
          <a:prstGeom prst="rect">
            <a:avLst/>
          </a:prstGeom>
          <a:solidFill>
            <a:srgbClr val="343434"/>
          </a:solidFill>
          <a:ln>
            <a:solidFill>
              <a:srgbClr val="343434"/>
            </a:solidFill>
          </a:ln>
        </p:spPr>
        <p:style>
          <a:lnRef idx="2">
            <a:schemeClr val="accent3"/>
          </a:lnRef>
          <a:fillRef idx="1">
            <a:schemeClr val="lt1"/>
          </a:fillRef>
          <a:effectRef idx="0">
            <a:schemeClr val="accent3"/>
          </a:effectRef>
          <a:fontRef idx="minor">
            <a:schemeClr val="dk1"/>
          </a:fontRef>
        </p:style>
        <p:txBody>
          <a:bodyPr vert="horz" wrap="square" lIns="0" tIns="45295" rIns="0" bIns="45295" rtlCol="0" anchor="ctr" anchorCtr="0">
            <a:spAutoFit/>
          </a:bodyPr>
          <a:lstStyle/>
          <a:p>
            <a:pPr marL="93767" marR="87473" indent="81180" algn="ctr"/>
            <a:r>
              <a:rPr lang="en-US" sz="991" b="1" dirty="0">
                <a:solidFill>
                  <a:schemeClr val="bg1"/>
                </a:solidFill>
                <a:latin typeface="Calibri" panose="020F0502020204030204" pitchFamily="34" charset="0"/>
                <a:cs typeface="Arial"/>
              </a:rPr>
              <a:t>Project Team</a:t>
            </a:r>
            <a:endParaRPr lang="en-US" sz="991" dirty="0">
              <a:solidFill>
                <a:schemeClr val="bg1"/>
              </a:solidFill>
              <a:latin typeface="Calibri" panose="020F0502020204030204" pitchFamily="34" charset="0"/>
              <a:cs typeface="Arial"/>
            </a:endParaRPr>
          </a:p>
        </p:txBody>
      </p:sp>
      <p:sp>
        <p:nvSpPr>
          <p:cNvPr id="13" name="object 12"/>
          <p:cNvSpPr txBox="1"/>
          <p:nvPr/>
        </p:nvSpPr>
        <p:spPr>
          <a:xfrm>
            <a:off x="7329250" y="4349905"/>
            <a:ext cx="3609647" cy="251548"/>
          </a:xfrm>
          <a:prstGeom prst="rect">
            <a:avLst/>
          </a:prstGeom>
          <a:solidFill>
            <a:srgbClr val="00ABAB"/>
          </a:solidFill>
          <a:ln>
            <a:solidFill>
              <a:srgbClr val="00ABAB"/>
            </a:solidFill>
          </a:ln>
        </p:spPr>
        <p:style>
          <a:lnRef idx="2">
            <a:schemeClr val="accent3"/>
          </a:lnRef>
          <a:fillRef idx="1">
            <a:schemeClr val="lt1"/>
          </a:fillRef>
          <a:effectRef idx="0">
            <a:schemeClr val="accent3"/>
          </a:effectRef>
          <a:fontRef idx="minor">
            <a:schemeClr val="dk1"/>
          </a:fontRef>
        </p:style>
        <p:txBody>
          <a:bodyPr vert="horz" wrap="square" lIns="0" tIns="45295" rIns="0" bIns="45295" rtlCol="0" anchor="ctr" anchorCtr="0">
            <a:spAutoFit/>
          </a:bodyPr>
          <a:lstStyle/>
          <a:p>
            <a:pPr marL="93767" marR="87473" indent="81180" algn="ctr"/>
            <a:r>
              <a:rPr lang="en-US" sz="991" b="1" dirty="0">
                <a:solidFill>
                  <a:schemeClr val="bg1"/>
                </a:solidFill>
                <a:latin typeface="Calibri" panose="020F0502020204030204" pitchFamily="34" charset="0"/>
                <a:cs typeface="Arial"/>
              </a:rPr>
              <a:t>Engagement Advisors</a:t>
            </a:r>
            <a:endParaRPr lang="en-US" sz="991" dirty="0">
              <a:solidFill>
                <a:schemeClr val="bg1"/>
              </a:solidFill>
              <a:latin typeface="Calibri" panose="020F0502020204030204" pitchFamily="34" charset="0"/>
              <a:cs typeface="Arial"/>
            </a:endParaRPr>
          </a:p>
        </p:txBody>
      </p:sp>
      <p:sp>
        <p:nvSpPr>
          <p:cNvPr id="15" name="object 12"/>
          <p:cNvSpPr txBox="1"/>
          <p:nvPr/>
        </p:nvSpPr>
        <p:spPr>
          <a:xfrm>
            <a:off x="7318431" y="1203874"/>
            <a:ext cx="3609647" cy="251548"/>
          </a:xfrm>
          <a:prstGeom prst="rect">
            <a:avLst/>
          </a:prstGeom>
          <a:solidFill>
            <a:srgbClr val="005560"/>
          </a:solidFill>
          <a:ln>
            <a:solidFill>
              <a:srgbClr val="005560"/>
            </a:solidFill>
          </a:ln>
        </p:spPr>
        <p:style>
          <a:lnRef idx="2">
            <a:schemeClr val="accent3"/>
          </a:lnRef>
          <a:fillRef idx="1">
            <a:schemeClr val="lt1"/>
          </a:fillRef>
          <a:effectRef idx="0">
            <a:schemeClr val="accent3"/>
          </a:effectRef>
          <a:fontRef idx="minor">
            <a:schemeClr val="dk1"/>
          </a:fontRef>
        </p:style>
        <p:txBody>
          <a:bodyPr vert="horz" wrap="square" lIns="0" tIns="45295" rIns="0" bIns="45295" rtlCol="0" anchor="ctr" anchorCtr="0">
            <a:spAutoFit/>
          </a:bodyPr>
          <a:lstStyle/>
          <a:p>
            <a:pPr marL="93767" marR="87473" indent="81180" algn="ctr"/>
            <a:r>
              <a:rPr lang="en-US" sz="991" b="1" dirty="0">
                <a:solidFill>
                  <a:schemeClr val="bg1"/>
                </a:solidFill>
                <a:latin typeface="Calibri" panose="020F0502020204030204" pitchFamily="34" charset="0"/>
                <a:cs typeface="Arial"/>
              </a:rPr>
              <a:t>Engagement Leadership</a:t>
            </a:r>
            <a:endParaRPr lang="en-US" sz="991" dirty="0">
              <a:solidFill>
                <a:schemeClr val="bg1"/>
              </a:solidFill>
              <a:latin typeface="Calibri" panose="020F0502020204030204" pitchFamily="34" charset="0"/>
              <a:cs typeface="Arial"/>
            </a:endParaRPr>
          </a:p>
        </p:txBody>
      </p:sp>
      <p:sp>
        <p:nvSpPr>
          <p:cNvPr id="17" name="object 12"/>
          <p:cNvSpPr txBox="1"/>
          <p:nvPr/>
        </p:nvSpPr>
        <p:spPr>
          <a:xfrm>
            <a:off x="7318431" y="2362082"/>
            <a:ext cx="3609647" cy="251548"/>
          </a:xfrm>
          <a:prstGeom prst="rect">
            <a:avLst/>
          </a:prstGeom>
          <a:solidFill>
            <a:srgbClr val="00A3E0"/>
          </a:solidFill>
          <a:ln>
            <a:solidFill>
              <a:srgbClr val="00A3E0"/>
            </a:solidFill>
          </a:ln>
        </p:spPr>
        <p:style>
          <a:lnRef idx="2">
            <a:schemeClr val="accent3"/>
          </a:lnRef>
          <a:fillRef idx="1">
            <a:schemeClr val="lt1"/>
          </a:fillRef>
          <a:effectRef idx="0">
            <a:schemeClr val="accent3"/>
          </a:effectRef>
          <a:fontRef idx="minor">
            <a:schemeClr val="dk1"/>
          </a:fontRef>
        </p:style>
        <p:txBody>
          <a:bodyPr vert="horz" wrap="square" lIns="0" tIns="45295" rIns="0" bIns="45295" rtlCol="0" anchor="ctr" anchorCtr="0">
            <a:spAutoFit/>
          </a:bodyPr>
          <a:lstStyle/>
          <a:p>
            <a:pPr marL="93767" marR="87473" indent="81180" algn="ctr"/>
            <a:r>
              <a:rPr lang="en-US" sz="991" b="1" dirty="0">
                <a:solidFill>
                  <a:schemeClr val="bg1"/>
                </a:solidFill>
                <a:latin typeface="Calibri" panose="020F0502020204030204" pitchFamily="34" charset="0"/>
                <a:cs typeface="Arial"/>
              </a:rPr>
              <a:t>Project Management</a:t>
            </a:r>
            <a:endParaRPr lang="en-US" sz="991" dirty="0">
              <a:solidFill>
                <a:schemeClr val="bg1"/>
              </a:solidFill>
              <a:latin typeface="Calibri" panose="020F0502020204030204" pitchFamily="34" charset="0"/>
              <a:cs typeface="Arial"/>
            </a:endParaRPr>
          </a:p>
        </p:txBody>
      </p:sp>
      <p:sp>
        <p:nvSpPr>
          <p:cNvPr id="19" name="Isosceles Triangle 18"/>
          <p:cNvSpPr/>
          <p:nvPr/>
        </p:nvSpPr>
        <p:spPr bwMode="gray">
          <a:xfrm rot="5400000">
            <a:off x="4972723" y="3194114"/>
            <a:ext cx="4229077" cy="256223"/>
          </a:xfrm>
          <a:prstGeom prst="triangle">
            <a:avLst/>
          </a:prstGeom>
          <a:solidFill>
            <a:srgbClr val="D0D0CE"/>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31" name="Rectangle 30">
            <a:extLst>
              <a:ext uri="{FF2B5EF4-FFF2-40B4-BE49-F238E27FC236}">
                <a16:creationId xmlns:a16="http://schemas.microsoft.com/office/drawing/2014/main" id="{6C33EEDC-FE24-475D-864C-D8156B93E665}"/>
              </a:ext>
            </a:extLst>
          </p:cNvPr>
          <p:cNvSpPr/>
          <p:nvPr/>
        </p:nvSpPr>
        <p:spPr>
          <a:xfrm>
            <a:off x="378075" y="5637670"/>
            <a:ext cx="10324419" cy="890821"/>
          </a:xfrm>
          <a:prstGeom prst="rect">
            <a:avLst/>
          </a:prstGeom>
        </p:spPr>
        <p:txBody>
          <a:bodyPr wrap="square">
            <a:spAutoFit/>
          </a:bodyPr>
          <a:lstStyle/>
          <a:p>
            <a:pPr algn="just">
              <a:lnSpc>
                <a:spcPct val="107000"/>
              </a:lnSpc>
              <a:spcAft>
                <a:spcPts val="500"/>
              </a:spcAft>
            </a:pPr>
            <a:r>
              <a:rPr lang="en-US" sz="900" i="1" dirty="0">
                <a:latin typeface="Calibri" panose="020F0502020204030204" pitchFamily="34" charset="0"/>
                <a:ea typeface="Calibri" panose="020F0502020204030204" pitchFamily="34" charset="0"/>
                <a:cs typeface="Calibri" panose="020F0502020204030204" pitchFamily="34" charset="0"/>
              </a:rPr>
              <a:t>The safety of both our and your personnel is of top priority to us. In light of the evolving global activities that have been, and continue to be, introduced to alleviate the impact of Corona Virus/COVID-19 we may face travel restrictions prior to and during delivery of this engagement. Should this be the case we will work with you to minimize disruption as much as possible, including the deployment of technology solutions to allow our people to work from our offices or remotely.</a:t>
            </a:r>
          </a:p>
          <a:p>
            <a:pPr algn="just">
              <a:lnSpc>
                <a:spcPct val="107000"/>
              </a:lnSpc>
              <a:spcAft>
                <a:spcPts val="791"/>
              </a:spcAft>
            </a:pPr>
            <a:r>
              <a:rPr lang="en-US" sz="900" i="1" dirty="0">
                <a:latin typeface="Calibri" panose="020F0502020204030204" pitchFamily="34" charset="0"/>
                <a:ea typeface="Calibri" panose="020F0502020204030204" pitchFamily="34" charset="0"/>
                <a:cs typeface="Calibri" panose="020F0502020204030204" pitchFamily="34" charset="0"/>
              </a:rPr>
              <a:t>We will continue to monitor the situation across the region and will keep an open channel of communication with you in order to deploy the most effective methods of delivery whilst ensuring the safety and health of both your and our personnel.</a:t>
            </a:r>
          </a:p>
        </p:txBody>
      </p:sp>
      <p:sp>
        <p:nvSpPr>
          <p:cNvPr id="32" name="Triangle 28">
            <a:extLst>
              <a:ext uri="{FF2B5EF4-FFF2-40B4-BE49-F238E27FC236}">
                <a16:creationId xmlns:a16="http://schemas.microsoft.com/office/drawing/2014/main" id="{27759544-2537-44FC-8F14-B7A0C32776C3}"/>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cxnSp>
        <p:nvCxnSpPr>
          <p:cNvPr id="33" name="Straight Connector 32">
            <a:extLst>
              <a:ext uri="{FF2B5EF4-FFF2-40B4-BE49-F238E27FC236}">
                <a16:creationId xmlns:a16="http://schemas.microsoft.com/office/drawing/2014/main" id="{95EC7878-A9E0-44FE-AF8F-8BE44DB6D508}"/>
              </a:ext>
            </a:extLst>
          </p:cNvPr>
          <p:cNvCxnSpPr>
            <a:cxnSpLocks/>
            <a:stCxn id="30" idx="0"/>
            <a:endCxn id="37" idx="2"/>
          </p:cNvCxnSpPr>
          <p:nvPr/>
        </p:nvCxnSpPr>
        <p:spPr>
          <a:xfrm flipH="1" flipV="1">
            <a:off x="4959091" y="3487358"/>
            <a:ext cx="1" cy="33523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36" name="Table 35">
            <a:extLst>
              <a:ext uri="{FF2B5EF4-FFF2-40B4-BE49-F238E27FC236}">
                <a16:creationId xmlns:a16="http://schemas.microsoft.com/office/drawing/2014/main" id="{4983C64B-700B-4AC3-B1BC-2C64A869C399}"/>
              </a:ext>
            </a:extLst>
          </p:cNvPr>
          <p:cNvGraphicFramePr>
            <a:graphicFrameLocks noGrp="1"/>
          </p:cNvGraphicFramePr>
          <p:nvPr>
            <p:extLst>
              <p:ext uri="{D42A27DB-BD31-4B8C-83A1-F6EECF244321}">
                <p14:modId xmlns:p14="http://schemas.microsoft.com/office/powerpoint/2010/main" val="3031882322"/>
              </p:ext>
            </p:extLst>
          </p:nvPr>
        </p:nvGraphicFramePr>
        <p:xfrm>
          <a:off x="3385904" y="1306212"/>
          <a:ext cx="3146375" cy="635018"/>
        </p:xfrm>
        <a:graphic>
          <a:graphicData uri="http://schemas.openxmlformats.org/drawingml/2006/table">
            <a:tbl>
              <a:tblPr firstRow="1" bandRow="1">
                <a:tableStyleId>{5C22544A-7EE6-4342-B048-85BDC9FD1C3A}</a:tableStyleId>
              </a:tblPr>
              <a:tblGrid>
                <a:gridCol w="3146375">
                  <a:extLst>
                    <a:ext uri="{9D8B030D-6E8A-4147-A177-3AD203B41FA5}">
                      <a16:colId xmlns:a16="http://schemas.microsoft.com/office/drawing/2014/main" val="2891938392"/>
                    </a:ext>
                  </a:extLst>
                </a:gridCol>
              </a:tblGrid>
              <a:tr h="635018">
                <a:tc>
                  <a:txBody>
                    <a:bodyPr/>
                    <a:lstStyle/>
                    <a:p>
                      <a:pPr marL="0" marR="0" lvl="0" indent="0" algn="ctr" defTabSz="1208241"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Calibri" panose="020F0502020204030204" pitchFamily="34" charset="0"/>
                          <a:cs typeface="Calibri" panose="020F0502020204030204" pitchFamily="34" charset="0"/>
                        </a:rPr>
                        <a:t>Tariq Ajmal</a:t>
                      </a:r>
                    </a:p>
                    <a:p>
                      <a:pPr algn="ctr"/>
                      <a:r>
                        <a:rPr lang="en-US" sz="1100" b="0" dirty="0">
                          <a:solidFill>
                            <a:schemeClr val="bg1"/>
                          </a:solidFill>
                          <a:latin typeface="Calibri" panose="020F0502020204030204" pitchFamily="34" charset="0"/>
                          <a:cs typeface="Calibri" panose="020F0502020204030204" pitchFamily="34" charset="0"/>
                        </a:rPr>
                        <a:t>Engagement Partner </a:t>
                      </a:r>
                    </a:p>
                  </a:txBody>
                  <a:tcPr marL="90587" marR="90587" marT="53641" marB="536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5560"/>
                    </a:solidFill>
                  </a:tcPr>
                </a:tc>
                <a:extLst>
                  <a:ext uri="{0D108BD9-81ED-4DB2-BD59-A6C34878D82A}">
                    <a16:rowId xmlns:a16="http://schemas.microsoft.com/office/drawing/2014/main" val="3879738184"/>
                  </a:ext>
                </a:extLst>
              </a:tr>
            </a:tbl>
          </a:graphicData>
        </a:graphic>
      </p:graphicFrame>
      <p:graphicFrame>
        <p:nvGraphicFramePr>
          <p:cNvPr id="37" name="Table 36">
            <a:extLst>
              <a:ext uri="{FF2B5EF4-FFF2-40B4-BE49-F238E27FC236}">
                <a16:creationId xmlns:a16="http://schemas.microsoft.com/office/drawing/2014/main" id="{DD817137-5EEB-47CE-8B98-B9298B89B36D}"/>
              </a:ext>
            </a:extLst>
          </p:cNvPr>
          <p:cNvGraphicFramePr>
            <a:graphicFrameLocks noGrp="1"/>
          </p:cNvGraphicFramePr>
          <p:nvPr>
            <p:extLst>
              <p:ext uri="{D42A27DB-BD31-4B8C-83A1-F6EECF244321}">
                <p14:modId xmlns:p14="http://schemas.microsoft.com/office/powerpoint/2010/main" val="2578358287"/>
              </p:ext>
            </p:extLst>
          </p:nvPr>
        </p:nvGraphicFramePr>
        <p:xfrm>
          <a:off x="3389636" y="2982997"/>
          <a:ext cx="3138911" cy="504361"/>
        </p:xfrm>
        <a:graphic>
          <a:graphicData uri="http://schemas.openxmlformats.org/drawingml/2006/table">
            <a:tbl>
              <a:tblPr firstRow="1" bandRow="1">
                <a:tableStyleId>{5C22544A-7EE6-4342-B048-85BDC9FD1C3A}</a:tableStyleId>
              </a:tblPr>
              <a:tblGrid>
                <a:gridCol w="3138911">
                  <a:extLst>
                    <a:ext uri="{9D8B030D-6E8A-4147-A177-3AD203B41FA5}">
                      <a16:colId xmlns:a16="http://schemas.microsoft.com/office/drawing/2014/main" val="2891938392"/>
                    </a:ext>
                  </a:extLst>
                </a:gridCol>
              </a:tblGrid>
              <a:tr h="504361">
                <a:tc>
                  <a:txBody>
                    <a:bodyPr/>
                    <a:lstStyle/>
                    <a:p>
                      <a:pPr algn="ctr"/>
                      <a:r>
                        <a:rPr lang="en-US" sz="1100" b="1" dirty="0">
                          <a:solidFill>
                            <a:schemeClr val="bg1"/>
                          </a:solidFill>
                          <a:latin typeface="Calibri" panose="020F0502020204030204" pitchFamily="34" charset="0"/>
                          <a:cs typeface="Calibri" panose="020F0502020204030204" pitchFamily="34" charset="0"/>
                        </a:rPr>
                        <a:t>Syed Waqi Hasan</a:t>
                      </a:r>
                    </a:p>
                    <a:p>
                      <a:pPr algn="ctr"/>
                      <a:r>
                        <a:rPr lang="en-US" sz="1100" b="0" dirty="0">
                          <a:solidFill>
                            <a:schemeClr val="bg1"/>
                          </a:solidFill>
                          <a:latin typeface="Calibri" panose="020F0502020204030204" pitchFamily="34" charset="0"/>
                          <a:cs typeface="Calibri" panose="020F0502020204030204" pitchFamily="34" charset="0"/>
                        </a:rPr>
                        <a:t>Engagement</a:t>
                      </a:r>
                      <a:r>
                        <a:rPr lang="en-US" sz="1100" b="0" baseline="0" dirty="0">
                          <a:solidFill>
                            <a:schemeClr val="bg1"/>
                          </a:solidFill>
                          <a:latin typeface="Calibri" panose="020F0502020204030204" pitchFamily="34" charset="0"/>
                          <a:cs typeface="Calibri" panose="020F0502020204030204" pitchFamily="34" charset="0"/>
                        </a:rPr>
                        <a:t> Manager </a:t>
                      </a:r>
                      <a:endParaRPr lang="en-US" sz="1100" b="0" dirty="0">
                        <a:solidFill>
                          <a:schemeClr val="bg1"/>
                        </a:solidFill>
                        <a:latin typeface="Calibri" panose="020F0502020204030204" pitchFamily="34" charset="0"/>
                        <a:cs typeface="Calibri" panose="020F0502020204030204" pitchFamily="34" charset="0"/>
                      </a:endParaRPr>
                    </a:p>
                  </a:txBody>
                  <a:tcPr marL="90587" marR="90587" marT="53641" marB="536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E0"/>
                    </a:solidFill>
                  </a:tcPr>
                </a:tc>
                <a:extLst>
                  <a:ext uri="{0D108BD9-81ED-4DB2-BD59-A6C34878D82A}">
                    <a16:rowId xmlns:a16="http://schemas.microsoft.com/office/drawing/2014/main" val="3879738184"/>
                  </a:ext>
                </a:extLst>
              </a:tr>
            </a:tbl>
          </a:graphicData>
        </a:graphic>
      </p:graphicFrame>
      <p:graphicFrame>
        <p:nvGraphicFramePr>
          <p:cNvPr id="39" name="Table 38">
            <a:extLst>
              <a:ext uri="{FF2B5EF4-FFF2-40B4-BE49-F238E27FC236}">
                <a16:creationId xmlns:a16="http://schemas.microsoft.com/office/drawing/2014/main" id="{70BF5615-40FC-4221-8D49-264F54BA1883}"/>
              </a:ext>
            </a:extLst>
          </p:cNvPr>
          <p:cNvGraphicFramePr>
            <a:graphicFrameLocks noGrp="1"/>
          </p:cNvGraphicFramePr>
          <p:nvPr>
            <p:extLst>
              <p:ext uri="{D42A27DB-BD31-4B8C-83A1-F6EECF244321}">
                <p14:modId xmlns:p14="http://schemas.microsoft.com/office/powerpoint/2010/main" val="3830927124"/>
              </p:ext>
            </p:extLst>
          </p:nvPr>
        </p:nvGraphicFramePr>
        <p:xfrm>
          <a:off x="3389636" y="2190482"/>
          <a:ext cx="3138911" cy="504361"/>
        </p:xfrm>
        <a:graphic>
          <a:graphicData uri="http://schemas.openxmlformats.org/drawingml/2006/table">
            <a:tbl>
              <a:tblPr firstRow="1" bandRow="1">
                <a:tableStyleId>{5C22544A-7EE6-4342-B048-85BDC9FD1C3A}</a:tableStyleId>
              </a:tblPr>
              <a:tblGrid>
                <a:gridCol w="3138911">
                  <a:extLst>
                    <a:ext uri="{9D8B030D-6E8A-4147-A177-3AD203B41FA5}">
                      <a16:colId xmlns:a16="http://schemas.microsoft.com/office/drawing/2014/main" val="2891938392"/>
                    </a:ext>
                  </a:extLst>
                </a:gridCol>
              </a:tblGrid>
              <a:tr h="504361">
                <a:tc>
                  <a:txBody>
                    <a:bodyPr/>
                    <a:lstStyle/>
                    <a:p>
                      <a:pPr algn="ctr"/>
                      <a:r>
                        <a:rPr lang="en-US" sz="1100" b="1" dirty="0">
                          <a:solidFill>
                            <a:schemeClr val="bg1"/>
                          </a:solidFill>
                          <a:latin typeface="Calibri" panose="020F0502020204030204" pitchFamily="34" charset="0"/>
                          <a:cs typeface="Calibri" panose="020F0502020204030204" pitchFamily="34" charset="0"/>
                        </a:rPr>
                        <a:t>Arsalan Yousuf</a:t>
                      </a:r>
                    </a:p>
                    <a:p>
                      <a:pPr algn="ctr"/>
                      <a:r>
                        <a:rPr lang="en-US" sz="1100" b="0" dirty="0">
                          <a:solidFill>
                            <a:schemeClr val="bg1"/>
                          </a:solidFill>
                          <a:latin typeface="Calibri" panose="020F0502020204030204" pitchFamily="34" charset="0"/>
                          <a:cs typeface="Calibri" panose="020F0502020204030204" pitchFamily="34" charset="0"/>
                        </a:rPr>
                        <a:t>Engagement Leader</a:t>
                      </a:r>
                      <a:r>
                        <a:rPr lang="en-US" sz="1100" b="0" baseline="0" dirty="0">
                          <a:solidFill>
                            <a:schemeClr val="bg1"/>
                          </a:solidFill>
                          <a:latin typeface="Calibri" panose="020F0502020204030204" pitchFamily="34" charset="0"/>
                          <a:cs typeface="Calibri" panose="020F0502020204030204" pitchFamily="34" charset="0"/>
                        </a:rPr>
                        <a:t> </a:t>
                      </a:r>
                      <a:endParaRPr lang="en-US" sz="1100" b="0" dirty="0">
                        <a:solidFill>
                          <a:schemeClr val="bg1"/>
                        </a:solidFill>
                        <a:latin typeface="Calibri" panose="020F0502020204030204" pitchFamily="34" charset="0"/>
                        <a:cs typeface="Calibri" panose="020F0502020204030204" pitchFamily="34" charset="0"/>
                      </a:endParaRPr>
                    </a:p>
                  </a:txBody>
                  <a:tcPr marL="90587" marR="90587" marT="53641" marB="536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A3E0"/>
                    </a:solidFill>
                  </a:tcPr>
                </a:tc>
                <a:extLst>
                  <a:ext uri="{0D108BD9-81ED-4DB2-BD59-A6C34878D82A}">
                    <a16:rowId xmlns:a16="http://schemas.microsoft.com/office/drawing/2014/main" val="3879738184"/>
                  </a:ext>
                </a:extLst>
              </a:tr>
            </a:tbl>
          </a:graphicData>
        </a:graphic>
      </p:graphicFrame>
      <p:cxnSp>
        <p:nvCxnSpPr>
          <p:cNvPr id="51" name="Straight Connector 50">
            <a:extLst>
              <a:ext uri="{FF2B5EF4-FFF2-40B4-BE49-F238E27FC236}">
                <a16:creationId xmlns:a16="http://schemas.microsoft.com/office/drawing/2014/main" id="{6281D877-2901-4DC0-AEC8-23F3AA9D392C}"/>
              </a:ext>
            </a:extLst>
          </p:cNvPr>
          <p:cNvCxnSpPr>
            <a:stCxn id="58" idx="3"/>
            <a:endCxn id="36" idx="1"/>
          </p:cNvCxnSpPr>
          <p:nvPr/>
        </p:nvCxnSpPr>
        <p:spPr>
          <a:xfrm>
            <a:off x="2692487" y="1620039"/>
            <a:ext cx="693417" cy="3682"/>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57" name="Table 56">
            <a:extLst>
              <a:ext uri="{FF2B5EF4-FFF2-40B4-BE49-F238E27FC236}">
                <a16:creationId xmlns:a16="http://schemas.microsoft.com/office/drawing/2014/main" id="{BF78A54B-A187-47E0-B2B6-3E7F0F7B9B54}"/>
              </a:ext>
            </a:extLst>
          </p:cNvPr>
          <p:cNvGraphicFramePr>
            <a:graphicFrameLocks noGrp="1"/>
          </p:cNvGraphicFramePr>
          <p:nvPr>
            <p:extLst>
              <p:ext uri="{D42A27DB-BD31-4B8C-83A1-F6EECF244321}">
                <p14:modId xmlns:p14="http://schemas.microsoft.com/office/powerpoint/2010/main" val="3878325034"/>
              </p:ext>
            </p:extLst>
          </p:nvPr>
        </p:nvGraphicFramePr>
        <p:xfrm>
          <a:off x="750282" y="2143320"/>
          <a:ext cx="1938196" cy="2650406"/>
        </p:xfrm>
        <a:graphic>
          <a:graphicData uri="http://schemas.openxmlformats.org/drawingml/2006/table">
            <a:tbl>
              <a:tblPr firstRow="1" bandRow="1">
                <a:tableStyleId>{5C22544A-7EE6-4342-B048-85BDC9FD1C3A}</a:tableStyleId>
              </a:tblPr>
              <a:tblGrid>
                <a:gridCol w="1938196">
                  <a:extLst>
                    <a:ext uri="{9D8B030D-6E8A-4147-A177-3AD203B41FA5}">
                      <a16:colId xmlns:a16="http://schemas.microsoft.com/office/drawing/2014/main" val="2891938392"/>
                    </a:ext>
                  </a:extLst>
                </a:gridCol>
              </a:tblGrid>
              <a:tr h="2650406">
                <a:tc>
                  <a:txBody>
                    <a:bodyPr/>
                    <a:lstStyle/>
                    <a:p>
                      <a:pPr algn="ctr"/>
                      <a:endParaRPr lang="en-US" sz="900" b="1" baseline="0" dirty="0">
                        <a:solidFill>
                          <a:schemeClr val="tx1"/>
                        </a:solidFill>
                      </a:endParaRPr>
                    </a:p>
                  </a:txBody>
                  <a:tcPr marL="45295" marR="45295" marT="45295" marB="45295" anchor="ctr">
                    <a:lnL w="12700" cap="flat" cmpd="sng" algn="ctr">
                      <a:solidFill>
                        <a:srgbClr val="00ABAB"/>
                      </a:solidFill>
                      <a:prstDash val="solid"/>
                      <a:round/>
                      <a:headEnd type="none" w="med" len="med"/>
                      <a:tailEnd type="none" w="med" len="med"/>
                    </a:lnL>
                    <a:lnR w="12700" cap="flat" cmpd="sng" algn="ctr">
                      <a:solidFill>
                        <a:srgbClr val="00ABAB"/>
                      </a:solidFill>
                      <a:prstDash val="solid"/>
                      <a:round/>
                      <a:headEnd type="none" w="med" len="med"/>
                      <a:tailEnd type="none" w="med" len="med"/>
                    </a:lnR>
                    <a:lnT w="12700" cap="flat" cmpd="sng" algn="ctr">
                      <a:solidFill>
                        <a:srgbClr val="00ABAB"/>
                      </a:solidFill>
                      <a:prstDash val="solid"/>
                      <a:round/>
                      <a:headEnd type="none" w="med" len="med"/>
                      <a:tailEnd type="none" w="med" len="med"/>
                    </a:lnT>
                    <a:lnB w="12700" cap="flat" cmpd="sng" algn="ctr">
                      <a:solidFill>
                        <a:srgbClr val="00ABA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738184"/>
                  </a:ext>
                </a:extLst>
              </a:tr>
            </a:tbl>
          </a:graphicData>
        </a:graphic>
      </p:graphicFrame>
      <p:graphicFrame>
        <p:nvGraphicFramePr>
          <p:cNvPr id="58" name="Table 57">
            <a:extLst>
              <a:ext uri="{FF2B5EF4-FFF2-40B4-BE49-F238E27FC236}">
                <a16:creationId xmlns:a16="http://schemas.microsoft.com/office/drawing/2014/main" id="{F2F101A8-1EB8-4A9C-B382-6A890A656C73}"/>
              </a:ext>
            </a:extLst>
          </p:cNvPr>
          <p:cNvGraphicFramePr>
            <a:graphicFrameLocks noGrp="1"/>
          </p:cNvGraphicFramePr>
          <p:nvPr>
            <p:extLst>
              <p:ext uri="{D42A27DB-BD31-4B8C-83A1-F6EECF244321}">
                <p14:modId xmlns:p14="http://schemas.microsoft.com/office/powerpoint/2010/main" val="2052530985"/>
              </p:ext>
            </p:extLst>
          </p:nvPr>
        </p:nvGraphicFramePr>
        <p:xfrm>
          <a:off x="754291" y="1351941"/>
          <a:ext cx="1938196" cy="536196"/>
        </p:xfrm>
        <a:graphic>
          <a:graphicData uri="http://schemas.openxmlformats.org/drawingml/2006/table">
            <a:tbl>
              <a:tblPr firstRow="1" bandRow="1">
                <a:tableStyleId>{5C22544A-7EE6-4342-B048-85BDC9FD1C3A}</a:tableStyleId>
              </a:tblPr>
              <a:tblGrid>
                <a:gridCol w="1938196">
                  <a:extLst>
                    <a:ext uri="{9D8B030D-6E8A-4147-A177-3AD203B41FA5}">
                      <a16:colId xmlns:a16="http://schemas.microsoft.com/office/drawing/2014/main" val="2891938392"/>
                    </a:ext>
                  </a:extLst>
                </a:gridCol>
              </a:tblGrid>
              <a:tr h="536196">
                <a:tc>
                  <a:txBody>
                    <a:bodyPr/>
                    <a:lstStyle/>
                    <a:p>
                      <a:pPr marL="0" marR="0" lvl="0" indent="0" algn="ctr" defTabSz="1208241"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Calibri" panose="020F0502020204030204" pitchFamily="34" charset="0"/>
                          <a:cs typeface="Calibri" panose="020F0502020204030204" pitchFamily="34" charset="0"/>
                        </a:rPr>
                        <a:t>Nader Farid</a:t>
                      </a:r>
                    </a:p>
                    <a:p>
                      <a:pPr algn="ctr"/>
                      <a:r>
                        <a:rPr lang="en-US" sz="900" b="0" dirty="0">
                          <a:solidFill>
                            <a:schemeClr val="bg1"/>
                          </a:solidFill>
                        </a:rPr>
                        <a:t>Partner, QA </a:t>
                      </a:r>
                    </a:p>
                  </a:txBody>
                  <a:tcPr marL="90587" marR="90587" marT="45295" marB="4529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5560"/>
                    </a:solidFill>
                  </a:tcPr>
                </a:tc>
                <a:extLst>
                  <a:ext uri="{0D108BD9-81ED-4DB2-BD59-A6C34878D82A}">
                    <a16:rowId xmlns:a16="http://schemas.microsoft.com/office/drawing/2014/main" val="3879738184"/>
                  </a:ext>
                </a:extLst>
              </a:tr>
            </a:tbl>
          </a:graphicData>
        </a:graphic>
      </p:graphicFrame>
      <p:sp>
        <p:nvSpPr>
          <p:cNvPr id="59" name="object 12">
            <a:extLst>
              <a:ext uri="{FF2B5EF4-FFF2-40B4-BE49-F238E27FC236}">
                <a16:creationId xmlns:a16="http://schemas.microsoft.com/office/drawing/2014/main" id="{23F1475D-D06B-4F05-90DE-5B579F173402}"/>
              </a:ext>
            </a:extLst>
          </p:cNvPr>
          <p:cNvSpPr txBox="1"/>
          <p:nvPr/>
        </p:nvSpPr>
        <p:spPr>
          <a:xfrm>
            <a:off x="750286" y="2139686"/>
            <a:ext cx="1938197" cy="251548"/>
          </a:xfrm>
          <a:prstGeom prst="rect">
            <a:avLst/>
          </a:prstGeom>
          <a:solidFill>
            <a:srgbClr val="00ABAB"/>
          </a:solidFill>
          <a:ln w="9525">
            <a:solidFill>
              <a:srgbClr val="00ABAB"/>
            </a:solidFill>
          </a:ln>
        </p:spPr>
        <p:style>
          <a:lnRef idx="2">
            <a:schemeClr val="accent3"/>
          </a:lnRef>
          <a:fillRef idx="1">
            <a:schemeClr val="lt1"/>
          </a:fillRef>
          <a:effectRef idx="0">
            <a:schemeClr val="accent3"/>
          </a:effectRef>
          <a:fontRef idx="minor">
            <a:schemeClr val="dk1"/>
          </a:fontRef>
        </p:style>
        <p:txBody>
          <a:bodyPr vert="horz" wrap="square" lIns="0" tIns="45295" rIns="0" bIns="45295" rtlCol="0" anchor="ctr" anchorCtr="0">
            <a:spAutoFit/>
          </a:bodyPr>
          <a:lstStyle/>
          <a:p>
            <a:pPr marL="93767" marR="87473" indent="81180" algn="ctr"/>
            <a:r>
              <a:rPr lang="en-US" sz="991" b="1" dirty="0">
                <a:solidFill>
                  <a:schemeClr val="bg1"/>
                </a:solidFill>
                <a:latin typeface="Calibri" panose="020F0502020204030204" pitchFamily="34" charset="0"/>
                <a:cs typeface="Arial"/>
              </a:rPr>
              <a:t>Engagement Advisors</a:t>
            </a:r>
            <a:endParaRPr lang="en-US" sz="991" dirty="0">
              <a:solidFill>
                <a:schemeClr val="bg1"/>
              </a:solidFill>
              <a:latin typeface="Calibri" panose="020F0502020204030204" pitchFamily="34" charset="0"/>
              <a:cs typeface="Arial"/>
            </a:endParaRPr>
          </a:p>
        </p:txBody>
      </p:sp>
      <p:sp>
        <p:nvSpPr>
          <p:cNvPr id="60" name="object 12">
            <a:extLst>
              <a:ext uri="{FF2B5EF4-FFF2-40B4-BE49-F238E27FC236}">
                <a16:creationId xmlns:a16="http://schemas.microsoft.com/office/drawing/2014/main" id="{90839D22-D3C4-4111-A83D-C742C5C808C2}"/>
              </a:ext>
            </a:extLst>
          </p:cNvPr>
          <p:cNvSpPr txBox="1"/>
          <p:nvPr/>
        </p:nvSpPr>
        <p:spPr>
          <a:xfrm>
            <a:off x="827397" y="3623006"/>
            <a:ext cx="1790603" cy="426868"/>
          </a:xfrm>
          <a:prstGeom prst="rect">
            <a:avLst/>
          </a:prstGeom>
          <a:solidFill>
            <a:srgbClr val="0097A9"/>
          </a:solidFill>
          <a:ln>
            <a:noFill/>
          </a:ln>
        </p:spPr>
        <p:style>
          <a:lnRef idx="2">
            <a:schemeClr val="accent3"/>
          </a:lnRef>
          <a:fillRef idx="1">
            <a:schemeClr val="lt1"/>
          </a:fillRef>
          <a:effectRef idx="0">
            <a:schemeClr val="accent3"/>
          </a:effectRef>
          <a:fontRef idx="minor">
            <a:schemeClr val="dk1"/>
          </a:fontRef>
        </p:style>
        <p:txBody>
          <a:bodyPr vert="horz" wrap="square" lIns="0" tIns="45295" rIns="0" bIns="45295" rtlCol="0" anchor="ctr" anchorCtr="0">
            <a:spAutoFit/>
          </a:bodyPr>
          <a:lstStyle/>
          <a:p>
            <a:pPr marL="93767" marR="87473" indent="81180" algn="ctr"/>
            <a:r>
              <a:rPr lang="en-US" sz="1091" b="1" dirty="0">
                <a:solidFill>
                  <a:schemeClr val="bg1"/>
                </a:solidFill>
                <a:latin typeface="Calibri" panose="020F0502020204030204" pitchFamily="34" charset="0"/>
                <a:cs typeface="Arial"/>
              </a:rPr>
              <a:t>Chirag Kothari</a:t>
            </a:r>
          </a:p>
          <a:p>
            <a:pPr marL="93767" marR="87473" indent="81180" algn="ctr"/>
            <a:r>
              <a:rPr lang="en-US" sz="1091" b="1" dirty="0">
                <a:solidFill>
                  <a:schemeClr val="bg1"/>
                </a:solidFill>
                <a:latin typeface="Calibri" panose="020F0502020204030204" pitchFamily="34" charset="0"/>
                <a:cs typeface="Arial"/>
              </a:rPr>
              <a:t>IT Disaster Recovery SME</a:t>
            </a:r>
          </a:p>
        </p:txBody>
      </p:sp>
      <p:cxnSp>
        <p:nvCxnSpPr>
          <p:cNvPr id="61" name="Straight Connector 60">
            <a:extLst>
              <a:ext uri="{FF2B5EF4-FFF2-40B4-BE49-F238E27FC236}">
                <a16:creationId xmlns:a16="http://schemas.microsoft.com/office/drawing/2014/main" id="{64E88502-209F-44EA-A5C3-333C37BF573B}"/>
              </a:ext>
            </a:extLst>
          </p:cNvPr>
          <p:cNvCxnSpPr>
            <a:cxnSpLocks/>
            <a:endCxn id="39" idx="1"/>
          </p:cNvCxnSpPr>
          <p:nvPr/>
        </p:nvCxnSpPr>
        <p:spPr>
          <a:xfrm>
            <a:off x="2670048" y="2432304"/>
            <a:ext cx="719588" cy="0"/>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FB80F4-8648-431A-B306-0C858CE436A3}"/>
              </a:ext>
            </a:extLst>
          </p:cNvPr>
          <p:cNvCxnSpPr>
            <a:cxnSpLocks/>
            <a:endCxn id="37" idx="1"/>
          </p:cNvCxnSpPr>
          <p:nvPr/>
        </p:nvCxnSpPr>
        <p:spPr>
          <a:xfrm>
            <a:off x="2688478" y="3235177"/>
            <a:ext cx="701158" cy="0"/>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9EFF2413-2B74-4BD3-871C-03BDC8878FB9}"/>
              </a:ext>
            </a:extLst>
          </p:cNvPr>
          <p:cNvSpPr/>
          <p:nvPr/>
        </p:nvSpPr>
        <p:spPr bwMode="gray">
          <a:xfrm>
            <a:off x="3093973" y="3822589"/>
            <a:ext cx="3730237" cy="1552787"/>
          </a:xfrm>
          <a:prstGeom prst="rect">
            <a:avLst/>
          </a:prstGeom>
          <a:noFill/>
          <a:ln w="19050" algn="ctr">
            <a:solidFill>
              <a:schemeClr val="tx1"/>
            </a:solidFill>
            <a:prstDash val="sysDash"/>
            <a:miter lim="800000"/>
            <a:headEnd/>
            <a:tailEnd/>
          </a:ln>
        </p:spPr>
        <p:txBody>
          <a:bodyPr wrap="square" lIns="88071" tIns="88071" rIns="88071" bIns="88071" rtlCol="0" anchor="ctr"/>
          <a:lstStyle/>
          <a:p>
            <a:pPr algn="ctr">
              <a:lnSpc>
                <a:spcPct val="106000"/>
              </a:lnSpc>
              <a:buFont typeface="Wingdings 2" pitchFamily="18" charset="2"/>
              <a:buNone/>
            </a:pPr>
            <a:endParaRPr lang="en-US" sz="991" b="1" dirty="0">
              <a:solidFill>
                <a:schemeClr val="bg1"/>
              </a:solidFill>
              <a:latin typeface="Calibri" panose="020F0502020204030204" pitchFamily="34" charset="0"/>
              <a:cs typeface="Calibri" panose="020F0502020204030204" pitchFamily="34" charset="0"/>
            </a:endParaRPr>
          </a:p>
        </p:txBody>
      </p:sp>
      <p:sp>
        <p:nvSpPr>
          <p:cNvPr id="44" name="TextBox 43">
            <a:extLst>
              <a:ext uri="{FF2B5EF4-FFF2-40B4-BE49-F238E27FC236}">
                <a16:creationId xmlns:a16="http://schemas.microsoft.com/office/drawing/2014/main" id="{58F576B5-6E1C-4542-B0CF-60007CE401B7}"/>
              </a:ext>
            </a:extLst>
          </p:cNvPr>
          <p:cNvSpPr txBox="1"/>
          <p:nvPr/>
        </p:nvSpPr>
        <p:spPr>
          <a:xfrm>
            <a:off x="7354593" y="1447886"/>
            <a:ext cx="3584298" cy="914717"/>
          </a:xfrm>
          <a:prstGeom prst="rect">
            <a:avLst/>
          </a:prstGeom>
          <a:noFill/>
        </p:spPr>
        <p:txBody>
          <a:bodyPr wrap="square" rtlCol="0">
            <a:spAutoFit/>
          </a:bodyPr>
          <a:lstStyle/>
          <a:p>
            <a:pPr marL="169914" indent="-169914">
              <a:buSzPct val="100000"/>
              <a:buFont typeface="Arial" panose="020B0604020202020204" pitchFamily="34" charset="0"/>
              <a:buChar char="•"/>
              <a:defRPr/>
            </a:pPr>
            <a:r>
              <a:rPr lang="en-US" sz="891" dirty="0">
                <a:latin typeface="Calibri" panose="020F0502020204030204" pitchFamily="34" charset="0"/>
              </a:rPr>
              <a:t>Ensure objectives are met within timing and scope outlined</a:t>
            </a:r>
          </a:p>
          <a:p>
            <a:pPr marL="169914" indent="-169914">
              <a:buSzPct val="100000"/>
              <a:buFont typeface="Arial" panose="020B0604020202020204" pitchFamily="34" charset="0"/>
              <a:buChar char="•"/>
              <a:defRPr/>
            </a:pPr>
            <a:r>
              <a:rPr lang="en-US" sz="891" dirty="0">
                <a:latin typeface="Calibri" panose="020F0502020204030204" pitchFamily="34" charset="0"/>
              </a:rPr>
              <a:t>Provide overall guidance and technical expertise</a:t>
            </a:r>
          </a:p>
          <a:p>
            <a:pPr marL="169914" indent="-169914">
              <a:buSzPct val="100000"/>
              <a:buFont typeface="Arial" panose="020B0604020202020204" pitchFamily="34" charset="0"/>
              <a:buChar char="•"/>
              <a:defRPr/>
            </a:pPr>
            <a:r>
              <a:rPr lang="en-US" sz="891" dirty="0">
                <a:latin typeface="Calibri" panose="020F0502020204030204" pitchFamily="34" charset="0"/>
              </a:rPr>
              <a:t>Ensure project runs smoothly and in accordance with approved delivery framework.</a:t>
            </a:r>
          </a:p>
          <a:p>
            <a:pPr marL="169914" indent="-169914">
              <a:buSzPct val="100000"/>
              <a:buFont typeface="Arial" panose="020B0604020202020204" pitchFamily="34" charset="0"/>
              <a:buChar char="•"/>
              <a:defRPr/>
            </a:pPr>
            <a:r>
              <a:rPr lang="en-US" sz="891" dirty="0">
                <a:latin typeface="Calibri" panose="020F0502020204030204" pitchFamily="34" charset="0"/>
              </a:rPr>
              <a:t>Review Deliverables and work progress throughout the life of the project</a:t>
            </a:r>
          </a:p>
        </p:txBody>
      </p:sp>
      <p:sp>
        <p:nvSpPr>
          <p:cNvPr id="45" name="TextBox 44">
            <a:extLst>
              <a:ext uri="{FF2B5EF4-FFF2-40B4-BE49-F238E27FC236}">
                <a16:creationId xmlns:a16="http://schemas.microsoft.com/office/drawing/2014/main" id="{D19C9665-E88E-4D27-9F9F-A230C3A32A41}"/>
              </a:ext>
            </a:extLst>
          </p:cNvPr>
          <p:cNvSpPr txBox="1"/>
          <p:nvPr/>
        </p:nvSpPr>
        <p:spPr>
          <a:xfrm>
            <a:off x="7354597" y="3694683"/>
            <a:ext cx="3516851" cy="640303"/>
          </a:xfrm>
          <a:prstGeom prst="rect">
            <a:avLst/>
          </a:prstGeom>
          <a:noFill/>
        </p:spPr>
        <p:txBody>
          <a:bodyPr wrap="square" rtlCol="0">
            <a:spAutoFit/>
          </a:bodyPr>
          <a:lstStyle/>
          <a:p>
            <a:pPr marL="169914" indent="-169914">
              <a:buSzPct val="100000"/>
              <a:buFont typeface="Arial" panose="020B0604020202020204" pitchFamily="34" charset="0"/>
              <a:buChar char="•"/>
              <a:defRPr/>
            </a:pPr>
            <a:r>
              <a:rPr lang="en-US" sz="891" dirty="0">
                <a:latin typeface="Calibri" panose="020F0502020204030204" pitchFamily="34" charset="0"/>
              </a:rPr>
              <a:t>Schedule, conduct, and document interviews and workshops</a:t>
            </a:r>
          </a:p>
          <a:p>
            <a:pPr marL="169914" indent="-169914">
              <a:buSzPct val="100000"/>
              <a:buFont typeface="Arial" panose="020B0604020202020204" pitchFamily="34" charset="0"/>
              <a:buChar char="•"/>
              <a:defRPr/>
            </a:pPr>
            <a:r>
              <a:rPr lang="en-US" sz="891" dirty="0">
                <a:latin typeface="Calibri" panose="020F0502020204030204" pitchFamily="34" charset="0"/>
              </a:rPr>
              <a:t>Prepare deliverables and drafts</a:t>
            </a:r>
          </a:p>
          <a:p>
            <a:pPr marL="169914" indent="-169914">
              <a:buSzPct val="100000"/>
              <a:buFont typeface="Arial" panose="020B0604020202020204" pitchFamily="34" charset="0"/>
              <a:buChar char="•"/>
              <a:defRPr/>
            </a:pPr>
            <a:r>
              <a:rPr lang="en-US" sz="891" dirty="0">
                <a:latin typeface="Calibri" panose="020F0502020204030204" pitchFamily="34" charset="0"/>
              </a:rPr>
              <a:t>Conduct fieldwork and delivery activities</a:t>
            </a:r>
          </a:p>
          <a:p>
            <a:pPr marL="169914" indent="-169914">
              <a:buSzPct val="100000"/>
              <a:buFont typeface="Arial" panose="020B0604020202020204" pitchFamily="34" charset="0"/>
              <a:buChar char="•"/>
              <a:defRPr/>
            </a:pPr>
            <a:r>
              <a:rPr lang="en-US" sz="891" dirty="0">
                <a:latin typeface="Calibri" panose="020F0502020204030204" pitchFamily="34" charset="0"/>
              </a:rPr>
              <a:t>Execute project activities</a:t>
            </a:r>
          </a:p>
        </p:txBody>
      </p:sp>
      <p:sp>
        <p:nvSpPr>
          <p:cNvPr id="47" name="TextBox 46">
            <a:extLst>
              <a:ext uri="{FF2B5EF4-FFF2-40B4-BE49-F238E27FC236}">
                <a16:creationId xmlns:a16="http://schemas.microsoft.com/office/drawing/2014/main" id="{EA759A3B-73D6-4785-91DF-847F7303F405}"/>
              </a:ext>
            </a:extLst>
          </p:cNvPr>
          <p:cNvSpPr txBox="1"/>
          <p:nvPr/>
        </p:nvSpPr>
        <p:spPr>
          <a:xfrm>
            <a:off x="7354594" y="4677968"/>
            <a:ext cx="3227468" cy="365887"/>
          </a:xfrm>
          <a:prstGeom prst="rect">
            <a:avLst/>
          </a:prstGeom>
          <a:noFill/>
        </p:spPr>
        <p:txBody>
          <a:bodyPr wrap="square" rtlCol="0">
            <a:spAutoFit/>
          </a:bodyPr>
          <a:lstStyle/>
          <a:p>
            <a:pPr marL="169914" indent="-169914">
              <a:buSzPct val="100000"/>
              <a:buFont typeface="Arial" panose="020B0604020202020204" pitchFamily="34" charset="0"/>
              <a:buChar char="•"/>
              <a:defRPr/>
            </a:pPr>
            <a:r>
              <a:rPr lang="en-US" sz="891" dirty="0">
                <a:latin typeface="Calibri" panose="020F0502020204030204" pitchFamily="34" charset="0"/>
              </a:rPr>
              <a:t>Provide insight into industry risks and trends</a:t>
            </a:r>
          </a:p>
          <a:p>
            <a:pPr marL="169914" indent="-169914">
              <a:buSzPct val="100000"/>
              <a:buFont typeface="Arial" panose="020B0604020202020204" pitchFamily="34" charset="0"/>
              <a:buChar char="•"/>
              <a:defRPr/>
            </a:pPr>
            <a:r>
              <a:rPr lang="en-US" sz="891" dirty="0">
                <a:latin typeface="Calibri" panose="020F0502020204030204" pitchFamily="34" charset="0"/>
              </a:rPr>
              <a:t>Provide insights into technical areas of expertise</a:t>
            </a:r>
          </a:p>
        </p:txBody>
      </p:sp>
      <p:graphicFrame>
        <p:nvGraphicFramePr>
          <p:cNvPr id="48" name="object 10">
            <a:extLst>
              <a:ext uri="{FF2B5EF4-FFF2-40B4-BE49-F238E27FC236}">
                <a16:creationId xmlns:a16="http://schemas.microsoft.com/office/drawing/2014/main" id="{594F4907-13BB-44AB-8F4C-31FD3D7DCC16}"/>
              </a:ext>
            </a:extLst>
          </p:cNvPr>
          <p:cNvGraphicFramePr>
            <a:graphicFrameLocks noGrp="1"/>
          </p:cNvGraphicFramePr>
          <p:nvPr>
            <p:extLst>
              <p:ext uri="{D42A27DB-BD31-4B8C-83A1-F6EECF244321}">
                <p14:modId xmlns:p14="http://schemas.microsoft.com/office/powerpoint/2010/main" val="557186402"/>
              </p:ext>
            </p:extLst>
          </p:nvPr>
        </p:nvGraphicFramePr>
        <p:xfrm>
          <a:off x="7350330" y="2681612"/>
          <a:ext cx="3609647" cy="685800"/>
        </p:xfrm>
        <a:graphic>
          <a:graphicData uri="http://schemas.openxmlformats.org/drawingml/2006/table">
            <a:tbl>
              <a:tblPr firstRow="1" bandRow="1">
                <a:tableStyleId>{2D5ABB26-0587-4C30-8999-92F81FD0307C}</a:tableStyleId>
              </a:tblPr>
              <a:tblGrid>
                <a:gridCol w="3609647">
                  <a:extLst>
                    <a:ext uri="{9D8B030D-6E8A-4147-A177-3AD203B41FA5}">
                      <a16:colId xmlns:a16="http://schemas.microsoft.com/office/drawing/2014/main" val="20000"/>
                    </a:ext>
                  </a:extLst>
                </a:gridCol>
              </a:tblGrid>
              <a:tr h="685086">
                <a:tc>
                  <a:txBody>
                    <a:bodyPr/>
                    <a:lstStyle/>
                    <a:p>
                      <a:pPr marL="171450" indent="-171450">
                        <a:spcAft>
                          <a:spcPts val="0"/>
                        </a:spcAft>
                        <a:buSzPct val="100000"/>
                        <a:buFont typeface="Arial" panose="020B0604020202020204" pitchFamily="34" charset="0"/>
                        <a:buChar char="•"/>
                      </a:pPr>
                      <a:r>
                        <a:rPr lang="en-US" sz="900" kern="1200" baseline="0" dirty="0">
                          <a:solidFill>
                            <a:schemeClr val="tx1"/>
                          </a:solidFill>
                          <a:latin typeface="Calibri" panose="020F0502020204030204" pitchFamily="34" charset="0"/>
                          <a:ea typeface="+mn-ea"/>
                          <a:cs typeface="+mn-cs"/>
                        </a:rPr>
                        <a:t>Project managers will be responsible for delivering the overall scope and objectives of the engagement in accordance with quality expectations</a:t>
                      </a:r>
                    </a:p>
                    <a:p>
                      <a:pPr marL="171450" indent="-171450">
                        <a:spcAft>
                          <a:spcPts val="0"/>
                        </a:spcAft>
                        <a:buSzPct val="100000"/>
                        <a:buFont typeface="Arial" panose="020B0604020202020204" pitchFamily="34" charset="0"/>
                        <a:buChar char="•"/>
                      </a:pPr>
                      <a:r>
                        <a:rPr lang="en-US" sz="900" kern="1200" baseline="0" dirty="0">
                          <a:solidFill>
                            <a:schemeClr val="tx1"/>
                          </a:solidFill>
                          <a:latin typeface="Calibri" panose="020F0502020204030204" pitchFamily="34" charset="0"/>
                          <a:ea typeface="+mn-ea"/>
                          <a:cs typeface="+mn-cs"/>
                        </a:rPr>
                        <a:t>Responsible for ongoing status reporting and issue escalation and resolution</a:t>
                      </a:r>
                    </a:p>
                  </a:txBody>
                  <a:tcPr marL="90587" marR="0" marT="0" marB="0">
                    <a:lnT w="3048">
                      <a:noFill/>
                      <a:prstDash val="solid"/>
                    </a:lnT>
                  </a:tcPr>
                </a:tc>
                <a:extLst>
                  <a:ext uri="{0D108BD9-81ED-4DB2-BD59-A6C34878D82A}">
                    <a16:rowId xmlns:a16="http://schemas.microsoft.com/office/drawing/2014/main" val="10000"/>
                  </a:ext>
                </a:extLst>
              </a:tr>
            </a:tbl>
          </a:graphicData>
        </a:graphic>
      </p:graphicFrame>
      <p:sp>
        <p:nvSpPr>
          <p:cNvPr id="34" name="object 12">
            <a:extLst>
              <a:ext uri="{FF2B5EF4-FFF2-40B4-BE49-F238E27FC236}">
                <a16:creationId xmlns:a16="http://schemas.microsoft.com/office/drawing/2014/main" id="{1D6A7262-3EAA-4096-8A72-A81A28A75944}"/>
              </a:ext>
            </a:extLst>
          </p:cNvPr>
          <p:cNvSpPr txBox="1"/>
          <p:nvPr/>
        </p:nvSpPr>
        <p:spPr>
          <a:xfrm>
            <a:off x="819935" y="4153272"/>
            <a:ext cx="1790603" cy="426868"/>
          </a:xfrm>
          <a:prstGeom prst="rect">
            <a:avLst/>
          </a:prstGeom>
          <a:solidFill>
            <a:srgbClr val="0097A9"/>
          </a:solidFill>
          <a:ln>
            <a:noFill/>
          </a:ln>
        </p:spPr>
        <p:style>
          <a:lnRef idx="2">
            <a:schemeClr val="accent3"/>
          </a:lnRef>
          <a:fillRef idx="1">
            <a:schemeClr val="lt1"/>
          </a:fillRef>
          <a:effectRef idx="0">
            <a:schemeClr val="accent3"/>
          </a:effectRef>
          <a:fontRef idx="minor">
            <a:schemeClr val="dk1"/>
          </a:fontRef>
        </p:style>
        <p:txBody>
          <a:bodyPr vert="horz" wrap="square" lIns="0" tIns="45295" rIns="0" bIns="45295" rtlCol="0" anchor="ctr" anchorCtr="0">
            <a:spAutoFit/>
          </a:bodyPr>
          <a:lstStyle/>
          <a:p>
            <a:pPr marL="93767" marR="87473" indent="81180" algn="ctr"/>
            <a:r>
              <a:rPr lang="en-US" sz="1091" b="1" dirty="0">
                <a:solidFill>
                  <a:schemeClr val="bg1"/>
                </a:solidFill>
                <a:latin typeface="Calibri" panose="020F0502020204030204" pitchFamily="34" charset="0"/>
                <a:cs typeface="Arial"/>
              </a:rPr>
              <a:t>Esam Shana’a</a:t>
            </a:r>
          </a:p>
          <a:p>
            <a:pPr marL="93767" marR="87473" indent="81180" algn="ctr"/>
            <a:r>
              <a:rPr lang="en-US" sz="1091" b="1" dirty="0">
                <a:solidFill>
                  <a:schemeClr val="bg1"/>
                </a:solidFill>
                <a:latin typeface="Calibri" panose="020F0502020204030204" pitchFamily="34" charset="0"/>
                <a:cs typeface="Arial"/>
              </a:rPr>
              <a:t>Business Continuity SME</a:t>
            </a:r>
          </a:p>
        </p:txBody>
      </p:sp>
      <p:sp>
        <p:nvSpPr>
          <p:cNvPr id="38" name="Rectangle 37">
            <a:extLst>
              <a:ext uri="{FF2B5EF4-FFF2-40B4-BE49-F238E27FC236}">
                <a16:creationId xmlns:a16="http://schemas.microsoft.com/office/drawing/2014/main" id="{01D63077-5AB8-4FFB-AF43-B2F9818E68E7}"/>
              </a:ext>
            </a:extLst>
          </p:cNvPr>
          <p:cNvSpPr/>
          <p:nvPr/>
        </p:nvSpPr>
        <p:spPr bwMode="gray">
          <a:xfrm>
            <a:off x="1" y="0"/>
            <a:ext cx="165462" cy="6858000"/>
          </a:xfrm>
          <a:prstGeom prst="rect">
            <a:avLst/>
          </a:prstGeom>
          <a:solidFill>
            <a:srgbClr val="0076A8"/>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cxnSp>
        <p:nvCxnSpPr>
          <p:cNvPr id="42" name="Straight Connector 41">
            <a:extLst>
              <a:ext uri="{FF2B5EF4-FFF2-40B4-BE49-F238E27FC236}">
                <a16:creationId xmlns:a16="http://schemas.microsoft.com/office/drawing/2014/main" id="{BB7D3599-BE39-4A9E-A23F-C92F88C12B5C}"/>
              </a:ext>
            </a:extLst>
          </p:cNvPr>
          <p:cNvCxnSpPr>
            <a:cxnSpLocks/>
            <a:stCxn id="37" idx="0"/>
            <a:endCxn id="39" idx="2"/>
          </p:cNvCxnSpPr>
          <p:nvPr/>
        </p:nvCxnSpPr>
        <p:spPr>
          <a:xfrm flipV="1">
            <a:off x="4959091" y="2694843"/>
            <a:ext cx="0" cy="28815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8D072A9-C96D-444C-90D8-92B0D7799CDE}"/>
              </a:ext>
            </a:extLst>
          </p:cNvPr>
          <p:cNvCxnSpPr>
            <a:cxnSpLocks/>
            <a:stCxn id="39" idx="0"/>
            <a:endCxn id="36" idx="2"/>
          </p:cNvCxnSpPr>
          <p:nvPr/>
        </p:nvCxnSpPr>
        <p:spPr>
          <a:xfrm flipV="1">
            <a:off x="4959091" y="1941230"/>
            <a:ext cx="0" cy="24925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49A8A68B-64DD-830A-E941-6EB3B885E13C}"/>
              </a:ext>
            </a:extLst>
          </p:cNvPr>
          <p:cNvGraphicFramePr>
            <a:graphicFrameLocks noGrp="1"/>
          </p:cNvGraphicFramePr>
          <p:nvPr>
            <p:extLst>
              <p:ext uri="{D42A27DB-BD31-4B8C-83A1-F6EECF244321}">
                <p14:modId xmlns:p14="http://schemas.microsoft.com/office/powerpoint/2010/main" val="4175193302"/>
              </p:ext>
            </p:extLst>
          </p:nvPr>
        </p:nvGraphicFramePr>
        <p:xfrm>
          <a:off x="4381170" y="4659702"/>
          <a:ext cx="1155535" cy="539290"/>
        </p:xfrm>
        <a:graphic>
          <a:graphicData uri="http://schemas.openxmlformats.org/drawingml/2006/table">
            <a:tbl>
              <a:tblPr firstRow="1" bandRow="1">
                <a:tableStyleId>{5C22544A-7EE6-4342-B048-85BDC9FD1C3A}</a:tableStyleId>
              </a:tblPr>
              <a:tblGrid>
                <a:gridCol w="1155535">
                  <a:extLst>
                    <a:ext uri="{9D8B030D-6E8A-4147-A177-3AD203B41FA5}">
                      <a16:colId xmlns:a16="http://schemas.microsoft.com/office/drawing/2014/main" val="2891938392"/>
                    </a:ext>
                  </a:extLst>
                </a:gridCol>
              </a:tblGrid>
              <a:tr h="539290">
                <a:tc>
                  <a:txBody>
                    <a:bodyPr/>
                    <a:lstStyle/>
                    <a:p>
                      <a:pPr algn="ctr"/>
                      <a:r>
                        <a:rPr lang="en-US" sz="1000" b="0" dirty="0">
                          <a:solidFill>
                            <a:schemeClr val="bg1"/>
                          </a:solidFill>
                          <a:latin typeface="Calibri" panose="020F0502020204030204" pitchFamily="34" charset="0"/>
                          <a:cs typeface="Calibri" panose="020F0502020204030204" pitchFamily="34" charset="0"/>
                        </a:rPr>
                        <a:t>Jason Massaad</a:t>
                      </a:r>
                    </a:p>
                    <a:p>
                      <a:pPr algn="ctr"/>
                      <a:r>
                        <a:rPr lang="en-US" sz="1000" b="0" dirty="0">
                          <a:solidFill>
                            <a:schemeClr val="bg1"/>
                          </a:solidFill>
                          <a:latin typeface="Calibri" panose="020F0502020204030204" pitchFamily="34" charset="0"/>
                          <a:cs typeface="Calibri" panose="020F0502020204030204" pitchFamily="34" charset="0"/>
                        </a:rPr>
                        <a:t>Consultant</a:t>
                      </a:r>
                    </a:p>
                  </a:txBody>
                  <a:tcPr marL="69138" marR="69138" marT="45295" marB="4529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43434"/>
                    </a:solidFill>
                  </a:tcPr>
                </a:tc>
                <a:extLst>
                  <a:ext uri="{0D108BD9-81ED-4DB2-BD59-A6C34878D82A}">
                    <a16:rowId xmlns:a16="http://schemas.microsoft.com/office/drawing/2014/main" val="3879738184"/>
                  </a:ext>
                </a:extLst>
              </a:tr>
            </a:tbl>
          </a:graphicData>
        </a:graphic>
      </p:graphicFrame>
      <p:sp>
        <p:nvSpPr>
          <p:cNvPr id="3" name="object 12">
            <a:extLst>
              <a:ext uri="{FF2B5EF4-FFF2-40B4-BE49-F238E27FC236}">
                <a16:creationId xmlns:a16="http://schemas.microsoft.com/office/drawing/2014/main" id="{2B9A47BA-EC6C-0EC5-ED70-53892FD305FE}"/>
              </a:ext>
            </a:extLst>
          </p:cNvPr>
          <p:cNvSpPr txBox="1"/>
          <p:nvPr/>
        </p:nvSpPr>
        <p:spPr>
          <a:xfrm>
            <a:off x="835886" y="2549720"/>
            <a:ext cx="1790603" cy="426868"/>
          </a:xfrm>
          <a:prstGeom prst="rect">
            <a:avLst/>
          </a:prstGeom>
          <a:solidFill>
            <a:srgbClr val="0097A9"/>
          </a:solidFill>
          <a:ln>
            <a:noFill/>
          </a:ln>
        </p:spPr>
        <p:style>
          <a:lnRef idx="2">
            <a:schemeClr val="accent3"/>
          </a:lnRef>
          <a:fillRef idx="1">
            <a:schemeClr val="lt1"/>
          </a:fillRef>
          <a:effectRef idx="0">
            <a:schemeClr val="accent3"/>
          </a:effectRef>
          <a:fontRef idx="minor">
            <a:schemeClr val="dk1"/>
          </a:fontRef>
        </p:style>
        <p:txBody>
          <a:bodyPr vert="horz" wrap="square" lIns="0" tIns="45295" rIns="0" bIns="45295" rtlCol="0" anchor="ctr" anchorCtr="0">
            <a:spAutoFit/>
          </a:bodyPr>
          <a:lstStyle/>
          <a:p>
            <a:pPr marL="93767" marR="87473" indent="81180" algn="ctr"/>
            <a:r>
              <a:rPr lang="en-US" sz="1091" b="1" dirty="0">
                <a:solidFill>
                  <a:schemeClr val="bg1"/>
                </a:solidFill>
                <a:latin typeface="Calibri" panose="020F0502020204030204" pitchFamily="34" charset="0"/>
                <a:cs typeface="Arial"/>
              </a:rPr>
              <a:t>Katie Diacon</a:t>
            </a:r>
          </a:p>
          <a:p>
            <a:pPr marL="93767" marR="87473" indent="81180" algn="ctr"/>
            <a:r>
              <a:rPr lang="en-US" sz="1091" b="1" dirty="0">
                <a:solidFill>
                  <a:schemeClr val="bg1"/>
                </a:solidFill>
                <a:latin typeface="Calibri" panose="020F0502020204030204" pitchFamily="34" charset="0"/>
                <a:cs typeface="Arial"/>
              </a:rPr>
              <a:t>Crisis Management SME</a:t>
            </a:r>
          </a:p>
        </p:txBody>
      </p:sp>
      <p:sp>
        <p:nvSpPr>
          <p:cNvPr id="4" name="object 12">
            <a:extLst>
              <a:ext uri="{FF2B5EF4-FFF2-40B4-BE49-F238E27FC236}">
                <a16:creationId xmlns:a16="http://schemas.microsoft.com/office/drawing/2014/main" id="{4DB89301-1D88-E74A-9091-C345FCFACFA9}"/>
              </a:ext>
            </a:extLst>
          </p:cNvPr>
          <p:cNvSpPr txBox="1"/>
          <p:nvPr/>
        </p:nvSpPr>
        <p:spPr>
          <a:xfrm>
            <a:off x="828424" y="3079986"/>
            <a:ext cx="1790603" cy="426868"/>
          </a:xfrm>
          <a:prstGeom prst="rect">
            <a:avLst/>
          </a:prstGeom>
          <a:solidFill>
            <a:srgbClr val="0097A9"/>
          </a:solidFill>
          <a:ln>
            <a:noFill/>
          </a:ln>
        </p:spPr>
        <p:style>
          <a:lnRef idx="2">
            <a:schemeClr val="accent3"/>
          </a:lnRef>
          <a:fillRef idx="1">
            <a:schemeClr val="lt1"/>
          </a:fillRef>
          <a:effectRef idx="0">
            <a:schemeClr val="accent3"/>
          </a:effectRef>
          <a:fontRef idx="minor">
            <a:schemeClr val="dk1"/>
          </a:fontRef>
        </p:style>
        <p:txBody>
          <a:bodyPr vert="horz" wrap="square" lIns="0" tIns="45295" rIns="0" bIns="45295" rtlCol="0" anchor="ctr" anchorCtr="0">
            <a:spAutoFit/>
          </a:bodyPr>
          <a:lstStyle/>
          <a:p>
            <a:pPr marL="93767" marR="87473" indent="81180" algn="ctr"/>
            <a:r>
              <a:rPr lang="en-US" sz="1091" b="1" dirty="0">
                <a:solidFill>
                  <a:schemeClr val="bg1"/>
                </a:solidFill>
                <a:latin typeface="Calibri" panose="020F0502020204030204" pitchFamily="34" charset="0"/>
                <a:cs typeface="Arial"/>
              </a:rPr>
              <a:t>Maarten Smulders</a:t>
            </a:r>
          </a:p>
          <a:p>
            <a:pPr marL="93767" marR="87473" indent="81180" algn="ctr"/>
            <a:r>
              <a:rPr lang="en-US" sz="1091" b="1" dirty="0">
                <a:solidFill>
                  <a:schemeClr val="bg1"/>
                </a:solidFill>
                <a:latin typeface="Calibri" panose="020F0502020204030204" pitchFamily="34" charset="0"/>
                <a:cs typeface="Arial"/>
              </a:rPr>
              <a:t>IT Disaster Recovery SME</a:t>
            </a:r>
          </a:p>
        </p:txBody>
      </p:sp>
      <p:graphicFrame>
        <p:nvGraphicFramePr>
          <p:cNvPr id="5" name="Table 4">
            <a:extLst>
              <a:ext uri="{FF2B5EF4-FFF2-40B4-BE49-F238E27FC236}">
                <a16:creationId xmlns:a16="http://schemas.microsoft.com/office/drawing/2014/main" id="{B27F6E6B-0A7A-0B72-E661-95E9A95A89D1}"/>
              </a:ext>
            </a:extLst>
          </p:cNvPr>
          <p:cNvGraphicFramePr>
            <a:graphicFrameLocks noGrp="1"/>
          </p:cNvGraphicFramePr>
          <p:nvPr>
            <p:extLst>
              <p:ext uri="{D42A27DB-BD31-4B8C-83A1-F6EECF244321}">
                <p14:modId xmlns:p14="http://schemas.microsoft.com/office/powerpoint/2010/main" val="2287339287"/>
              </p:ext>
            </p:extLst>
          </p:nvPr>
        </p:nvGraphicFramePr>
        <p:xfrm>
          <a:off x="5604219" y="4662035"/>
          <a:ext cx="1155535" cy="539290"/>
        </p:xfrm>
        <a:graphic>
          <a:graphicData uri="http://schemas.openxmlformats.org/drawingml/2006/table">
            <a:tbl>
              <a:tblPr firstRow="1" bandRow="1">
                <a:tableStyleId>{5C22544A-7EE6-4342-B048-85BDC9FD1C3A}</a:tableStyleId>
              </a:tblPr>
              <a:tblGrid>
                <a:gridCol w="1155535">
                  <a:extLst>
                    <a:ext uri="{9D8B030D-6E8A-4147-A177-3AD203B41FA5}">
                      <a16:colId xmlns:a16="http://schemas.microsoft.com/office/drawing/2014/main" val="2891938392"/>
                    </a:ext>
                  </a:extLst>
                </a:gridCol>
              </a:tblGrid>
              <a:tr h="539290">
                <a:tc>
                  <a:txBody>
                    <a:bodyPr/>
                    <a:lstStyle/>
                    <a:p>
                      <a:pPr algn="ctr"/>
                      <a:r>
                        <a:rPr lang="en-US" sz="1000" b="0" dirty="0">
                          <a:solidFill>
                            <a:schemeClr val="bg1"/>
                          </a:solidFill>
                          <a:latin typeface="Calibri" panose="020F0502020204030204" pitchFamily="34" charset="0"/>
                          <a:cs typeface="Calibri" panose="020F0502020204030204" pitchFamily="34" charset="0"/>
                        </a:rPr>
                        <a:t>Lujain Alfawzan</a:t>
                      </a:r>
                    </a:p>
                    <a:p>
                      <a:pPr algn="ctr"/>
                      <a:r>
                        <a:rPr lang="en-US" sz="1000" b="0" dirty="0">
                          <a:solidFill>
                            <a:schemeClr val="bg1"/>
                          </a:solidFill>
                          <a:latin typeface="Calibri" panose="020F0502020204030204" pitchFamily="34" charset="0"/>
                          <a:cs typeface="Calibri" panose="020F0502020204030204" pitchFamily="34" charset="0"/>
                        </a:rPr>
                        <a:t>Business Analyst</a:t>
                      </a:r>
                    </a:p>
                  </a:txBody>
                  <a:tcPr marL="69138" marR="69138" marT="45295" marB="4529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43434"/>
                    </a:solidFill>
                  </a:tcPr>
                </a:tc>
                <a:extLst>
                  <a:ext uri="{0D108BD9-81ED-4DB2-BD59-A6C34878D82A}">
                    <a16:rowId xmlns:a16="http://schemas.microsoft.com/office/drawing/2014/main" val="3879738184"/>
                  </a:ext>
                </a:extLst>
              </a:tr>
            </a:tbl>
          </a:graphicData>
        </a:graphic>
      </p:graphicFrame>
      <p:graphicFrame>
        <p:nvGraphicFramePr>
          <p:cNvPr id="7" name="Table 6">
            <a:extLst>
              <a:ext uri="{FF2B5EF4-FFF2-40B4-BE49-F238E27FC236}">
                <a16:creationId xmlns:a16="http://schemas.microsoft.com/office/drawing/2014/main" id="{984FCB45-F16F-EE53-6FB4-6C3233318116}"/>
              </a:ext>
            </a:extLst>
          </p:cNvPr>
          <p:cNvGraphicFramePr>
            <a:graphicFrameLocks noGrp="1"/>
          </p:cNvGraphicFramePr>
          <p:nvPr>
            <p:extLst>
              <p:ext uri="{D42A27DB-BD31-4B8C-83A1-F6EECF244321}">
                <p14:modId xmlns:p14="http://schemas.microsoft.com/office/powerpoint/2010/main" val="3563747405"/>
              </p:ext>
            </p:extLst>
          </p:nvPr>
        </p:nvGraphicFramePr>
        <p:xfrm>
          <a:off x="3158121" y="4666648"/>
          <a:ext cx="1155535" cy="539290"/>
        </p:xfrm>
        <a:graphic>
          <a:graphicData uri="http://schemas.openxmlformats.org/drawingml/2006/table">
            <a:tbl>
              <a:tblPr firstRow="1" bandRow="1">
                <a:tableStyleId>{5C22544A-7EE6-4342-B048-85BDC9FD1C3A}</a:tableStyleId>
              </a:tblPr>
              <a:tblGrid>
                <a:gridCol w="1155535">
                  <a:extLst>
                    <a:ext uri="{9D8B030D-6E8A-4147-A177-3AD203B41FA5}">
                      <a16:colId xmlns:a16="http://schemas.microsoft.com/office/drawing/2014/main" val="2891938392"/>
                    </a:ext>
                  </a:extLst>
                </a:gridCol>
              </a:tblGrid>
              <a:tr h="539290">
                <a:tc>
                  <a:txBody>
                    <a:bodyPr/>
                    <a:lstStyle/>
                    <a:p>
                      <a:pPr algn="ctr"/>
                      <a:r>
                        <a:rPr lang="en-US" sz="1000" b="0" dirty="0">
                          <a:solidFill>
                            <a:schemeClr val="bg1"/>
                          </a:solidFill>
                          <a:latin typeface="Calibri" panose="020F0502020204030204" pitchFamily="34" charset="0"/>
                          <a:cs typeface="Calibri" panose="020F0502020204030204" pitchFamily="34" charset="0"/>
                        </a:rPr>
                        <a:t>Suprotim Ghosh</a:t>
                      </a:r>
                    </a:p>
                    <a:p>
                      <a:pPr algn="ctr"/>
                      <a:r>
                        <a:rPr lang="en-US" sz="1000" b="0" dirty="0">
                          <a:solidFill>
                            <a:schemeClr val="bg1"/>
                          </a:solidFill>
                          <a:latin typeface="Calibri" panose="020F0502020204030204" pitchFamily="34" charset="0"/>
                          <a:cs typeface="Calibri" panose="020F0502020204030204" pitchFamily="34" charset="0"/>
                        </a:rPr>
                        <a:t>Assistant Manager</a:t>
                      </a:r>
                    </a:p>
                  </a:txBody>
                  <a:tcPr marL="69138" marR="69138" marT="45295" marB="4529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43434"/>
                    </a:solidFill>
                  </a:tcPr>
                </a:tc>
                <a:extLst>
                  <a:ext uri="{0D108BD9-81ED-4DB2-BD59-A6C34878D82A}">
                    <a16:rowId xmlns:a16="http://schemas.microsoft.com/office/drawing/2014/main" val="3879738184"/>
                  </a:ext>
                </a:extLst>
              </a:tr>
            </a:tbl>
          </a:graphicData>
        </a:graphic>
      </p:graphicFrame>
      <p:graphicFrame>
        <p:nvGraphicFramePr>
          <p:cNvPr id="14" name="Table 13">
            <a:extLst>
              <a:ext uri="{FF2B5EF4-FFF2-40B4-BE49-F238E27FC236}">
                <a16:creationId xmlns:a16="http://schemas.microsoft.com/office/drawing/2014/main" id="{F59F681C-D873-3565-C8B7-B32DDDA9D0E0}"/>
              </a:ext>
            </a:extLst>
          </p:cNvPr>
          <p:cNvGraphicFramePr>
            <a:graphicFrameLocks noGrp="1"/>
          </p:cNvGraphicFramePr>
          <p:nvPr>
            <p:extLst>
              <p:ext uri="{D42A27DB-BD31-4B8C-83A1-F6EECF244321}">
                <p14:modId xmlns:p14="http://schemas.microsoft.com/office/powerpoint/2010/main" val="300390485"/>
              </p:ext>
            </p:extLst>
          </p:nvPr>
        </p:nvGraphicFramePr>
        <p:xfrm>
          <a:off x="4381170" y="3981129"/>
          <a:ext cx="1155535" cy="539290"/>
        </p:xfrm>
        <a:graphic>
          <a:graphicData uri="http://schemas.openxmlformats.org/drawingml/2006/table">
            <a:tbl>
              <a:tblPr firstRow="1" bandRow="1">
                <a:tableStyleId>{5C22544A-7EE6-4342-B048-85BDC9FD1C3A}</a:tableStyleId>
              </a:tblPr>
              <a:tblGrid>
                <a:gridCol w="1155535">
                  <a:extLst>
                    <a:ext uri="{9D8B030D-6E8A-4147-A177-3AD203B41FA5}">
                      <a16:colId xmlns:a16="http://schemas.microsoft.com/office/drawing/2014/main" val="2891938392"/>
                    </a:ext>
                  </a:extLst>
                </a:gridCol>
              </a:tblGrid>
              <a:tr h="539290">
                <a:tc>
                  <a:txBody>
                    <a:bodyPr/>
                    <a:lstStyle/>
                    <a:p>
                      <a:pPr algn="ctr"/>
                      <a:r>
                        <a:rPr lang="en-US" sz="1000" b="0" dirty="0">
                          <a:solidFill>
                            <a:schemeClr val="bg1"/>
                          </a:solidFill>
                          <a:latin typeface="Calibri" panose="020F0502020204030204" pitchFamily="34" charset="0"/>
                          <a:cs typeface="Calibri" panose="020F0502020204030204" pitchFamily="34" charset="0"/>
                        </a:rPr>
                        <a:t>Tanzeel Afzal</a:t>
                      </a:r>
                    </a:p>
                    <a:p>
                      <a:pPr algn="ctr"/>
                      <a:r>
                        <a:rPr lang="en-US" sz="1000" b="0" dirty="0">
                          <a:solidFill>
                            <a:schemeClr val="bg1"/>
                          </a:solidFill>
                          <a:latin typeface="Calibri" panose="020F0502020204030204" pitchFamily="34" charset="0"/>
                          <a:cs typeface="Calibri" panose="020F0502020204030204" pitchFamily="34" charset="0"/>
                        </a:rPr>
                        <a:t>Assistant Manager</a:t>
                      </a:r>
                    </a:p>
                  </a:txBody>
                  <a:tcPr marL="69138" marR="69138" marT="45295" marB="4529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43434"/>
                    </a:solidFill>
                  </a:tcPr>
                </a:tc>
                <a:extLst>
                  <a:ext uri="{0D108BD9-81ED-4DB2-BD59-A6C34878D82A}">
                    <a16:rowId xmlns:a16="http://schemas.microsoft.com/office/drawing/2014/main" val="3879738184"/>
                  </a:ext>
                </a:extLst>
              </a:tr>
            </a:tbl>
          </a:graphicData>
        </a:graphic>
      </p:graphicFrame>
      <p:graphicFrame>
        <p:nvGraphicFramePr>
          <p:cNvPr id="16" name="Table 15">
            <a:extLst>
              <a:ext uri="{FF2B5EF4-FFF2-40B4-BE49-F238E27FC236}">
                <a16:creationId xmlns:a16="http://schemas.microsoft.com/office/drawing/2014/main" id="{CE863CC5-46E6-7694-4274-18243F121F83}"/>
              </a:ext>
            </a:extLst>
          </p:cNvPr>
          <p:cNvGraphicFramePr>
            <a:graphicFrameLocks noGrp="1"/>
          </p:cNvGraphicFramePr>
          <p:nvPr>
            <p:extLst>
              <p:ext uri="{D42A27DB-BD31-4B8C-83A1-F6EECF244321}">
                <p14:modId xmlns:p14="http://schemas.microsoft.com/office/powerpoint/2010/main" val="4061327414"/>
              </p:ext>
            </p:extLst>
          </p:nvPr>
        </p:nvGraphicFramePr>
        <p:xfrm>
          <a:off x="5604219" y="3983462"/>
          <a:ext cx="1155535" cy="539290"/>
        </p:xfrm>
        <a:graphic>
          <a:graphicData uri="http://schemas.openxmlformats.org/drawingml/2006/table">
            <a:tbl>
              <a:tblPr firstRow="1" bandRow="1">
                <a:tableStyleId>{5C22544A-7EE6-4342-B048-85BDC9FD1C3A}</a:tableStyleId>
              </a:tblPr>
              <a:tblGrid>
                <a:gridCol w="1155535">
                  <a:extLst>
                    <a:ext uri="{9D8B030D-6E8A-4147-A177-3AD203B41FA5}">
                      <a16:colId xmlns:a16="http://schemas.microsoft.com/office/drawing/2014/main" val="2891938392"/>
                    </a:ext>
                  </a:extLst>
                </a:gridCol>
              </a:tblGrid>
              <a:tr h="539290">
                <a:tc>
                  <a:txBody>
                    <a:bodyPr/>
                    <a:lstStyle/>
                    <a:p>
                      <a:pPr algn="ctr"/>
                      <a:r>
                        <a:rPr lang="en-US" sz="1000" b="0" dirty="0">
                          <a:solidFill>
                            <a:schemeClr val="bg1"/>
                          </a:solidFill>
                          <a:latin typeface="Calibri" panose="020F0502020204030204" pitchFamily="34" charset="0"/>
                          <a:cs typeface="Calibri" panose="020F0502020204030204" pitchFamily="34" charset="0"/>
                        </a:rPr>
                        <a:t>Nitesh Naik</a:t>
                      </a:r>
                    </a:p>
                    <a:p>
                      <a:pPr algn="ctr"/>
                      <a:r>
                        <a:rPr lang="en-US" sz="1000" b="0" dirty="0">
                          <a:solidFill>
                            <a:schemeClr val="bg1"/>
                          </a:solidFill>
                          <a:latin typeface="Calibri" panose="020F0502020204030204" pitchFamily="34" charset="0"/>
                          <a:cs typeface="Calibri" panose="020F0502020204030204" pitchFamily="34" charset="0"/>
                        </a:rPr>
                        <a:t>Assistant Manager</a:t>
                      </a:r>
                    </a:p>
                  </a:txBody>
                  <a:tcPr marL="69138" marR="69138" marT="45295" marB="4529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43434"/>
                    </a:solidFill>
                  </a:tcPr>
                </a:tc>
                <a:extLst>
                  <a:ext uri="{0D108BD9-81ED-4DB2-BD59-A6C34878D82A}">
                    <a16:rowId xmlns:a16="http://schemas.microsoft.com/office/drawing/2014/main" val="3879738184"/>
                  </a:ext>
                </a:extLst>
              </a:tr>
            </a:tbl>
          </a:graphicData>
        </a:graphic>
      </p:graphicFrame>
      <p:graphicFrame>
        <p:nvGraphicFramePr>
          <p:cNvPr id="18" name="Table 17">
            <a:extLst>
              <a:ext uri="{FF2B5EF4-FFF2-40B4-BE49-F238E27FC236}">
                <a16:creationId xmlns:a16="http://schemas.microsoft.com/office/drawing/2014/main" id="{2F2F5E81-D3B8-95A6-F919-B8EBCD38500D}"/>
              </a:ext>
            </a:extLst>
          </p:cNvPr>
          <p:cNvGraphicFramePr>
            <a:graphicFrameLocks noGrp="1"/>
          </p:cNvGraphicFramePr>
          <p:nvPr>
            <p:extLst>
              <p:ext uri="{D42A27DB-BD31-4B8C-83A1-F6EECF244321}">
                <p14:modId xmlns:p14="http://schemas.microsoft.com/office/powerpoint/2010/main" val="426552052"/>
              </p:ext>
            </p:extLst>
          </p:nvPr>
        </p:nvGraphicFramePr>
        <p:xfrm>
          <a:off x="3158121" y="3988075"/>
          <a:ext cx="1155535" cy="539290"/>
        </p:xfrm>
        <a:graphic>
          <a:graphicData uri="http://schemas.openxmlformats.org/drawingml/2006/table">
            <a:tbl>
              <a:tblPr firstRow="1" bandRow="1">
                <a:tableStyleId>{5C22544A-7EE6-4342-B048-85BDC9FD1C3A}</a:tableStyleId>
              </a:tblPr>
              <a:tblGrid>
                <a:gridCol w="1155535">
                  <a:extLst>
                    <a:ext uri="{9D8B030D-6E8A-4147-A177-3AD203B41FA5}">
                      <a16:colId xmlns:a16="http://schemas.microsoft.com/office/drawing/2014/main" val="2891938392"/>
                    </a:ext>
                  </a:extLst>
                </a:gridCol>
              </a:tblGrid>
              <a:tr h="539290">
                <a:tc>
                  <a:txBody>
                    <a:bodyPr/>
                    <a:lstStyle/>
                    <a:p>
                      <a:pPr algn="ctr"/>
                      <a:r>
                        <a:rPr lang="en-US" sz="1000" b="0" dirty="0">
                          <a:solidFill>
                            <a:schemeClr val="bg1"/>
                          </a:solidFill>
                          <a:latin typeface="Calibri" panose="020F0502020204030204" pitchFamily="34" charset="0"/>
                          <a:cs typeface="Calibri" panose="020F0502020204030204" pitchFamily="34" charset="0"/>
                        </a:rPr>
                        <a:t>Deepak Sinha</a:t>
                      </a:r>
                    </a:p>
                    <a:p>
                      <a:pPr algn="ctr"/>
                      <a:r>
                        <a:rPr lang="en-US" sz="1000" b="0" dirty="0">
                          <a:solidFill>
                            <a:schemeClr val="bg1"/>
                          </a:solidFill>
                          <a:latin typeface="Calibri" panose="020F0502020204030204" pitchFamily="34" charset="0"/>
                          <a:cs typeface="Calibri" panose="020F0502020204030204" pitchFamily="34" charset="0"/>
                        </a:rPr>
                        <a:t>Deputy Manager</a:t>
                      </a:r>
                    </a:p>
                  </a:txBody>
                  <a:tcPr marL="69138" marR="69138" marT="45295" marB="4529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43434"/>
                    </a:solidFill>
                  </a:tcPr>
                </a:tc>
                <a:extLst>
                  <a:ext uri="{0D108BD9-81ED-4DB2-BD59-A6C34878D82A}">
                    <a16:rowId xmlns:a16="http://schemas.microsoft.com/office/drawing/2014/main" val="3879738184"/>
                  </a:ext>
                </a:extLst>
              </a:tr>
            </a:tbl>
          </a:graphicData>
        </a:graphic>
      </p:graphicFrame>
    </p:spTree>
    <p:extLst>
      <p:ext uri="{BB962C8B-B14F-4D97-AF65-F5344CB8AC3E}">
        <p14:creationId xmlns:p14="http://schemas.microsoft.com/office/powerpoint/2010/main" val="148524804"/>
      </p:ext>
    </p:extLst>
  </p:cSld>
  <p:clrMapOvr>
    <a:masterClrMapping/>
  </p:clrMapOvr>
  <p:transition spd="med">
    <p:pull/>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C41A44B-0B30-43EB-9E2B-128B3267AAC9}"/>
              </a:ext>
            </a:extLst>
          </p:cNvPr>
          <p:cNvSpPr/>
          <p:nvPr/>
        </p:nvSpPr>
        <p:spPr bwMode="gray">
          <a:xfrm>
            <a:off x="-19017" y="0"/>
            <a:ext cx="3032552" cy="6857999"/>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10" name="Rectangle 9"/>
          <p:cNvSpPr/>
          <p:nvPr/>
        </p:nvSpPr>
        <p:spPr>
          <a:xfrm>
            <a:off x="158404" y="2011307"/>
            <a:ext cx="2855131" cy="585196"/>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Nader Farid</a:t>
            </a:r>
          </a:p>
          <a:p>
            <a:pPr algn="ctr" defTabSz="1208233" eaLnBrk="0" hangingPunct="0">
              <a:lnSpc>
                <a:spcPct val="110000"/>
              </a:lnSpc>
              <a:spcAft>
                <a:spcPct val="0"/>
              </a:spcAft>
            </a:pPr>
            <a:r>
              <a:rPr lang="en-US" sz="1091" dirty="0">
                <a:solidFill>
                  <a:prstClr val="white"/>
                </a:solidFill>
                <a:latin typeface="Calibri Light" panose="020F0302020204030204" pitchFamily="34" charset="0"/>
                <a:cs typeface="Arial" panose="020B0604020202020204" pitchFamily="34" charset="0"/>
              </a:rPr>
              <a:t>Partner</a:t>
            </a:r>
          </a:p>
        </p:txBody>
      </p:sp>
      <p:sp>
        <p:nvSpPr>
          <p:cNvPr id="11" name="Title 1"/>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0076A8"/>
                </a:solidFill>
                <a:latin typeface="Calibri Light" panose="020F0302020204030204" pitchFamily="34" charset="0"/>
                <a:cs typeface="Arial" panose="020B0604020202020204" pitchFamily="34" charset="0"/>
              </a:rPr>
              <a:t>Engagement Partner</a:t>
            </a:r>
          </a:p>
        </p:txBody>
      </p:sp>
      <p:sp>
        <p:nvSpPr>
          <p:cNvPr id="16" name="Rectangle 3"/>
          <p:cNvSpPr txBox="1">
            <a:spLocks noChangeArrowheads="1"/>
          </p:cNvSpPr>
          <p:nvPr/>
        </p:nvSpPr>
        <p:spPr bwMode="auto">
          <a:xfrm>
            <a:off x="3218083" y="1008865"/>
            <a:ext cx="7760136" cy="1133550"/>
          </a:xfrm>
          <a:prstGeom prst="rect">
            <a:avLst/>
          </a:prstGeom>
          <a:noFill/>
          <a:ln w="9525">
            <a:noFill/>
            <a:miter lim="800000"/>
            <a:headEnd/>
            <a:tailEnd/>
          </a:ln>
        </p:spPr>
        <p:txBody>
          <a:bodyPr lIns="108257" tIns="54130" rIns="0" bIns="54130"/>
          <a:lstStyle/>
          <a:p>
            <a:pPr algn="just" defTabSz="1208233" fontAlgn="base">
              <a:spcBef>
                <a:spcPts val="300"/>
              </a:spcBef>
              <a:spcAft>
                <a:spcPts val="300"/>
              </a:spcAft>
            </a:pPr>
            <a:r>
              <a:rPr lang="en-US" sz="991" dirty="0">
                <a:solidFill>
                  <a:srgbClr val="575757"/>
                </a:solidFill>
                <a:latin typeface="Calibri Light" panose="020F0302020204030204" pitchFamily="34" charset="0"/>
              </a:rPr>
              <a:t>Nader is a Partner in Risk Advisory leading Cyber and Technology Risk practice in KSA. Nader has more than 20 years of experience in the field of Information Security &amp; Technology Risk covering IT Governance, IT Risk Management, Information Security Management, Infrastructure &amp; Operations Security, Business Continuity and ERP Process Controls.</a:t>
            </a:r>
          </a:p>
          <a:p>
            <a:pPr algn="just" defTabSz="1208233" fontAlgn="base">
              <a:spcBef>
                <a:spcPts val="300"/>
              </a:spcBef>
              <a:spcAft>
                <a:spcPts val="300"/>
              </a:spcAft>
            </a:pPr>
            <a:r>
              <a:rPr lang="en-US" sz="991" dirty="0">
                <a:solidFill>
                  <a:srgbClr val="575757"/>
                </a:solidFill>
                <a:latin typeface="Calibri Light" panose="020F0302020204030204" pitchFamily="34" charset="0"/>
              </a:rPr>
              <a:t>Nader has led and managed a wide range of Information Technology and Security Risk Management engagements for a number of iconic clients in the ME across various industries including; Financial Services, Manufacturing, Utilities, Telecoms and the Public Sector. </a:t>
            </a:r>
            <a:endPar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algn="just" defTabSz="1208233" fontAlgn="base">
              <a:spcBef>
                <a:spcPts val="300"/>
              </a:spcBef>
              <a:spcAft>
                <a:spcPts val="300"/>
              </a:spcAft>
            </a:pPr>
            <a:endPar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defTabSz="1208233">
              <a:spcBef>
                <a:spcPts val="300"/>
              </a:spcBef>
              <a:spcAft>
                <a:spcPts val="300"/>
              </a:spcAft>
              <a:buClr>
                <a:srgbClr val="000066"/>
              </a:buClr>
            </a:pPr>
            <a:endParaRPr lang="en-US" sz="990" dirty="0">
              <a:solidFill>
                <a:srgbClr val="313131"/>
              </a:solidFill>
              <a:latin typeface="Calibri Light" panose="020F0302020204030204" pitchFamily="34" charset="0"/>
              <a:ea typeface="Verdana" panose="020B0604030504040204" pitchFamily="34" charset="0"/>
              <a:cs typeface="Calibri Light" panose="020F0302020204030204" pitchFamily="34" charset="0"/>
            </a:endParaRPr>
          </a:p>
        </p:txBody>
      </p:sp>
      <p:sp>
        <p:nvSpPr>
          <p:cNvPr id="19" name="Rectangle 18"/>
          <p:cNvSpPr/>
          <p:nvPr/>
        </p:nvSpPr>
        <p:spPr>
          <a:xfrm>
            <a:off x="400768" y="2736591"/>
            <a:ext cx="2370395" cy="2340155"/>
          </a:xfrm>
          <a:prstGeom prst="rect">
            <a:avLst/>
          </a:prstGeom>
        </p:spPr>
        <p:txBody>
          <a:bodyPr wrap="square">
            <a:spAutoFit/>
          </a:bodyPr>
          <a:lstStyle/>
          <a:p>
            <a:pPr indent="-159701"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p>
          <a:p>
            <a:pPr indent="-159701" defTabSz="948386">
              <a:lnSpc>
                <a:spcPts val="1014"/>
              </a:lnSpc>
              <a:buClr>
                <a:srgbClr val="000066"/>
              </a:buClr>
              <a:buSzPct val="75000"/>
              <a:tabLst>
                <a:tab pos="1312455" algn="l"/>
              </a:tabLst>
              <a:defRPr/>
            </a:pPr>
            <a:endParaRPr lang="en-GB" sz="990" dirty="0">
              <a:solidFill>
                <a:srgbClr val="00A1DE"/>
              </a:solidFill>
              <a:latin typeface="Calibri Light" panose="020F0302020204030204" pitchFamily="34" charset="0"/>
              <a:ea typeface="Verdana" panose="020B0604030504040204" pitchFamily="34" charset="0"/>
              <a:cs typeface="Calibri Light" panose="020F0302020204030204" pitchFamily="34" charset="0"/>
            </a:endParaRP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Bachelor of Science Degree in Computer Information Systems from California State University of Fresno, USA. </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Certified Information System Auditor [CISA]. </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Certified in Risk and Information Systems Control [CRISC]</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Member of the Information Systems Audit and Control Association </a:t>
            </a:r>
            <a:r>
              <a:rPr lang="en-US" sz="1041" dirty="0">
                <a:solidFill>
                  <a:srgbClr val="FFFFFF"/>
                </a:solidFill>
                <a:latin typeface="Calibri Light" panose="020F0302020204030204" pitchFamily="34" charset="0"/>
                <a:ea typeface="Verdana" panose="020B0604030504040204" pitchFamily="34" charset="0"/>
                <a:cs typeface="Calibri Light" panose="020F0302020204030204" pitchFamily="34" charset="0"/>
              </a:rPr>
              <a:t>(ISACA)</a:t>
            </a:r>
          </a:p>
        </p:txBody>
      </p:sp>
      <p:graphicFrame>
        <p:nvGraphicFramePr>
          <p:cNvPr id="15" name="Table 14"/>
          <p:cNvGraphicFramePr>
            <a:graphicFrameLocks noGrp="1"/>
          </p:cNvGraphicFramePr>
          <p:nvPr>
            <p:extLst>
              <p:ext uri="{D42A27DB-BD31-4B8C-83A1-F6EECF244321}">
                <p14:modId xmlns:p14="http://schemas.microsoft.com/office/powerpoint/2010/main" val="211182297"/>
              </p:ext>
            </p:extLst>
          </p:nvPr>
        </p:nvGraphicFramePr>
        <p:xfrm>
          <a:off x="3218079" y="5177320"/>
          <a:ext cx="8402716" cy="1349332"/>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347984">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MBA –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ank AlBilad –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CB -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lAwal Bank –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Aramco – KSA</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ELM – KSA</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ADEC – KSA</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KSA</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upa Arabia – KSA</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l-Jazira Takaful - KSA</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3"/>
          <p:cNvSpPr txBox="1">
            <a:spLocks noChangeArrowheads="1"/>
          </p:cNvSpPr>
          <p:nvPr/>
        </p:nvSpPr>
        <p:spPr bwMode="auto">
          <a:xfrm>
            <a:off x="3168632" y="2144767"/>
            <a:ext cx="7809582" cy="2931977"/>
          </a:xfrm>
          <a:prstGeom prst="rect">
            <a:avLst/>
          </a:prstGeom>
          <a:noFill/>
          <a:ln w="9525">
            <a:noFill/>
            <a:miter lim="800000"/>
            <a:headEnd/>
            <a:tailEnd/>
          </a:ln>
        </p:spPr>
        <p:txBody>
          <a:bodyPr lIns="108257" tIns="54130" rIns="0" bIns="54130"/>
          <a:lstStyle/>
          <a:p>
            <a:pPr marL="190131" indent="-190131">
              <a:spcBef>
                <a:spcPts val="590"/>
              </a:spcBef>
              <a:spcAft>
                <a:spcPts val="590"/>
              </a:spcAft>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marL="0" lvl="1" algn="just">
              <a:buSzPts val="1000"/>
              <a:tabLst>
                <a:tab pos="225959" algn="l"/>
              </a:tabLst>
              <a:defRPr/>
            </a:pPr>
            <a:r>
              <a:rPr lang="en-US" sz="991" dirty="0">
                <a:solidFill>
                  <a:srgbClr val="575757"/>
                </a:solidFill>
                <a:latin typeface="Calibri Light" panose="020F0302020204030204" pitchFamily="34" charset="0"/>
              </a:rPr>
              <a:t>Nader has been involved in various engagements related to end to end information security programme covering current state assessment; strategic and technical risk assessment; strategy and roadmap; governance; policies and procedures, business continuity management; training &amp; awareness; and testing. Some of his relevant project experience includes:</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roject Manager for the Business Continuity and Disaster Recovery assessment and documentation for one of the world’s largest National Oil Companies.</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d the SAP Post implementation and Cyber security review for a leading chemicals manufacturing client in KSA. The areas in scope included, IT Governance, IT Operations, ERP automated controls, user access and IT Security (vulnerability assessment and attack &amp; penetration).</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d the IT Internal Audit and Applications Controls review for a leading utilities company based out of AL-Jubail Industrial City, KSA. The scope encompassed review of IT Governance, IT Security as well as ERP functional and user security Controls. </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d an IT internal audit co-sourcing engagement for a leading telecom service provider in the Kingdom Bahrain covering IT, Networks and ERP systems Audits.</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d several internal audit outsourcing engagements for a number of leading clients in KSA. Some of the key areas covered during these engagements include; Finance &amp; Accounts, Revenue &amp; expenditures, HR &amp; Admin, Procurement, Patient Services, as well as IT and Cyber Security.</a:t>
            </a:r>
          </a:p>
          <a:p>
            <a:pPr marL="169913" lvl="1" indent="-169913" algn="just" defTabSz="1208233" fontAlgn="base">
              <a:spcBef>
                <a:spcPts val="300"/>
              </a:spcBef>
              <a:spcAft>
                <a:spcPts val="300"/>
              </a:spcAft>
              <a:buClr>
                <a:srgbClr val="000066"/>
              </a:buClr>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roject Manager for a large transformation engagement for a leading Paper Manufacturing client in Saudi Arabia. The scope encompassed Strategy Articulation, Organization restructuring as well as development of the client’s Process, Policies &amp; procedures, and Compensation schemes.</a:t>
            </a:r>
          </a:p>
        </p:txBody>
      </p:sp>
      <p:pic>
        <p:nvPicPr>
          <p:cNvPr id="18" name="Picture 17">
            <a:extLst>
              <a:ext uri="{FF2B5EF4-FFF2-40B4-BE49-F238E27FC236}">
                <a16:creationId xmlns:a16="http://schemas.microsoft.com/office/drawing/2014/main" id="{7C249095-A1A5-43A4-94AD-C4C94B7CC231}"/>
              </a:ext>
            </a:extLst>
          </p:cNvPr>
          <p:cNvPicPr/>
          <p:nvPr/>
        </p:nvPicPr>
        <p:blipFill rotWithShape="1">
          <a:blip r:embed="rId2">
            <a:extLst>
              <a:ext uri="{28A0092B-C50C-407E-A947-70E740481C1C}">
                <a14:useLocalDpi xmlns:a14="http://schemas.microsoft.com/office/drawing/2010/main" val="0"/>
              </a:ext>
            </a:extLst>
          </a:blip>
          <a:srcRect l="19157" t="9039" r="13995" b="25109"/>
          <a:stretch/>
        </p:blipFill>
        <p:spPr bwMode="auto">
          <a:xfrm rot="20684821">
            <a:off x="755307" y="327010"/>
            <a:ext cx="1543913" cy="1520865"/>
          </a:xfrm>
          <a:prstGeom prst="ellipse">
            <a:avLst/>
          </a:prstGeom>
          <a:noFill/>
          <a:ln>
            <a:noFill/>
          </a:ln>
        </p:spPr>
      </p:pic>
      <p:sp>
        <p:nvSpPr>
          <p:cNvPr id="14" name="Triangle 28">
            <a:extLst>
              <a:ext uri="{FF2B5EF4-FFF2-40B4-BE49-F238E27FC236}">
                <a16:creationId xmlns:a16="http://schemas.microsoft.com/office/drawing/2014/main" id="{04DDF01F-7014-4D8B-8442-C5B040D7EFDA}"/>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Tree>
    <p:extLst>
      <p:ext uri="{BB962C8B-B14F-4D97-AF65-F5344CB8AC3E}">
        <p14:creationId xmlns:p14="http://schemas.microsoft.com/office/powerpoint/2010/main" val="229414909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10B8A3-852E-4138-A1AD-7EB32225B119}"/>
              </a:ext>
            </a:extLst>
          </p:cNvPr>
          <p:cNvSpPr/>
          <p:nvPr/>
        </p:nvSpPr>
        <p:spPr bwMode="gray">
          <a:xfrm>
            <a:off x="0" y="0"/>
            <a:ext cx="3013535"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10" name="Rectangle 9"/>
          <p:cNvSpPr/>
          <p:nvPr/>
        </p:nvSpPr>
        <p:spPr>
          <a:xfrm>
            <a:off x="158404" y="2009776"/>
            <a:ext cx="2855131" cy="5867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Tariq M. Ajmal</a:t>
            </a:r>
            <a:br>
              <a:rPr lang="en-US" sz="3172" dirty="0">
                <a:solidFill>
                  <a:prstClr val="white"/>
                </a:solidFill>
                <a:latin typeface="Calibri Light" panose="020F0302020204030204" pitchFamily="34" charset="0"/>
                <a:cs typeface="Arial" panose="020B0604020202020204" pitchFamily="34" charset="0"/>
              </a:rPr>
            </a:br>
            <a:r>
              <a:rPr lang="en-US" sz="1091" dirty="0">
                <a:solidFill>
                  <a:prstClr val="white"/>
                </a:solidFill>
                <a:latin typeface="Calibri Light" panose="020F0302020204030204" pitchFamily="34" charset="0"/>
                <a:cs typeface="Arial" panose="020B0604020202020204" pitchFamily="34" charset="0"/>
              </a:rPr>
              <a:t>Partner</a:t>
            </a:r>
          </a:p>
        </p:txBody>
      </p:sp>
      <p:sp>
        <p:nvSpPr>
          <p:cNvPr id="11" name="Title 1"/>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0076A8"/>
                </a:solidFill>
                <a:latin typeface="Calibri Light" panose="020F0302020204030204" pitchFamily="34" charset="0"/>
                <a:cs typeface="Arial" panose="020B0604020202020204" pitchFamily="34" charset="0"/>
              </a:rPr>
              <a:t>Engagement QA Partner</a:t>
            </a:r>
          </a:p>
        </p:txBody>
      </p:sp>
      <p:sp>
        <p:nvSpPr>
          <p:cNvPr id="16" name="Rectangle 3"/>
          <p:cNvSpPr txBox="1">
            <a:spLocks noChangeArrowheads="1"/>
          </p:cNvSpPr>
          <p:nvPr/>
        </p:nvSpPr>
        <p:spPr bwMode="auto">
          <a:xfrm>
            <a:off x="3218083" y="1008859"/>
            <a:ext cx="7790670" cy="2256501"/>
          </a:xfrm>
          <a:prstGeom prst="rect">
            <a:avLst/>
          </a:prstGeom>
          <a:noFill/>
          <a:ln w="9525">
            <a:noFill/>
            <a:miter lim="800000"/>
            <a:headEnd/>
            <a:tailEnd/>
          </a:ln>
        </p:spPr>
        <p:txBody>
          <a:bodyPr lIns="108257" tIns="54130" rIns="0" bIns="54130"/>
          <a:lstStyle/>
          <a:p>
            <a:pPr algn="just" defTabSz="906197">
              <a:spcBef>
                <a:spcPts val="300"/>
              </a:spcBef>
              <a:spcAft>
                <a:spcPts val="591"/>
              </a:spcAft>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ariq has more than 20 years of experience in the field of Information &amp; Technology Risk covering IT Governance, Project Risk, Cyber Security, Resiliency &amp; Crisis Management, IT and Business Process Controls as well as helping organization comply with requirements such as Sarbanes Oxley, ISO, CobiT, ITIL, ADSIC, etc. Tariq’s experience spans various industries and clients in Middle East and North America. </a:t>
            </a:r>
          </a:p>
          <a:p>
            <a:pPr defTabSz="1208233">
              <a:spcBef>
                <a:spcPts val="300"/>
              </a:spcBef>
              <a:spcAft>
                <a:spcPts val="300"/>
              </a:spcAft>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p>
          <a:p>
            <a:pPr defTabSz="1208233">
              <a:spcBef>
                <a:spcPts val="300"/>
              </a:spcBef>
              <a:spcAft>
                <a:spcPts val="300"/>
              </a:spcAft>
              <a:buClr>
                <a:srgbClr val="000066"/>
              </a:buCl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ariq has performed, managed and directed engagements in a wide range of data processing environments, ranging from highly complex mainframe systems to stand alone PC and LAN based systems.  His project experience include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IT Governance assessments and implementations (including IT Risk Management, Project and Portfolio Management, IT and Business Alignment, IT Compliance Management).</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IT control design and risk identification / mitigation review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usiness process reviews covering both operational and support processe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hird party reviews and reporting (such as SAS 70 / SSEA16, CICA Sec. 5900, ISAE 3402 / ISAE 3000 / WebTrust etc.) for outsourced business processes and infrastructure.</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pplication (SAP, Oracle, JD Edwards, Great Plains, People Soft, Baan, Maximo, Banking, Insurance, Telecom etc.) pre and post implementation reviews covering application functionality controls, security controls (technical and segregation of duties) and implementation project review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Database (Oracle, SQL), operating systems / platforms (IBM Mainframe, RACF, Top Secret, AS400, Windows, UNIX, etc.) and network configuration and security review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Data conversion reviews including data quality and integrity reviews.</a:t>
            </a:r>
          </a:p>
          <a:p>
            <a:pPr marL="169913" indent="-169913" algn="just" defTabSz="1208233" fontAlgn="base">
              <a:spcBef>
                <a:spcPts val="300"/>
              </a:spcBef>
              <a:spcAft>
                <a:spcPts val="300"/>
              </a:spcAft>
              <a:buClr>
                <a:srgbClr val="000066"/>
              </a:buClr>
              <a:buFont typeface="Arial" panose="020B0604020202020204" pitchFamily="34" charset="0"/>
              <a:buChar cha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Development and implementation of Integrated Management System (IMS) based on PAS99 covering various ISO standards such as ISO14000 (Environment), OHSAS18000 (Health &amp; Safety), ISO20000 (IT Service), ISO27001 (Information Security) and ISO22301 (Business Continuity Management).</a:t>
            </a:r>
          </a:p>
          <a:p>
            <a:pPr defTabSz="1208233">
              <a:spcBef>
                <a:spcPts val="590"/>
              </a:spcBef>
              <a:spcAft>
                <a:spcPts val="590"/>
              </a:spcAft>
              <a:buClr>
                <a:srgbClr val="000066"/>
              </a:buClr>
            </a:pPr>
            <a:r>
              <a:rPr lang="en-GB"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a:t>
            </a:r>
          </a:p>
          <a:p>
            <a:pPr defTabSz="1208233">
              <a:spcBef>
                <a:spcPts val="590"/>
              </a:spcBef>
              <a:spcAft>
                <a:spcPts val="590"/>
              </a:spcAft>
              <a:buClr>
                <a:srgbClr val="000066"/>
              </a:buClr>
            </a:pPr>
            <a:endParaRPr lang="en-US" sz="990" dirty="0">
              <a:solidFill>
                <a:srgbClr val="313131"/>
              </a:solidFill>
              <a:latin typeface="Calibri Light" panose="020F0302020204030204" pitchFamily="34" charset="0"/>
              <a:ea typeface="Verdana" panose="020B0604030504040204" pitchFamily="34" charset="0"/>
              <a:cs typeface="Calibri Light" panose="020F0302020204030204" pitchFamily="34" charset="0"/>
            </a:endParaRPr>
          </a:p>
          <a:p>
            <a:pPr marL="190131" indent="-190131" defTabSz="1208233">
              <a:spcBef>
                <a:spcPts val="300"/>
              </a:spcBef>
              <a:spcAft>
                <a:spcPts val="300"/>
              </a:spcAft>
              <a:buClr>
                <a:srgbClr val="000066"/>
              </a:buClr>
              <a:buFontTx/>
              <a:buChar char="•"/>
            </a:pPr>
            <a:endParaRPr lang="en-US" sz="990" dirty="0">
              <a:solidFill>
                <a:srgbClr val="313131"/>
              </a:solidFill>
              <a:latin typeface="Calibri Light" panose="020F0302020204030204" pitchFamily="34" charset="0"/>
              <a:ea typeface="Verdana" panose="020B0604030504040204" pitchFamily="34" charset="0"/>
              <a:cs typeface="Calibri Light" panose="020F0302020204030204" pitchFamily="34" charset="0"/>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307" y="327008"/>
            <a:ext cx="1543913" cy="1540832"/>
          </a:xfrm>
          <a:prstGeom prst="ellipse">
            <a:avLst/>
          </a:prstGeom>
        </p:spPr>
      </p:pic>
      <p:graphicFrame>
        <p:nvGraphicFramePr>
          <p:cNvPr id="18" name="Table 17"/>
          <p:cNvGraphicFramePr>
            <a:graphicFrameLocks noGrp="1"/>
          </p:cNvGraphicFramePr>
          <p:nvPr/>
        </p:nvGraphicFramePr>
        <p:xfrm>
          <a:off x="3262259" y="5506540"/>
          <a:ext cx="8155171" cy="853062"/>
        </p:xfrm>
        <a:graphic>
          <a:graphicData uri="http://schemas.openxmlformats.org/drawingml/2006/table">
            <a:tbl>
              <a:tblPr firstRow="1" firstCol="1" bandRow="1"/>
              <a:tblGrid>
                <a:gridCol w="3590723">
                  <a:extLst>
                    <a:ext uri="{9D8B030D-6E8A-4147-A177-3AD203B41FA5}">
                      <a16:colId xmlns:a16="http://schemas.microsoft.com/office/drawing/2014/main" val="20000"/>
                    </a:ext>
                  </a:extLst>
                </a:gridCol>
                <a:gridCol w="4564448">
                  <a:extLst>
                    <a:ext uri="{9D8B030D-6E8A-4147-A177-3AD203B41FA5}">
                      <a16:colId xmlns:a16="http://schemas.microsoft.com/office/drawing/2014/main" val="20001"/>
                    </a:ext>
                  </a:extLst>
                </a:gridCol>
              </a:tblGrid>
              <a:tr h="853062">
                <a:tc>
                  <a:txBody>
                    <a:bodyPr/>
                    <a:lstStyle/>
                    <a:p>
                      <a:pPr marL="171450" marR="0" lvl="0" indent="-171450" algn="l" defTabSz="916686" rtl="0" eaLnBrk="1" latinLnBrk="0" hangingPunct="1">
                        <a:spcBef>
                          <a:spcPts val="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bu Dhabi Investment Authority - UAE</a:t>
                      </a:r>
                      <a:endParaRPr lang="en-US"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6686" rtl="0" eaLnBrk="1" latinLnBrk="0" hangingPunct="1">
                        <a:spcBef>
                          <a:spcPts val="0"/>
                        </a:spcBef>
                        <a:spcAft>
                          <a:spcPts val="0"/>
                        </a:spcAft>
                        <a:buClr>
                          <a:schemeClr val="tx1"/>
                        </a:buClr>
                        <a:buFont typeface="Arial" panose="020B0604020202020204" pitchFamily="34" charset="0"/>
                        <a:buChar char="•"/>
                        <a:tabLst>
                          <a:tab pos="226695" algn="l"/>
                        </a:tabLst>
                      </a:pPr>
                      <a:r>
                        <a:rPr lang="en-US"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bu Dhabi National Oil Company (ADNOC)</a:t>
                      </a:r>
                    </a:p>
                    <a:p>
                      <a:pPr marL="171450" marR="0" lvl="0" indent="-171450" algn="l" defTabSz="916686" rtl="0" eaLnBrk="1" latinLnBrk="0" hangingPunct="1">
                        <a:spcBef>
                          <a:spcPts val="0"/>
                        </a:spcBef>
                        <a:spcAft>
                          <a:spcPts val="0"/>
                        </a:spcAft>
                        <a:buClr>
                          <a:schemeClr val="tx1"/>
                        </a:buClr>
                        <a:buFont typeface="Arial" panose="020B0604020202020204" pitchFamily="34" charset="0"/>
                        <a:buChar char="•"/>
                        <a:tabLst>
                          <a:tab pos="226695" algn="l"/>
                        </a:tabLst>
                      </a:pPr>
                      <a:r>
                        <a:rPr lang="en-US"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DGAS</a:t>
                      </a:r>
                    </a:p>
                    <a:p>
                      <a:pPr marL="171450" marR="0" lvl="0" indent="-171450" algn="l" defTabSz="916686" rtl="0" eaLnBrk="1" latinLnBrk="0" hangingPunct="1">
                        <a:spcBef>
                          <a:spcPts val="0"/>
                        </a:spcBef>
                        <a:spcAft>
                          <a:spcPts val="0"/>
                        </a:spcAft>
                        <a:buClr>
                          <a:schemeClr val="tx1"/>
                        </a:buClr>
                        <a:buFont typeface="Arial" panose="020B0604020202020204" pitchFamily="34" charset="0"/>
                        <a:buChar char="•"/>
                        <a:tabLst>
                          <a:tab pos="226695" algn="l"/>
                        </a:tabLst>
                      </a:pPr>
                      <a:r>
                        <a:rPr lang="en-US"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GASCO</a:t>
                      </a:r>
                    </a:p>
                    <a:p>
                      <a:pPr marL="171450" marR="0" lvl="0" indent="-171450" algn="l" defTabSz="916686" rtl="0" eaLnBrk="1" latinLnBrk="0" hangingPunct="1">
                        <a:spcBef>
                          <a:spcPts val="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Dubai Financial Services Authority (DFSA) – UAE</a:t>
                      </a:r>
                    </a:p>
                  </a:txBody>
                  <a:tcPr marL="67917" marR="67917"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219170" rtl="0" eaLnBrk="1" fontAlgn="auto" latinLnBrk="0" hangingPunct="1">
                        <a:lnSpc>
                          <a:spcPct val="100000"/>
                        </a:lnSpc>
                        <a:spcBef>
                          <a:spcPts val="0"/>
                        </a:spcBef>
                        <a:spcAft>
                          <a:spcPts val="0"/>
                        </a:spcAft>
                        <a:buClr>
                          <a:schemeClr val="tx1"/>
                        </a:buClr>
                        <a:buSzTx/>
                        <a:buFont typeface="Arial" panose="020B0604020202020204" pitchFamily="34" charset="0"/>
                        <a:buChar char="•"/>
                        <a:tabLst>
                          <a:tab pos="226695" algn="l"/>
                        </a:tabLst>
                        <a:defRPr/>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Emirates NBD</a:t>
                      </a:r>
                    </a:p>
                    <a:p>
                      <a:pPr marL="171450" marR="0" lvl="0" indent="-171450" algn="l" rtl="0" eaLnBrk="1" latinLnBrk="0" hangingPunct="1">
                        <a:spcBef>
                          <a:spcPts val="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ational Bank of Abu Dhabi – UAE</a:t>
                      </a:r>
                    </a:p>
                    <a:p>
                      <a:pPr marL="171450" marR="0" lvl="0" indent="-171450" algn="l" rtl="0" eaLnBrk="1" latinLnBrk="0" hangingPunct="1">
                        <a:spcBef>
                          <a:spcPts val="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Mubadala – UAE</a:t>
                      </a:r>
                    </a:p>
                    <a:p>
                      <a:pPr marL="171450" marR="0" lvl="0" indent="-171450" algn="l" rtl="0" eaLnBrk="1" latinLnBrk="0" hangingPunct="1">
                        <a:spcBef>
                          <a:spcPts val="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Qatargas</a:t>
                      </a:r>
                    </a:p>
                    <a:p>
                      <a:pPr marL="171450" marR="0" lvl="0" indent="-171450" algn="l" rtl="0" eaLnBrk="1" latinLnBrk="0" hangingPunct="1">
                        <a:spcBef>
                          <a:spcPts val="0"/>
                        </a:spcBef>
                        <a:spcAft>
                          <a:spcPts val="0"/>
                        </a:spcAft>
                        <a:buClr>
                          <a:schemeClr val="tx1"/>
                        </a:buClr>
                        <a:buFont typeface="Arial" panose="020B0604020202020204" pitchFamily="34" charset="0"/>
                        <a:buChar char="•"/>
                        <a:tabLst>
                          <a:tab pos="226695" algn="l"/>
                        </a:tabLst>
                      </a:pPr>
                      <a:r>
                        <a:rPr lang="en-GB"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RasGas</a:t>
                      </a:r>
                      <a:endParaRPr lang="en-US" sz="1000" kern="120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txBody>
                  <a:tcPr marL="67917" marR="67917"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9" name="Rectangle 18"/>
          <p:cNvSpPr/>
          <p:nvPr/>
        </p:nvSpPr>
        <p:spPr>
          <a:xfrm>
            <a:off x="400769" y="2738438"/>
            <a:ext cx="2370395" cy="3545804"/>
          </a:xfrm>
          <a:prstGeom prst="rect">
            <a:avLst/>
          </a:prstGeom>
        </p:spPr>
        <p:txBody>
          <a:bodyPr wrap="square">
            <a:spAutoFit/>
          </a:bodyPr>
          <a:lstStyle/>
          <a:p>
            <a:pPr indent="-159701" defTabSz="948386">
              <a:lnSpc>
                <a:spcPts val="1014"/>
              </a:lnSpc>
              <a:spcBef>
                <a:spcPts val="590"/>
              </a:spcBef>
              <a:buClr>
                <a:srgbClr val="000066"/>
              </a:buClr>
              <a:buSzPct val="75000"/>
              <a:tabLst>
                <a:tab pos="1312455" algn="l"/>
              </a:tabLst>
              <a:defRPr/>
            </a:pPr>
            <a:r>
              <a:rPr lang="en-US" sz="1091" dirty="0">
                <a:solidFill>
                  <a:srgbClr val="FFFFFF"/>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p>
          <a:p>
            <a:pPr indent="-159701" defTabSz="948386">
              <a:lnSpc>
                <a:spcPts val="1014"/>
              </a:lnSpc>
              <a:buClr>
                <a:srgbClr val="000066"/>
              </a:buClr>
              <a:buSzPct val="75000"/>
              <a:tabLst>
                <a:tab pos="1312455" algn="l"/>
              </a:tabLst>
              <a:defRPr/>
            </a:pPr>
            <a:endParaRPr lang="en-GB" sz="990" dirty="0">
              <a:solidFill>
                <a:srgbClr val="00A1DE"/>
              </a:solidFill>
              <a:latin typeface="Calibri Light" panose="020F0302020204030204" pitchFamily="34" charset="0"/>
              <a:ea typeface="Verdana" panose="020B0604030504040204" pitchFamily="34" charset="0"/>
              <a:cs typeface="Calibri Light" panose="020F0302020204030204" pitchFamily="34" charset="0"/>
            </a:endParaRP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CISA - Certified Information </a:t>
            </a:r>
            <a:r>
              <a:rPr lang="en-US" sz="1041" dirty="0">
                <a:solidFill>
                  <a:schemeClr val="bg1"/>
                </a:solidFill>
                <a:latin typeface="Calibri Light" panose="020F0302020204030204" pitchFamily="34" charset="0"/>
                <a:ea typeface="Verdana" panose="020B0604030504040204" pitchFamily="34" charset="0"/>
              </a:rPr>
              <a:t>Systems Auditor, Member Information Systems Audit and Control Association (ISACA), USA</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GEIT - Certified in the Governance of Enterprise IT, ISACA</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A - Chartered Accountant (Canada), Member Canadian Institute of Chartered Accountants (CICA), Canada</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MMPA - Master of Management &amp; Professional Accounting, Rotman School of Management University of Toronto, Toronto</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 Com. Joint Honours in Economics and Accounting, McGill University, Montreal</a:t>
            </a:r>
          </a:p>
        </p:txBody>
      </p:sp>
      <p:sp>
        <p:nvSpPr>
          <p:cNvPr id="12" name="Triangle 28">
            <a:extLst>
              <a:ext uri="{FF2B5EF4-FFF2-40B4-BE49-F238E27FC236}">
                <a16:creationId xmlns:a16="http://schemas.microsoft.com/office/drawing/2014/main" id="{F5FE7B6B-23B6-45CD-BF8D-35DA5D8B20DD}"/>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Tree>
    <p:extLst>
      <p:ext uri="{BB962C8B-B14F-4D97-AF65-F5344CB8AC3E}">
        <p14:creationId xmlns:p14="http://schemas.microsoft.com/office/powerpoint/2010/main" val="215055430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87900A-F1D0-42E5-B0CC-17D3F88FA4EE}"/>
              </a:ext>
            </a:extLst>
          </p:cNvPr>
          <p:cNvSpPr/>
          <p:nvPr/>
        </p:nvSpPr>
        <p:spPr bwMode="gray">
          <a:xfrm>
            <a:off x="5249" y="0"/>
            <a:ext cx="3024389"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10" name="Rectangle 9"/>
          <p:cNvSpPr/>
          <p:nvPr/>
        </p:nvSpPr>
        <p:spPr>
          <a:xfrm>
            <a:off x="89875" y="1984623"/>
            <a:ext cx="2855131" cy="5872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Arsalan Yousuf</a:t>
            </a:r>
          </a:p>
          <a:p>
            <a:pPr algn="ctr" defTabSz="1208233" eaLnBrk="0" hangingPunct="0">
              <a:lnSpc>
                <a:spcPct val="110000"/>
              </a:lnSpc>
              <a:spcAft>
                <a:spcPct val="0"/>
              </a:spcAft>
            </a:pPr>
            <a:r>
              <a:rPr lang="en-US" sz="1094" dirty="0">
                <a:solidFill>
                  <a:prstClr val="white"/>
                </a:solidFill>
                <a:latin typeface="Calibri Light" panose="020F0302020204030204" pitchFamily="34" charset="0"/>
                <a:cs typeface="Arial" panose="020B0604020202020204" pitchFamily="34" charset="0"/>
              </a:rPr>
              <a:t>Director</a:t>
            </a:r>
          </a:p>
        </p:txBody>
      </p:sp>
      <p:sp>
        <p:nvSpPr>
          <p:cNvPr id="16" name="Rectangle 3"/>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pPr>
            <a:r>
              <a:rPr lang="en-US" sz="943" dirty="0">
                <a:solidFill>
                  <a:srgbClr val="575757"/>
                </a:solidFill>
                <a:latin typeface="Calibri Light" panose="020F0302020204030204" pitchFamily="34" charset="0"/>
              </a:rPr>
              <a:t>Arsalan is Director in Deloitte’s Cyber and Strategic Risk Advisory Services practice based in Riyadh. With an overall experience of 18+ years, he has in-depth knowledge &amp; experience in the field of Crisis Management, Resiliency and Business Continuity, working on several different engagements for development, implementation and assessment of BCM based on ISO 22301, ISO 22361, BS 67000, SAMA BCM Framework and industry best practices. Arsalan holds a Masters’ Degree in Computer Science, and industry recognized certifications like Certificate of the BCI (CBCI), Certified Information Security Manager (CISM) and Certified Information Systems Auditor (CISA).</a:t>
            </a:r>
          </a:p>
        </p:txBody>
      </p:sp>
      <p:sp>
        <p:nvSpPr>
          <p:cNvPr id="19" name="Rectangle 18"/>
          <p:cNvSpPr/>
          <p:nvPr/>
        </p:nvSpPr>
        <p:spPr>
          <a:xfrm>
            <a:off x="332245" y="2736588"/>
            <a:ext cx="2370395" cy="3369447"/>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54122" lvl="2" indent="-152780" defTabSz="771834" fontAlgn="base">
              <a:lnSpc>
                <a:spcPts val="1014"/>
              </a:lnSpc>
              <a:spcBef>
                <a:spcPts val="300"/>
              </a:spcBef>
              <a:spcAft>
                <a:spcPts val="300"/>
              </a:spcAft>
              <a:buClr>
                <a:srgbClr val="00A3E0"/>
              </a:buClr>
              <a:buSzPct val="100000"/>
              <a:buFont typeface="Wingdings" pitchFamily="2" charset="2"/>
              <a:buChar char="§"/>
              <a:tabLst>
                <a:tab pos="4824662" algn="l"/>
              </a:tabLst>
              <a:defRPr/>
            </a:pPr>
            <a:endParaRPr lang="en-GB"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MS Computer Science &amp; Networks – National University of Computers &amp; Emerging Sciences, Islamabad, Pakistan</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S Computer Science – Department of Computer Science, University of Karachi, Pakistan</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2301:2019 Lead Implementer</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cate of the BCI (CBCI) with Merit </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formation Security Manager (CISM)</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formation Systems Auditor (CISA)</a:t>
            </a:r>
          </a:p>
        </p:txBody>
      </p:sp>
      <p:graphicFrame>
        <p:nvGraphicFramePr>
          <p:cNvPr id="15" name="Table 14"/>
          <p:cNvGraphicFramePr>
            <a:graphicFrameLocks noGrp="1"/>
          </p:cNvGraphicFramePr>
          <p:nvPr>
            <p:extLst>
              <p:ext uri="{D42A27DB-BD31-4B8C-83A1-F6EECF244321}">
                <p14:modId xmlns:p14="http://schemas.microsoft.com/office/powerpoint/2010/main" val="1849065598"/>
              </p:ext>
            </p:extLst>
          </p:nvPr>
        </p:nvGraphicFramePr>
        <p:xfrm>
          <a:off x="3218079" y="4646884"/>
          <a:ext cx="8402716" cy="2111332"/>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918889">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a:t>
                      </a:r>
                      <a:endParaRPr lang="en-US" sz="1000" kern="1200" noProof="0" dirty="0">
                        <a:solidFill>
                          <a:srgbClr val="00558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Royal Commission for AlUl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Uptown Jeddah Company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Bank (stc Pay)</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olutions by stc</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Payment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Arabian Monetary Authority (SAM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Stock Exchange (Tadawul)</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upa Insuranc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National Commercial Bank (NCB)</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Central Informatics Organization  (Bahrain)</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RasGas – Qatar</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upreme Council of IT Qatar (ictQatar)</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Channels by stc</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Petroleum Limited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Karachi Stock Exchange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State Oil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Steel Mills Limited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International Airlines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ui Southern Gas Company – Pakistan</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Gulf Drilling International – Qatar</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3"/>
          <p:cNvSpPr txBox="1">
            <a:spLocks noChangeArrowheads="1"/>
          </p:cNvSpPr>
          <p:nvPr/>
        </p:nvSpPr>
        <p:spPr bwMode="auto">
          <a:xfrm>
            <a:off x="3207508" y="1786291"/>
            <a:ext cx="7739779" cy="2931977"/>
          </a:xfrm>
          <a:prstGeom prst="rect">
            <a:avLst/>
          </a:prstGeom>
          <a:noFill/>
          <a:ln w="9525">
            <a:noFill/>
            <a:miter lim="800000"/>
            <a:headEnd/>
            <a:tailEnd/>
          </a:ln>
        </p:spPr>
        <p:txBody>
          <a:bodyPr lIns="108257" tIns="54130" rIns="0" bIns="54130" anchor="t"/>
          <a:lstStyle/>
          <a:p>
            <a:pPr marL="189915" indent="-189915">
              <a:spcBef>
                <a:spcPts val="590"/>
              </a:spcBef>
              <a:spcAft>
                <a:spcPts val="590"/>
              </a:spcAft>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lang="en-US" sz="2388" dirty="0">
              <a:solidFill>
                <a:srgbClr val="005587"/>
              </a:solidFill>
              <a:latin typeface="Calibri Light" panose="020F0302020204030204" pitchFamily="34" charset="0"/>
            </a:endParaRPr>
          </a:p>
          <a:p>
            <a:pPr marL="0" lvl="1" algn="just">
              <a:spcBef>
                <a:spcPts val="200"/>
              </a:spcBef>
              <a:spcAft>
                <a:spcPts val="200"/>
              </a:spcAft>
              <a:buSzPts val="1000"/>
              <a:tabLst>
                <a:tab pos="225959" algn="l"/>
              </a:tabLst>
              <a:defRPr/>
            </a:pPr>
            <a:r>
              <a:rPr lang="en-US" sz="991" dirty="0">
                <a:solidFill>
                  <a:srgbClr val="575757"/>
                </a:solidFill>
                <a:latin typeface="Calibri Light" panose="020F0302020204030204" pitchFamily="34" charset="0"/>
              </a:rPr>
              <a:t>Arsalan has led several key business continuity engagements in different sectors including Banking, Financial market, Oil &amp; Gas, etc. Key experience include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Leader for Business Continuity Management Program at one of the largest payment infrastructure provider in Middle East</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Leader for BCM &amp; DR Development at the leading digital wallet payments in KSA</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Leader for an end-to-end BCMS development project for technology service provider in KSA</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Manager for enhancement of BCM Program for the largest stock exchange in the middle east</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Manager for development and implementation of end-to-end Business Continuity Management Program for one o the G20 central bank</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Subject Matter Expert for the development of IT BCM Program for a large commercial bank in KSA</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Engagement Manager for Development and implementation of end-to-end Business Continuity Management Program for a government authority in Bahrain</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Subject Matter Expert for Development of end-to-end BCM Program at the largest insurance organization in KSA</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ea typeface="Verdana"/>
                <a:cs typeface="Calibri Light" panose="020F0302020204030204" pitchFamily="34" charset="0"/>
              </a:rPr>
              <a:t>Core team member for Business Continuity Enhancement Project (BCEP) at leading LNG company in Qatar assisting the organization in revamping its BCM Program</a:t>
            </a:r>
          </a:p>
        </p:txBody>
      </p:sp>
      <p:pic>
        <p:nvPicPr>
          <p:cNvPr id="20" name="Picture 19" descr="A person with a beard&#10;&#10;Description automatically generated with medium confidence">
            <a:extLst>
              <a:ext uri="{FF2B5EF4-FFF2-40B4-BE49-F238E27FC236}">
                <a16:creationId xmlns:a16="http://schemas.microsoft.com/office/drawing/2014/main" id="{C50339BC-AC31-4651-8D58-F5BB9526DAE5}"/>
              </a:ext>
            </a:extLst>
          </p:cNvPr>
          <p:cNvPicPr>
            <a:picLocks noChangeAspect="1"/>
          </p:cNvPicPr>
          <p:nvPr/>
        </p:nvPicPr>
        <p:blipFill rotWithShape="1">
          <a:blip r:embed="rId2"/>
          <a:srcRect t="95" b="-95"/>
          <a:stretch/>
        </p:blipFill>
        <p:spPr>
          <a:xfrm>
            <a:off x="813425" y="327008"/>
            <a:ext cx="1408033" cy="1466058"/>
          </a:xfrm>
          <a:prstGeom prst="ellipse">
            <a:avLst/>
          </a:prstGeom>
          <a:noFill/>
          <a:ln>
            <a:noFill/>
          </a:ln>
        </p:spPr>
      </p:pic>
      <p:sp>
        <p:nvSpPr>
          <p:cNvPr id="14" name="Triangle 28">
            <a:extLst>
              <a:ext uri="{FF2B5EF4-FFF2-40B4-BE49-F238E27FC236}">
                <a16:creationId xmlns:a16="http://schemas.microsoft.com/office/drawing/2014/main" id="{66048279-5441-4339-9FF0-1C0CA45A877E}"/>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2" name="Title 1">
            <a:extLst>
              <a:ext uri="{FF2B5EF4-FFF2-40B4-BE49-F238E27FC236}">
                <a16:creationId xmlns:a16="http://schemas.microsoft.com/office/drawing/2014/main" id="{F38C859F-33A0-4C76-6550-7820598F674B}"/>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0076A8"/>
                </a:solidFill>
                <a:latin typeface="Calibri Light" panose="020F0302020204030204" pitchFamily="34" charset="0"/>
                <a:cs typeface="Arial" panose="020B0604020202020204" pitchFamily="34" charset="0"/>
              </a:rPr>
              <a:t>Engagement Leader</a:t>
            </a:r>
          </a:p>
        </p:txBody>
      </p:sp>
    </p:spTree>
    <p:extLst>
      <p:ext uri="{BB962C8B-B14F-4D97-AF65-F5344CB8AC3E}">
        <p14:creationId xmlns:p14="http://schemas.microsoft.com/office/powerpoint/2010/main" val="271249248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87900A-F1D0-42E5-B0CC-17D3F88FA4EE}"/>
              </a:ext>
            </a:extLst>
          </p:cNvPr>
          <p:cNvSpPr/>
          <p:nvPr/>
        </p:nvSpPr>
        <p:spPr bwMode="gray">
          <a:xfrm>
            <a:off x="5249" y="0"/>
            <a:ext cx="3024389"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582" b="1"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sp>
        <p:nvSpPr>
          <p:cNvPr id="10" name="Rectangle 9"/>
          <p:cNvSpPr/>
          <p:nvPr/>
        </p:nvSpPr>
        <p:spPr>
          <a:xfrm>
            <a:off x="89875" y="1984623"/>
            <a:ext cx="2855131" cy="737831"/>
          </a:xfrm>
          <a:prstGeom prst="rect">
            <a:avLst/>
          </a:prstGeom>
        </p:spPr>
        <p:txBody>
          <a:bodyPr wrap="square" lIns="0" tIns="0" rIns="0" bIns="0">
            <a:spAutoFit/>
          </a:bodyPr>
          <a:lstStyle/>
          <a:p>
            <a:pPr algn="ctr">
              <a:lnSpc>
                <a:spcPct val="106000"/>
              </a:lnSpc>
              <a:defRPr/>
            </a:pPr>
            <a:r>
              <a:rPr lang="en-US" sz="2381" dirty="0">
                <a:solidFill>
                  <a:prstClr val="white"/>
                </a:solidFill>
                <a:latin typeface="Calibri Light" panose="020F0302020204030204" pitchFamily="34" charset="0"/>
                <a:cs typeface="Arial" panose="020B0604020202020204" pitchFamily="34" charset="0"/>
              </a:rPr>
              <a:t>Katie </a:t>
            </a:r>
            <a:r>
              <a:rPr lang="en-US" sz="2381" dirty="0" err="1">
                <a:solidFill>
                  <a:prstClr val="white"/>
                </a:solidFill>
                <a:latin typeface="Calibri Light" panose="020F0302020204030204" pitchFamily="34" charset="0"/>
                <a:cs typeface="Arial" panose="020B0604020202020204" pitchFamily="34" charset="0"/>
              </a:rPr>
              <a:t>Diacon</a:t>
            </a:r>
            <a:endParaRPr lang="en-US" sz="2381" dirty="0">
              <a:solidFill>
                <a:prstClr val="white"/>
              </a:solidFill>
              <a:latin typeface="Calibri Light" panose="020F0302020204030204" pitchFamily="34" charset="0"/>
              <a:cs typeface="Arial" panose="020B0604020202020204" pitchFamily="34" charset="0"/>
            </a:endParaRPr>
          </a:p>
          <a:p>
            <a:pPr algn="ctr">
              <a:lnSpc>
                <a:spcPct val="106000"/>
              </a:lnSpc>
              <a:defRPr/>
            </a:pPr>
            <a:r>
              <a:rPr lang="en-US" sz="1094" dirty="0">
                <a:solidFill>
                  <a:prstClr val="white"/>
                </a:solidFill>
                <a:latin typeface="Calibri Light" panose="020F0302020204030204" pitchFamily="34" charset="0"/>
                <a:cs typeface="Arial" panose="020B0604020202020204" pitchFamily="34" charset="0"/>
              </a:rPr>
              <a:t>Partner, Cyber Risk</a:t>
            </a:r>
          </a:p>
          <a:p>
            <a:pPr algn="ctr">
              <a:lnSpc>
                <a:spcPct val="106000"/>
              </a:lnSpc>
              <a:defRPr/>
            </a:pPr>
            <a:endParaRPr lang="en-US" sz="1094" dirty="0">
              <a:solidFill>
                <a:prstClr val="white"/>
              </a:solidFill>
              <a:latin typeface="Calibri Light" panose="020F0302020204030204" pitchFamily="34" charset="0"/>
              <a:cs typeface="Arial" panose="020B0604020202020204" pitchFamily="34" charset="0"/>
            </a:endParaRPr>
          </a:p>
        </p:txBody>
      </p:sp>
      <p:sp>
        <p:nvSpPr>
          <p:cNvPr id="16" name="Rectangle 3"/>
          <p:cNvSpPr txBox="1">
            <a:spLocks noChangeArrowheads="1"/>
          </p:cNvSpPr>
          <p:nvPr/>
        </p:nvSpPr>
        <p:spPr bwMode="auto">
          <a:xfrm>
            <a:off x="3218077" y="770737"/>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defRPr/>
            </a:pPr>
            <a:r>
              <a:rPr lang="en-US" sz="943" dirty="0">
                <a:solidFill>
                  <a:srgbClr val="575757"/>
                </a:solidFill>
                <a:latin typeface="Calibri Light" panose="020F0302020204030204" pitchFamily="34" charset="0"/>
              </a:rPr>
              <a:t>Katie is a Partner in Risk Advisory and the Middle East Leader for the Cyber consumer markets team. She has more than 20 years of experience serving large and complex global organizations around strategic &amp; reputation risk, cyber and business resilience, technology &amp; digital risk, cyber risk, IT and process controls as well as helping organizations with regulatory compliance.</a:t>
            </a:r>
          </a:p>
          <a:p>
            <a:pPr algn="just" defTabSz="1208233" fontAlgn="base">
              <a:spcBef>
                <a:spcPts val="300"/>
              </a:spcBef>
              <a:spcAft>
                <a:spcPts val="300"/>
              </a:spcAft>
              <a:defRPr/>
            </a:pPr>
            <a:r>
              <a:rPr lang="en-US" sz="943" dirty="0">
                <a:solidFill>
                  <a:srgbClr val="575757"/>
                </a:solidFill>
                <a:latin typeface="Calibri Light" panose="020F0302020204030204" pitchFamily="34" charset="0"/>
              </a:rPr>
              <a:t>Katie has led the cyber resilience team of over 30 people in the UK for other Big 4 organizations and served many consumer and TMT clients across the globe.  Her SME is in cyber and enterprise resilience where she has led multiple engagements  including some of the largest testing programs globally for consumer organizations. She recently won an industry award for the resilience transformation she led with a major global consumer company and was recognized as a top 30 women in cyber in the UK in 2022.</a:t>
            </a:r>
          </a:p>
        </p:txBody>
      </p:sp>
      <p:sp>
        <p:nvSpPr>
          <p:cNvPr id="19" name="Rectangle 18"/>
          <p:cNvSpPr/>
          <p:nvPr/>
        </p:nvSpPr>
        <p:spPr>
          <a:xfrm>
            <a:off x="332245" y="2736588"/>
            <a:ext cx="2370395" cy="1418352"/>
          </a:xfrm>
          <a:prstGeom prst="rect">
            <a:avLst/>
          </a:prstGeom>
        </p:spPr>
        <p:txBody>
          <a:bodyPr wrap="square" lIns="90818" tIns="45410" rIns="90818" bIns="45410" anchor="t">
            <a:spAutoFit/>
          </a:bodyPr>
          <a:lstStyle/>
          <a:p>
            <a:pPr marL="0" marR="0" lvl="0" indent="-159629" algn="l" defTabSz="948386" rtl="0" eaLnBrk="1" fontAlgn="auto" latinLnBrk="0" hangingPunct="1">
              <a:lnSpc>
                <a:spcPts val="1014"/>
              </a:lnSpc>
              <a:spcBef>
                <a:spcPts val="590"/>
              </a:spcBef>
              <a:spcAft>
                <a:spcPts val="0"/>
              </a:spcAft>
              <a:buClr>
                <a:srgbClr val="000066"/>
              </a:buClr>
              <a:buSzPct val="75000"/>
              <a:buFontTx/>
              <a:buNone/>
              <a:tabLst>
                <a:tab pos="1312455" algn="l"/>
              </a:tabLst>
              <a:defRPr/>
            </a:pPr>
            <a:r>
              <a:rPr kumimoji="0" lang="en-US" sz="1091"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endParaRP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Bachelor of Engineering, Aerospace Engineering, University of Southampton</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Master of Science in Advanced Systems Engineering, Loughborough University</a:t>
            </a:r>
          </a:p>
        </p:txBody>
      </p:sp>
      <p:sp>
        <p:nvSpPr>
          <p:cNvPr id="13" name="Rectangle 3"/>
          <p:cNvSpPr txBox="1">
            <a:spLocks noChangeArrowheads="1"/>
          </p:cNvSpPr>
          <p:nvPr/>
        </p:nvSpPr>
        <p:spPr bwMode="auto">
          <a:xfrm>
            <a:off x="3207508" y="1893352"/>
            <a:ext cx="8115794" cy="2478623"/>
          </a:xfrm>
          <a:prstGeom prst="rect">
            <a:avLst/>
          </a:prstGeom>
          <a:noFill/>
          <a:ln w="9525">
            <a:noFill/>
            <a:miter lim="800000"/>
            <a:headEnd/>
            <a:tailEnd/>
          </a:ln>
        </p:spPr>
        <p:txBody>
          <a:bodyPr lIns="108257" tIns="54130" rIns="0" bIns="54130" anchor="t"/>
          <a:lstStyle/>
          <a:p>
            <a:pPr marL="189915" marR="0" lvl="0" indent="-189915" algn="l" defTabSz="914400" rtl="0" eaLnBrk="1" fontAlgn="auto" latinLnBrk="0" hangingPunct="1">
              <a:lnSpc>
                <a:spcPct val="100000"/>
              </a:lnSpc>
              <a:spcBef>
                <a:spcPts val="590"/>
              </a:spcBef>
              <a:spcAft>
                <a:spcPts val="590"/>
              </a:spcAft>
              <a:buClrTx/>
              <a:buSzTx/>
              <a:buFontTx/>
              <a:buNone/>
              <a:tabLst/>
              <a:defRPr/>
            </a:pPr>
            <a:r>
              <a:rPr kumimoji="0" lang="en-US" sz="990" b="0" i="0" u="none" strike="noStrike" kern="1200" cap="none" spc="0" normalizeH="0" baseline="0" noProof="0" dirty="0">
                <a:ln>
                  <a:noFill/>
                </a:ln>
                <a:solidFill>
                  <a:srgbClr val="005587"/>
                </a:solidFill>
                <a:effectLst/>
                <a:uLnTx/>
                <a:uFillTx/>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kumimoji="0" lang="en-US" sz="2388" b="0" i="0" u="none" strike="noStrike" kern="1200" cap="none" spc="0" normalizeH="0" baseline="0" noProof="0" dirty="0">
              <a:ln>
                <a:noFill/>
              </a:ln>
              <a:solidFill>
                <a:srgbClr val="005587"/>
              </a:solidFill>
              <a:effectLst/>
              <a:uLnTx/>
              <a:uFillTx/>
              <a:latin typeface="Calibri Light" panose="020F0302020204030204" pitchFamily="34" charset="0"/>
              <a:ea typeface="+mn-ea"/>
              <a:cs typeface="+mn-cs"/>
            </a:endParaRP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K</a:t>
            </a:r>
            <a:r>
              <a:rPr kumimoji="0" lang="en-US" sz="991" b="0" i="0" u="none" strike="noStrike" kern="1200" cap="none" spc="0" normalizeH="0" baseline="0" noProof="0" dirty="0" err="1">
                <a:ln>
                  <a:noFill/>
                </a:ln>
                <a:solidFill>
                  <a:srgbClr val="575757"/>
                </a:solidFill>
                <a:effectLst/>
                <a:uLnTx/>
                <a:uFillTx/>
                <a:latin typeface="Calibri Light" panose="020F0302020204030204" pitchFamily="34" charset="0"/>
                <a:ea typeface="+mn-ea"/>
                <a:cs typeface="+mn-cs"/>
              </a:rPr>
              <a:t>atie</a:t>
            </a: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 has been involved in various engagements related to cyber security and resilience covering current state assessment; strategic and technical risk assessment; strategy and roadmap; governance; policies and procedures, business continuity management; training &amp; awareness; and testing. Some of her relevant project experience include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Global FMCG  - Led a multi million $ resilience testing and transformation program across Europe and Asia involving everything from governance, policies and procedures to scenario design, manufacturing site testing, Executive Leadership Team ransomware testing, learning and development program design and roll out across multiple site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Global FMCG – Led multiple engagements including a zero-trust strategy and roadmap engagement to move the organization closer to a zero-trust environment, training and awareness program and OT specific security awareness design and roll out, cyber risk insights program and multiple penetration test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Global Telco – Led a maturity assessment and target operating model redesign for the security and resilience team.  </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Global Media/Telco – Led an end-to-end enterprise resilience assessment on a new product to come to marke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Global FMCG – Led the IT disaster recovery work.</a:t>
            </a:r>
          </a:p>
        </p:txBody>
      </p:sp>
      <p:sp>
        <p:nvSpPr>
          <p:cNvPr id="14" name="Triangle 28">
            <a:extLst>
              <a:ext uri="{FF2B5EF4-FFF2-40B4-BE49-F238E27FC236}">
                <a16:creationId xmlns:a16="http://schemas.microsoft.com/office/drawing/2014/main" id="{66048279-5441-4339-9FF0-1C0CA45A877E}"/>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F38C859F-33A0-4C76-6550-7820598F674B}"/>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marL="0" marR="0" lvl="0" indent="0" algn="l" defTabSz="905920" rtl="0" eaLnBrk="1" fontAlgn="auto" latinLnBrk="0" hangingPunct="1">
              <a:lnSpc>
                <a:spcPct val="100000"/>
              </a:lnSpc>
              <a:spcBef>
                <a:spcPct val="0"/>
              </a:spcBef>
              <a:spcAft>
                <a:spcPts val="0"/>
              </a:spcAft>
              <a:buClrTx/>
              <a:buSzTx/>
              <a:buFontTx/>
              <a:buNone/>
              <a:tabLst/>
              <a:defRPr/>
            </a:pPr>
            <a:r>
              <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rPr>
              <a:t>Subject Matter Expert</a:t>
            </a:r>
          </a:p>
          <a:p>
            <a:pPr marL="0" marR="0" lvl="0" indent="0" algn="l" defTabSz="905920" rtl="0" eaLnBrk="1" fontAlgn="auto" latinLnBrk="0" hangingPunct="1">
              <a:lnSpc>
                <a:spcPct val="100000"/>
              </a:lnSpc>
              <a:spcBef>
                <a:spcPct val="0"/>
              </a:spcBef>
              <a:spcAft>
                <a:spcPts val="0"/>
              </a:spcAft>
              <a:buClrTx/>
              <a:buSzTx/>
              <a:buFontTx/>
              <a:buNone/>
              <a:tabLst/>
              <a:defRPr/>
            </a:pPr>
            <a:endPar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endParaRPr>
          </a:p>
        </p:txBody>
      </p:sp>
      <p:sp>
        <p:nvSpPr>
          <p:cNvPr id="6" name="Rectangle 3">
            <a:extLst>
              <a:ext uri="{FF2B5EF4-FFF2-40B4-BE49-F238E27FC236}">
                <a16:creationId xmlns:a16="http://schemas.microsoft.com/office/drawing/2014/main" id="{13693E8B-57B4-082A-4099-4A181B20EE7F}"/>
              </a:ext>
            </a:extLst>
          </p:cNvPr>
          <p:cNvSpPr txBox="1">
            <a:spLocks noChangeArrowheads="1"/>
          </p:cNvSpPr>
          <p:nvPr/>
        </p:nvSpPr>
        <p:spPr bwMode="auto">
          <a:xfrm>
            <a:off x="3218077" y="4609826"/>
            <a:ext cx="8115794" cy="2478623"/>
          </a:xfrm>
          <a:prstGeom prst="rect">
            <a:avLst/>
          </a:prstGeom>
          <a:noFill/>
          <a:ln w="9525">
            <a:noFill/>
            <a:miter lim="800000"/>
            <a:headEnd/>
            <a:tailEnd/>
          </a:ln>
        </p:spPr>
        <p:txBody>
          <a:bodyPr lIns="108257" tIns="54130" rIns="0" bIns="54130" anchor="t"/>
          <a:lstStyle/>
          <a:p>
            <a:pPr marL="0" lvl="1" algn="just">
              <a:spcBef>
                <a:spcPts val="200"/>
              </a:spcBef>
              <a:spcAft>
                <a:spcPts val="200"/>
              </a:spcAft>
              <a:buSzPts val="1000"/>
              <a:tabLst>
                <a:tab pos="225959" algn="l"/>
              </a:tabLst>
              <a:defRPr/>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 Served</a:t>
            </a:r>
            <a:endParaRPr lang="en-US" sz="991" dirty="0">
              <a:solidFill>
                <a:srgbClr val="575757"/>
              </a:solidFill>
              <a:latin typeface="Calibri Light" panose="020F0302020204030204" pitchFamily="34" charset="0"/>
            </a:endParaRP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Technology, Media &amp; Telecommunications</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Consumer</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Pharmaceutical</a:t>
            </a:r>
          </a:p>
        </p:txBody>
      </p:sp>
      <p:pic>
        <p:nvPicPr>
          <p:cNvPr id="4" name="Picture 3">
            <a:extLst>
              <a:ext uri="{FF2B5EF4-FFF2-40B4-BE49-F238E27FC236}">
                <a16:creationId xmlns:a16="http://schemas.microsoft.com/office/drawing/2014/main" id="{DDD02CB3-FDBE-5F5B-A3D9-B0A002D6961A}"/>
              </a:ext>
            </a:extLst>
          </p:cNvPr>
          <p:cNvPicPr>
            <a:picLocks noChangeAspect="1"/>
          </p:cNvPicPr>
          <p:nvPr/>
        </p:nvPicPr>
        <p:blipFill>
          <a:blip r:embed="rId2"/>
          <a:srcRect t="17159" b="17159"/>
          <a:stretch/>
        </p:blipFill>
        <p:spPr>
          <a:xfrm>
            <a:off x="813425" y="327008"/>
            <a:ext cx="1408032" cy="1464969"/>
          </a:xfrm>
          <a:prstGeom prst="ellipse">
            <a:avLst/>
          </a:prstGeom>
          <a:ln w="190500" cap="rnd">
            <a:noFill/>
            <a:prstDash val="solid"/>
          </a:ln>
          <a:effectLst/>
        </p:spPr>
      </p:pic>
    </p:spTree>
    <p:extLst>
      <p:ext uri="{BB962C8B-B14F-4D97-AF65-F5344CB8AC3E}">
        <p14:creationId xmlns:p14="http://schemas.microsoft.com/office/powerpoint/2010/main" val="24048307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riangle 28">
            <a:extLst>
              <a:ext uri="{FF2B5EF4-FFF2-40B4-BE49-F238E27FC236}">
                <a16:creationId xmlns:a16="http://schemas.microsoft.com/office/drawing/2014/main" id="{96A68D10-67E7-4D70-9984-78405A5FC4C3}"/>
              </a:ext>
            </a:extLst>
          </p:cNvPr>
          <p:cNvSpPr/>
          <p:nvPr/>
        </p:nvSpPr>
        <p:spPr>
          <a:xfrm rot="16200000">
            <a:off x="11053748" y="1371995"/>
            <a:ext cx="264966" cy="228419"/>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Sakkal Majalla" panose="02000000000000000000" pitchFamily="2" charset="-78"/>
              <a:cs typeface="Sakkal Majalla" panose="02000000000000000000" pitchFamily="2" charset="-78"/>
            </a:endParaRPr>
          </a:p>
        </p:txBody>
      </p:sp>
      <p:sp>
        <p:nvSpPr>
          <p:cNvPr id="10" name="Text Placeholder 6">
            <a:extLst>
              <a:ext uri="{FF2B5EF4-FFF2-40B4-BE49-F238E27FC236}">
                <a16:creationId xmlns:a16="http://schemas.microsoft.com/office/drawing/2014/main" id="{643837E0-CD69-40BE-ADBC-3B0D264EAE62}"/>
              </a:ext>
            </a:extLst>
          </p:cNvPr>
          <p:cNvSpPr>
            <a:spLocks noGrp="1"/>
          </p:cNvSpPr>
          <p:nvPr>
            <p:ph type="body" sz="quarter" idx="13"/>
          </p:nvPr>
        </p:nvSpPr>
        <p:spPr>
          <a:xfrm>
            <a:off x="522379" y="761804"/>
            <a:ext cx="9751732" cy="750193"/>
          </a:xfrm>
        </p:spPr>
        <p:txBody>
          <a:bodyPr/>
          <a:lstStyle/>
          <a:p>
            <a:r>
              <a:rPr lang="en-US" dirty="0">
                <a:cs typeface="Calibri" panose="020F0502020204030204" pitchFamily="34" charset="0"/>
              </a:rPr>
              <a:t>Understanding Your Requirements</a:t>
            </a:r>
          </a:p>
        </p:txBody>
      </p:sp>
      <p:sp>
        <p:nvSpPr>
          <p:cNvPr id="11" name="Title 1">
            <a:extLst>
              <a:ext uri="{FF2B5EF4-FFF2-40B4-BE49-F238E27FC236}">
                <a16:creationId xmlns:a16="http://schemas.microsoft.com/office/drawing/2014/main" id="{7616DF33-BDD9-459D-AAFE-AEE6EDDDC8D8}"/>
              </a:ext>
            </a:extLst>
          </p:cNvPr>
          <p:cNvSpPr>
            <a:spLocks noGrp="1"/>
          </p:cNvSpPr>
          <p:nvPr>
            <p:ph type="title"/>
          </p:nvPr>
        </p:nvSpPr>
        <p:spPr>
          <a:xfrm>
            <a:off x="522373" y="430820"/>
            <a:ext cx="11147258" cy="330986"/>
          </a:xfrm>
        </p:spPr>
        <p:txBody>
          <a:bodyPr/>
          <a:lstStyle/>
          <a:p>
            <a:r>
              <a:rPr lang="en-US" sz="2382" dirty="0">
                <a:cs typeface="Calibri" panose="020F0502020204030204" pitchFamily="34" charset="0"/>
              </a:rPr>
              <a:t>Executive Summary</a:t>
            </a:r>
          </a:p>
        </p:txBody>
      </p:sp>
      <p:sp>
        <p:nvSpPr>
          <p:cNvPr id="31" name="Content Placeholder 3">
            <a:extLst>
              <a:ext uri="{FF2B5EF4-FFF2-40B4-BE49-F238E27FC236}">
                <a16:creationId xmlns:a16="http://schemas.microsoft.com/office/drawing/2014/main" id="{16B8F37A-AB59-495B-8749-53AC0A1959A0}"/>
              </a:ext>
            </a:extLst>
          </p:cNvPr>
          <p:cNvSpPr txBox="1">
            <a:spLocks/>
          </p:cNvSpPr>
          <p:nvPr/>
        </p:nvSpPr>
        <p:spPr>
          <a:xfrm>
            <a:off x="521882" y="1900609"/>
            <a:ext cx="4040444" cy="3831985"/>
          </a:xfrm>
          <a:prstGeom prst="rect">
            <a:avLst/>
          </a:prstGeom>
        </p:spPr>
        <p:txBody>
          <a:bodyPr vert="horz" lIns="0" tIns="0" rIns="0" bIns="0" rtlCol="0">
            <a:noAutofit/>
          </a:bodyPr>
          <a:lstStyle>
            <a:lvl1pPr marL="0" indent="0" algn="l" defTabSz="1219170" rtl="0" eaLnBrk="1" latinLnBrk="0" hangingPunct="1">
              <a:lnSpc>
                <a:spcPct val="120000"/>
              </a:lnSpc>
              <a:spcBef>
                <a:spcPts val="0"/>
              </a:spcBef>
              <a:spcAft>
                <a:spcPts val="1200"/>
              </a:spcAft>
              <a:buSzPct val="100000"/>
              <a:buFontTx/>
              <a:buNone/>
              <a:defRPr sz="1400" b="1" kern="1200">
                <a:solidFill>
                  <a:schemeClr val="accent1"/>
                </a:solidFill>
                <a:latin typeface="Calibri" panose="020F0502020204030204" pitchFamily="34" charset="0"/>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Align stc with world-class corporate Business Continuity Management standards, best practices and benchmarks.</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Take all reasonable steps to comply with the local statutory and regulatory requirements.</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Ensure BCM activities are aligned to achieve strategic and operational objectives.  </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Boost maturity &amp; resiliency of stc to effectively respond to any incident </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Take all reasonable steps to safeguard the interests of key stakeholders, stc’s image and reputation, brand and value creating activities.</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Ensure corporate readiness.</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Improve competitive advantage, customer loyalty and satisfaction by ensuring the continuation of critical services.</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Reduce the operational and financial impact of any disruption(s), and period of disruptions.</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Enhance organizational resilience by managing continuity risks and continually improving disaster/emergency preparedness, response and recovery capabilities.</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Continue providing vital services in post disaster scenarios; </a:t>
            </a:r>
          </a:p>
          <a:p>
            <a:pPr marL="171450" indent="-171450" algn="just">
              <a:lnSpc>
                <a:spcPct val="100000"/>
              </a:lnSpc>
              <a:spcAft>
                <a:spcPts val="0"/>
              </a:spcAft>
              <a:buFont typeface="Arial" panose="020B0604020202020204" pitchFamily="34" charset="0"/>
              <a:buChar char="•"/>
            </a:pPr>
            <a:r>
              <a:rPr lang="en-US" sz="1100" b="0" dirty="0">
                <a:solidFill>
                  <a:schemeClr val="tx1"/>
                </a:solidFill>
                <a:ea typeface="Verdana" panose="020B0604030504040204" pitchFamily="34" charset="0"/>
                <a:cs typeface="Times New Roman" panose="02020603050405020304" pitchFamily="18" charset="0"/>
              </a:rPr>
              <a:t>Fully integrate BCM into stc’s culture and business processes by establishing and implementing a governance and control framework for BCM.</a:t>
            </a:r>
          </a:p>
        </p:txBody>
      </p:sp>
      <p:sp>
        <p:nvSpPr>
          <p:cNvPr id="108" name="Rectangle 107">
            <a:extLst>
              <a:ext uri="{FF2B5EF4-FFF2-40B4-BE49-F238E27FC236}">
                <a16:creationId xmlns:a16="http://schemas.microsoft.com/office/drawing/2014/main" id="{404F06D3-0545-4E3D-8FD7-4D04931AB676}"/>
              </a:ext>
            </a:extLst>
          </p:cNvPr>
          <p:cNvSpPr/>
          <p:nvPr/>
        </p:nvSpPr>
        <p:spPr bwMode="gray">
          <a:xfrm>
            <a:off x="1" y="0"/>
            <a:ext cx="165462" cy="6858000"/>
          </a:xfrm>
          <a:prstGeom prst="rect">
            <a:avLst/>
          </a:prstGeom>
          <a:solidFill>
            <a:srgbClr val="7F7F7F"/>
          </a:solidFill>
          <a:ln w="19050" algn="ctr">
            <a:noFill/>
            <a:miter lim="800000"/>
            <a:headEnd/>
            <a:tailEnd/>
          </a:ln>
        </p:spPr>
        <p:txBody>
          <a:bodyPr wrap="square" lIns="88900" tIns="88900" rIns="88900" bIns="88900" rtlCol="0" anchor="b"/>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
        <p:nvSpPr>
          <p:cNvPr id="23" name="Content Placeholder 7">
            <a:extLst>
              <a:ext uri="{FF2B5EF4-FFF2-40B4-BE49-F238E27FC236}">
                <a16:creationId xmlns:a16="http://schemas.microsoft.com/office/drawing/2014/main" id="{3CFDAEE4-087F-69A1-0E4F-0C2F96C515DC}"/>
              </a:ext>
            </a:extLst>
          </p:cNvPr>
          <p:cNvSpPr txBox="1">
            <a:spLocks/>
          </p:cNvSpPr>
          <p:nvPr/>
        </p:nvSpPr>
        <p:spPr>
          <a:xfrm>
            <a:off x="5209371" y="1370389"/>
            <a:ext cx="3659963" cy="373143"/>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782" b="1" dirty="0">
                <a:solidFill>
                  <a:srgbClr val="111C4E"/>
                </a:solidFill>
                <a:cs typeface="Calibri" panose="020F0502020204030204" pitchFamily="34" charset="0"/>
              </a:rPr>
              <a:t>Project Scope</a:t>
            </a:r>
          </a:p>
        </p:txBody>
      </p:sp>
      <p:grpSp>
        <p:nvGrpSpPr>
          <p:cNvPr id="45" name="Group 433">
            <a:extLst>
              <a:ext uri="{FF2B5EF4-FFF2-40B4-BE49-F238E27FC236}">
                <a16:creationId xmlns:a16="http://schemas.microsoft.com/office/drawing/2014/main" id="{9060EDD5-77A7-A3CD-4A16-C90EA953165B}"/>
              </a:ext>
            </a:extLst>
          </p:cNvPr>
          <p:cNvGrpSpPr>
            <a:grpSpLocks noChangeAspect="1"/>
          </p:cNvGrpSpPr>
          <p:nvPr/>
        </p:nvGrpSpPr>
        <p:grpSpPr bwMode="auto">
          <a:xfrm>
            <a:off x="4825341" y="1371952"/>
            <a:ext cx="363617" cy="363617"/>
            <a:chOff x="4725" y="1820"/>
            <a:chExt cx="340" cy="340"/>
          </a:xfrm>
          <a:solidFill>
            <a:srgbClr val="111C4E"/>
          </a:solidFill>
        </p:grpSpPr>
        <p:sp>
          <p:nvSpPr>
            <p:cNvPr id="57" name="Freeform 434">
              <a:extLst>
                <a:ext uri="{FF2B5EF4-FFF2-40B4-BE49-F238E27FC236}">
                  <a16:creationId xmlns:a16="http://schemas.microsoft.com/office/drawing/2014/main" id="{23763181-85A5-3686-8108-9CAE257383B0}"/>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111C4E"/>
                </a:solidFill>
              </a:endParaRPr>
            </a:p>
          </p:txBody>
        </p:sp>
        <p:sp>
          <p:nvSpPr>
            <p:cNvPr id="58" name="Freeform 435">
              <a:extLst>
                <a:ext uri="{FF2B5EF4-FFF2-40B4-BE49-F238E27FC236}">
                  <a16:creationId xmlns:a16="http://schemas.microsoft.com/office/drawing/2014/main" id="{1DED9940-C472-6F79-056E-8114917B2EE4}"/>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111C4E"/>
                </a:solidFill>
              </a:endParaRPr>
            </a:p>
          </p:txBody>
        </p:sp>
      </p:grpSp>
      <p:grpSp>
        <p:nvGrpSpPr>
          <p:cNvPr id="213" name="Group 212">
            <a:extLst>
              <a:ext uri="{FF2B5EF4-FFF2-40B4-BE49-F238E27FC236}">
                <a16:creationId xmlns:a16="http://schemas.microsoft.com/office/drawing/2014/main" id="{8A52F878-3649-0EF9-0427-D54E930A100B}"/>
              </a:ext>
            </a:extLst>
          </p:cNvPr>
          <p:cNvGrpSpPr/>
          <p:nvPr/>
        </p:nvGrpSpPr>
        <p:grpSpPr>
          <a:xfrm>
            <a:off x="4918745" y="2076851"/>
            <a:ext cx="6579358" cy="3303501"/>
            <a:chOff x="5288476" y="1852947"/>
            <a:chExt cx="6579358" cy="3303501"/>
          </a:xfrm>
        </p:grpSpPr>
        <p:grpSp>
          <p:nvGrpSpPr>
            <p:cNvPr id="180" name="组合 2">
              <a:extLst>
                <a:ext uri="{FF2B5EF4-FFF2-40B4-BE49-F238E27FC236}">
                  <a16:creationId xmlns:a16="http://schemas.microsoft.com/office/drawing/2014/main" id="{EFF5BF09-38A6-67AE-26EC-AB008A05694D}"/>
                </a:ext>
              </a:extLst>
            </p:cNvPr>
            <p:cNvGrpSpPr/>
            <p:nvPr/>
          </p:nvGrpSpPr>
          <p:grpSpPr>
            <a:xfrm>
              <a:off x="5288476" y="1852947"/>
              <a:ext cx="2981615" cy="3152105"/>
              <a:chOff x="469900" y="1700212"/>
              <a:chExt cx="4346410" cy="4594938"/>
            </a:xfrm>
          </p:grpSpPr>
          <p:grpSp>
            <p:nvGrpSpPr>
              <p:cNvPr id="181" name="Group 59">
                <a:extLst>
                  <a:ext uri="{FF2B5EF4-FFF2-40B4-BE49-F238E27FC236}">
                    <a16:creationId xmlns:a16="http://schemas.microsoft.com/office/drawing/2014/main" id="{449568E7-4DA8-18B0-2793-F7F460A43505}"/>
                  </a:ext>
                </a:extLst>
              </p:cNvPr>
              <p:cNvGrpSpPr/>
              <p:nvPr/>
            </p:nvGrpSpPr>
            <p:grpSpPr>
              <a:xfrm>
                <a:off x="469900" y="1700212"/>
                <a:ext cx="4346410" cy="4594938"/>
                <a:chOff x="382397" y="1253727"/>
                <a:chExt cx="4346410" cy="4594938"/>
              </a:xfrm>
            </p:grpSpPr>
            <p:grpSp>
              <p:nvGrpSpPr>
                <p:cNvPr id="186" name="Group 37">
                  <a:extLst>
                    <a:ext uri="{FF2B5EF4-FFF2-40B4-BE49-F238E27FC236}">
                      <a16:creationId xmlns:a16="http://schemas.microsoft.com/office/drawing/2014/main" id="{3ED5FF6C-067F-B239-AFBD-D57EE4BD3EF4}"/>
                    </a:ext>
                  </a:extLst>
                </p:cNvPr>
                <p:cNvGrpSpPr/>
                <p:nvPr/>
              </p:nvGrpSpPr>
              <p:grpSpPr>
                <a:xfrm flipH="1">
                  <a:off x="382397" y="1253727"/>
                  <a:ext cx="4346410" cy="4461479"/>
                  <a:chOff x="7231737" y="942428"/>
                  <a:chExt cx="4763462" cy="4889572"/>
                </a:xfrm>
              </p:grpSpPr>
              <p:grpSp>
                <p:nvGrpSpPr>
                  <p:cNvPr id="189" name="Group 34">
                    <a:extLst>
                      <a:ext uri="{FF2B5EF4-FFF2-40B4-BE49-F238E27FC236}">
                        <a16:creationId xmlns:a16="http://schemas.microsoft.com/office/drawing/2014/main" id="{0AD65300-C789-8E39-5D8F-409DF016CCB8}"/>
                      </a:ext>
                    </a:extLst>
                  </p:cNvPr>
                  <p:cNvGrpSpPr/>
                  <p:nvPr/>
                </p:nvGrpSpPr>
                <p:grpSpPr>
                  <a:xfrm>
                    <a:off x="7231737" y="942428"/>
                    <a:ext cx="4763462" cy="4889572"/>
                    <a:chOff x="7231737" y="942428"/>
                    <a:chExt cx="4763462" cy="4889572"/>
                  </a:xfrm>
                </p:grpSpPr>
                <p:sp>
                  <p:nvSpPr>
                    <p:cNvPr id="205" name="Freeform 20">
                      <a:extLst>
                        <a:ext uri="{FF2B5EF4-FFF2-40B4-BE49-F238E27FC236}">
                          <a16:creationId xmlns:a16="http://schemas.microsoft.com/office/drawing/2014/main" id="{CDB23C9F-898A-0643-3CE4-930F849C5952}"/>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6" name="Freeform 21">
                      <a:extLst>
                        <a:ext uri="{FF2B5EF4-FFF2-40B4-BE49-F238E27FC236}">
                          <a16:creationId xmlns:a16="http://schemas.microsoft.com/office/drawing/2014/main" id="{92642C17-9638-C624-C554-E7A2266272E1}"/>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7" name="Freeform 22">
                      <a:extLst>
                        <a:ext uri="{FF2B5EF4-FFF2-40B4-BE49-F238E27FC236}">
                          <a16:creationId xmlns:a16="http://schemas.microsoft.com/office/drawing/2014/main" id="{95427BEC-77DC-F022-440B-402CD50F8A14}"/>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8" name="Freeform 23">
                      <a:extLst>
                        <a:ext uri="{FF2B5EF4-FFF2-40B4-BE49-F238E27FC236}">
                          <a16:creationId xmlns:a16="http://schemas.microsoft.com/office/drawing/2014/main" id="{BE2B5574-B2C3-C399-9A69-C7D15F166C60}"/>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90" name="Oval 5">
                    <a:extLst>
                      <a:ext uri="{FF2B5EF4-FFF2-40B4-BE49-F238E27FC236}">
                        <a16:creationId xmlns:a16="http://schemas.microsoft.com/office/drawing/2014/main" id="{8C6D68AB-61FA-4221-0E8C-E018BAA3F2E5}"/>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1" name="Oval 6">
                    <a:extLst>
                      <a:ext uri="{FF2B5EF4-FFF2-40B4-BE49-F238E27FC236}">
                        <a16:creationId xmlns:a16="http://schemas.microsoft.com/office/drawing/2014/main" id="{ACC4B32B-23B5-057F-9B07-AEA9B5925798}"/>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2" name="Oval 7">
                    <a:extLst>
                      <a:ext uri="{FF2B5EF4-FFF2-40B4-BE49-F238E27FC236}">
                        <a16:creationId xmlns:a16="http://schemas.microsoft.com/office/drawing/2014/main" id="{E4B0B350-9B28-6161-C7C0-AA13D881C7E6}"/>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3" name="Oval 8">
                    <a:extLst>
                      <a:ext uri="{FF2B5EF4-FFF2-40B4-BE49-F238E27FC236}">
                        <a16:creationId xmlns:a16="http://schemas.microsoft.com/office/drawing/2014/main" id="{ABF5989B-902E-697F-84F0-3D43750E6D32}"/>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4" name="Oval 9">
                    <a:extLst>
                      <a:ext uri="{FF2B5EF4-FFF2-40B4-BE49-F238E27FC236}">
                        <a16:creationId xmlns:a16="http://schemas.microsoft.com/office/drawing/2014/main" id="{E3A90871-9081-11B0-ADE2-0AFDE80AA1C8}"/>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5" name="Oval 10">
                    <a:extLst>
                      <a:ext uri="{FF2B5EF4-FFF2-40B4-BE49-F238E27FC236}">
                        <a16:creationId xmlns:a16="http://schemas.microsoft.com/office/drawing/2014/main" id="{94F1C2AC-7C65-E615-1440-FDFA57FD9969}"/>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6" name="Oval 11">
                    <a:extLst>
                      <a:ext uri="{FF2B5EF4-FFF2-40B4-BE49-F238E27FC236}">
                        <a16:creationId xmlns:a16="http://schemas.microsoft.com/office/drawing/2014/main" id="{AD368D86-3616-158C-81AF-59E98294835A}"/>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7" name="Oval 12">
                    <a:extLst>
                      <a:ext uri="{FF2B5EF4-FFF2-40B4-BE49-F238E27FC236}">
                        <a16:creationId xmlns:a16="http://schemas.microsoft.com/office/drawing/2014/main" id="{D9535777-DCEB-44FD-D22E-00D24544466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8" name="Oval 13">
                    <a:extLst>
                      <a:ext uri="{FF2B5EF4-FFF2-40B4-BE49-F238E27FC236}">
                        <a16:creationId xmlns:a16="http://schemas.microsoft.com/office/drawing/2014/main" id="{469BAE48-27BF-321A-B230-F9EE5B247834}"/>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9" name="Oval 14">
                    <a:extLst>
                      <a:ext uri="{FF2B5EF4-FFF2-40B4-BE49-F238E27FC236}">
                        <a16:creationId xmlns:a16="http://schemas.microsoft.com/office/drawing/2014/main" id="{863FC923-1E9F-F91F-F6B3-791E856A6C9A}"/>
                      </a:ext>
                    </a:extLst>
                  </p:cNvPr>
                  <p:cNvSpPr>
                    <a:spLocks noChangeArrowheads="1"/>
                  </p:cNvSpPr>
                  <p:nvPr/>
                </p:nvSpPr>
                <p:spPr bwMode="auto">
                  <a:xfrm flipH="1">
                    <a:off x="9415707" y="4846061"/>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0" name="Freeform 15">
                    <a:extLst>
                      <a:ext uri="{FF2B5EF4-FFF2-40B4-BE49-F238E27FC236}">
                        <a16:creationId xmlns:a16="http://schemas.microsoft.com/office/drawing/2014/main" id="{0574BE0E-C9A9-3B6A-9D10-101AB2F49CA4}"/>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rgbClr val="86BC2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1" name="Freeform 16">
                    <a:extLst>
                      <a:ext uri="{FF2B5EF4-FFF2-40B4-BE49-F238E27FC236}">
                        <a16:creationId xmlns:a16="http://schemas.microsoft.com/office/drawing/2014/main" id="{5614407C-4D10-14E4-AEBC-826F76C70034}"/>
                      </a:ext>
                    </a:extLst>
                  </p:cNvPr>
                  <p:cNvSpPr>
                    <a:spLocks/>
                  </p:cNvSpPr>
                  <p:nvPr/>
                </p:nvSpPr>
                <p:spPr bwMode="auto">
                  <a:xfrm flipH="1">
                    <a:off x="8236896" y="1219566"/>
                    <a:ext cx="1100583" cy="1100582"/>
                  </a:xfrm>
                  <a:custGeom>
                    <a:avLst/>
                    <a:gdLst>
                      <a:gd name="T0" fmla="*/ 160 w 162"/>
                      <a:gd name="T1" fmla="*/ 83 h 162"/>
                      <a:gd name="T2" fmla="*/ 83 w 162"/>
                      <a:gd name="T3" fmla="*/ 1 h 162"/>
                      <a:gd name="T4" fmla="*/ 1 w 162"/>
                      <a:gd name="T5" fmla="*/ 78 h 162"/>
                      <a:gd name="T6" fmla="*/ 78 w 162"/>
                      <a:gd name="T7" fmla="*/ 160 h 162"/>
                      <a:gd name="T8" fmla="*/ 160 w 162"/>
                      <a:gd name="T9" fmla="*/ 83 h 162"/>
                    </a:gdLst>
                    <a:ahLst/>
                    <a:cxnLst>
                      <a:cxn ang="0">
                        <a:pos x="T0" y="T1"/>
                      </a:cxn>
                      <a:cxn ang="0">
                        <a:pos x="T2" y="T3"/>
                      </a:cxn>
                      <a:cxn ang="0">
                        <a:pos x="T4" y="T5"/>
                      </a:cxn>
                      <a:cxn ang="0">
                        <a:pos x="T6" y="T7"/>
                      </a:cxn>
                      <a:cxn ang="0">
                        <a:pos x="T8" y="T9"/>
                      </a:cxn>
                    </a:cxnLst>
                    <a:rect l="0" t="0" r="r" b="b"/>
                    <a:pathLst>
                      <a:path w="162" h="162">
                        <a:moveTo>
                          <a:pt x="160" y="83"/>
                        </a:moveTo>
                        <a:cubicBezTo>
                          <a:pt x="162" y="40"/>
                          <a:pt x="127" y="3"/>
                          <a:pt x="83" y="1"/>
                        </a:cubicBezTo>
                        <a:cubicBezTo>
                          <a:pt x="40" y="0"/>
                          <a:pt x="3" y="34"/>
                          <a:pt x="1" y="78"/>
                        </a:cubicBezTo>
                        <a:cubicBezTo>
                          <a:pt x="0" y="122"/>
                          <a:pt x="34" y="159"/>
                          <a:pt x="78" y="160"/>
                        </a:cubicBezTo>
                        <a:cubicBezTo>
                          <a:pt x="122" y="162"/>
                          <a:pt x="159" y="127"/>
                          <a:pt x="160" y="83"/>
                        </a:cubicBezTo>
                        <a:close/>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2" name="Freeform 17">
                    <a:extLst>
                      <a:ext uri="{FF2B5EF4-FFF2-40B4-BE49-F238E27FC236}">
                        <a16:creationId xmlns:a16="http://schemas.microsoft.com/office/drawing/2014/main" id="{6AD1BA05-EC8D-F561-6F8B-A555B011DD85}"/>
                      </a:ext>
                    </a:extLst>
                  </p:cNvPr>
                  <p:cNvSpPr>
                    <a:spLocks/>
                  </p:cNvSpPr>
                  <p:nvPr/>
                </p:nvSpPr>
                <p:spPr bwMode="auto">
                  <a:xfrm flipH="1">
                    <a:off x="7708891" y="2771415"/>
                    <a:ext cx="937848" cy="946632"/>
                  </a:xfrm>
                  <a:custGeom>
                    <a:avLst/>
                    <a:gdLst>
                      <a:gd name="T0" fmla="*/ 134 w 135"/>
                      <a:gd name="T1" fmla="*/ 70 h 135"/>
                      <a:gd name="T2" fmla="*/ 70 w 135"/>
                      <a:gd name="T3" fmla="*/ 1 h 135"/>
                      <a:gd name="T4" fmla="*/ 1 w 135"/>
                      <a:gd name="T5" fmla="*/ 65 h 135"/>
                      <a:gd name="T6" fmla="*/ 65 w 135"/>
                      <a:gd name="T7" fmla="*/ 134 h 135"/>
                      <a:gd name="T8" fmla="*/ 134 w 135"/>
                      <a:gd name="T9" fmla="*/ 70 h 135"/>
                    </a:gdLst>
                    <a:ahLst/>
                    <a:cxnLst>
                      <a:cxn ang="0">
                        <a:pos x="T0" y="T1"/>
                      </a:cxn>
                      <a:cxn ang="0">
                        <a:pos x="T2" y="T3"/>
                      </a:cxn>
                      <a:cxn ang="0">
                        <a:pos x="T4" y="T5"/>
                      </a:cxn>
                      <a:cxn ang="0">
                        <a:pos x="T6" y="T7"/>
                      </a:cxn>
                      <a:cxn ang="0">
                        <a:pos x="T8" y="T9"/>
                      </a:cxn>
                    </a:cxnLst>
                    <a:rect l="0" t="0" r="r" b="b"/>
                    <a:pathLst>
                      <a:path w="135" h="135">
                        <a:moveTo>
                          <a:pt x="134" y="70"/>
                        </a:moveTo>
                        <a:cubicBezTo>
                          <a:pt x="135" y="33"/>
                          <a:pt x="107" y="2"/>
                          <a:pt x="70" y="1"/>
                        </a:cubicBezTo>
                        <a:cubicBezTo>
                          <a:pt x="33" y="0"/>
                          <a:pt x="2" y="28"/>
                          <a:pt x="1" y="65"/>
                        </a:cubicBezTo>
                        <a:cubicBezTo>
                          <a:pt x="0" y="102"/>
                          <a:pt x="29" y="133"/>
                          <a:pt x="65" y="134"/>
                        </a:cubicBezTo>
                        <a:cubicBezTo>
                          <a:pt x="102" y="135"/>
                          <a:pt x="133" y="106"/>
                          <a:pt x="134" y="70"/>
                        </a:cubicBezTo>
                        <a:close/>
                      </a:path>
                    </a:pathLst>
                  </a:custGeom>
                  <a:solidFill>
                    <a:schemeClr val="accent3"/>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3" name="Freeform 18">
                    <a:extLst>
                      <a:ext uri="{FF2B5EF4-FFF2-40B4-BE49-F238E27FC236}">
                        <a16:creationId xmlns:a16="http://schemas.microsoft.com/office/drawing/2014/main" id="{E7F5FD5D-4645-EF8F-433C-C94D22C93CBE}"/>
                      </a:ext>
                    </a:extLst>
                  </p:cNvPr>
                  <p:cNvSpPr>
                    <a:spLocks/>
                  </p:cNvSpPr>
                  <p:nvPr/>
                </p:nvSpPr>
                <p:spPr bwMode="auto">
                  <a:xfrm flipH="1">
                    <a:off x="8355661" y="4098419"/>
                    <a:ext cx="813973" cy="816839"/>
                  </a:xfrm>
                  <a:custGeom>
                    <a:avLst/>
                    <a:gdLst>
                      <a:gd name="T0" fmla="*/ 119 w 120"/>
                      <a:gd name="T1" fmla="*/ 62 h 120"/>
                      <a:gd name="T2" fmla="*/ 62 w 120"/>
                      <a:gd name="T3" fmla="*/ 1 h 120"/>
                      <a:gd name="T4" fmla="*/ 1 w 120"/>
                      <a:gd name="T5" fmla="*/ 58 h 120"/>
                      <a:gd name="T6" fmla="*/ 58 w 120"/>
                      <a:gd name="T7" fmla="*/ 119 h 120"/>
                      <a:gd name="T8" fmla="*/ 119 w 120"/>
                      <a:gd name="T9" fmla="*/ 62 h 120"/>
                    </a:gdLst>
                    <a:ahLst/>
                    <a:cxnLst>
                      <a:cxn ang="0">
                        <a:pos x="T0" y="T1"/>
                      </a:cxn>
                      <a:cxn ang="0">
                        <a:pos x="T2" y="T3"/>
                      </a:cxn>
                      <a:cxn ang="0">
                        <a:pos x="T4" y="T5"/>
                      </a:cxn>
                      <a:cxn ang="0">
                        <a:pos x="T6" y="T7"/>
                      </a:cxn>
                      <a:cxn ang="0">
                        <a:pos x="T8" y="T9"/>
                      </a:cxn>
                    </a:cxnLst>
                    <a:rect l="0" t="0" r="r" b="b"/>
                    <a:pathLst>
                      <a:path w="120" h="120">
                        <a:moveTo>
                          <a:pt x="119" y="62"/>
                        </a:moveTo>
                        <a:cubicBezTo>
                          <a:pt x="120" y="29"/>
                          <a:pt x="95" y="2"/>
                          <a:pt x="62" y="1"/>
                        </a:cubicBezTo>
                        <a:cubicBezTo>
                          <a:pt x="30" y="0"/>
                          <a:pt x="2" y="25"/>
                          <a:pt x="1" y="58"/>
                        </a:cubicBezTo>
                        <a:cubicBezTo>
                          <a:pt x="0" y="90"/>
                          <a:pt x="26" y="117"/>
                          <a:pt x="58" y="119"/>
                        </a:cubicBezTo>
                        <a:cubicBezTo>
                          <a:pt x="91" y="120"/>
                          <a:pt x="118" y="94"/>
                          <a:pt x="119" y="62"/>
                        </a:cubicBezTo>
                        <a:close/>
                      </a:path>
                    </a:pathLst>
                  </a:custGeom>
                  <a:solidFill>
                    <a:schemeClr val="accent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04" name="Freeform 19">
                    <a:extLst>
                      <a:ext uri="{FF2B5EF4-FFF2-40B4-BE49-F238E27FC236}">
                        <a16:creationId xmlns:a16="http://schemas.microsoft.com/office/drawing/2014/main" id="{8F4A7A42-1735-FF42-E284-3A093D530456}"/>
                      </a:ext>
                    </a:extLst>
                  </p:cNvPr>
                  <p:cNvSpPr>
                    <a:spLocks/>
                  </p:cNvSpPr>
                  <p:nvPr/>
                </p:nvSpPr>
                <p:spPr bwMode="auto">
                  <a:xfrm flipH="1">
                    <a:off x="9504969" y="4926723"/>
                    <a:ext cx="639141" cy="639141"/>
                  </a:xfrm>
                  <a:custGeom>
                    <a:avLst/>
                    <a:gdLst>
                      <a:gd name="T0" fmla="*/ 94 w 94"/>
                      <a:gd name="T1" fmla="*/ 49 h 94"/>
                      <a:gd name="T2" fmla="*/ 49 w 94"/>
                      <a:gd name="T3" fmla="*/ 1 h 94"/>
                      <a:gd name="T4" fmla="*/ 1 w 94"/>
                      <a:gd name="T5" fmla="*/ 45 h 94"/>
                      <a:gd name="T6" fmla="*/ 46 w 94"/>
                      <a:gd name="T7" fmla="*/ 93 h 94"/>
                      <a:gd name="T8" fmla="*/ 94 w 94"/>
                      <a:gd name="T9" fmla="*/ 49 h 94"/>
                    </a:gdLst>
                    <a:ahLst/>
                    <a:cxnLst>
                      <a:cxn ang="0">
                        <a:pos x="T0" y="T1"/>
                      </a:cxn>
                      <a:cxn ang="0">
                        <a:pos x="T2" y="T3"/>
                      </a:cxn>
                      <a:cxn ang="0">
                        <a:pos x="T4" y="T5"/>
                      </a:cxn>
                      <a:cxn ang="0">
                        <a:pos x="T6" y="T7"/>
                      </a:cxn>
                      <a:cxn ang="0">
                        <a:pos x="T8" y="T9"/>
                      </a:cxn>
                    </a:cxnLst>
                    <a:rect l="0" t="0" r="r" b="b"/>
                    <a:pathLst>
                      <a:path w="94" h="94">
                        <a:moveTo>
                          <a:pt x="94" y="49"/>
                        </a:moveTo>
                        <a:cubicBezTo>
                          <a:pt x="94" y="23"/>
                          <a:pt x="74" y="2"/>
                          <a:pt x="49" y="1"/>
                        </a:cubicBezTo>
                        <a:cubicBezTo>
                          <a:pt x="23" y="0"/>
                          <a:pt x="2" y="20"/>
                          <a:pt x="1" y="45"/>
                        </a:cubicBezTo>
                        <a:cubicBezTo>
                          <a:pt x="0" y="71"/>
                          <a:pt x="20" y="92"/>
                          <a:pt x="46" y="93"/>
                        </a:cubicBezTo>
                        <a:cubicBezTo>
                          <a:pt x="71" y="94"/>
                          <a:pt x="93" y="74"/>
                          <a:pt x="94" y="49"/>
                        </a:cubicBezTo>
                        <a:close/>
                      </a:path>
                    </a:pathLst>
                  </a:custGeom>
                  <a:solidFill>
                    <a:schemeClr val="accent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87" name="Rectangle 2">
                  <a:extLst>
                    <a:ext uri="{FF2B5EF4-FFF2-40B4-BE49-F238E27FC236}">
                      <a16:creationId xmlns:a16="http://schemas.microsoft.com/office/drawing/2014/main" id="{37F8C497-5DCE-5502-4108-82E052FD2AE2}"/>
                    </a:ext>
                  </a:extLst>
                </p:cNvPr>
                <p:cNvSpPr/>
                <p:nvPr/>
              </p:nvSpPr>
              <p:spPr>
                <a:xfrm>
                  <a:off x="838323" y="2932805"/>
                  <a:ext cx="1349568" cy="1076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white"/>
                      </a:solidFill>
                      <a:effectLst/>
                      <a:uLnTx/>
                      <a:uFillTx/>
                      <a:latin typeface="Calibri" panose="020F0502020204030204" pitchFamily="34" charset="0"/>
                      <a:cs typeface="Calibri" panose="020F0502020204030204" pitchFamily="34" charset="0"/>
                    </a:rPr>
                    <a:t>BCM Activities for stc</a:t>
                  </a:r>
                </a:p>
              </p:txBody>
            </p:sp>
            <p:sp>
              <p:nvSpPr>
                <p:cNvPr id="188" name="Freeform 20">
                  <a:extLst>
                    <a:ext uri="{FF2B5EF4-FFF2-40B4-BE49-F238E27FC236}">
                      <a16:creationId xmlns:a16="http://schemas.microsoft.com/office/drawing/2014/main" id="{9E5F3823-FB3B-F9E3-98E5-C8020035521D}"/>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182" name="Freeform 690">
                <a:extLst>
                  <a:ext uri="{FF2B5EF4-FFF2-40B4-BE49-F238E27FC236}">
                    <a16:creationId xmlns:a16="http://schemas.microsoft.com/office/drawing/2014/main" id="{4CD52AA5-FD0B-74B4-C92C-1B95DF054CBB}"/>
                  </a:ext>
                </a:extLst>
              </p:cNvPr>
              <p:cNvSpPr>
                <a:spLocks noEditPoints="1"/>
              </p:cNvSpPr>
              <p:nvPr/>
            </p:nvSpPr>
            <p:spPr bwMode="auto">
              <a:xfrm>
                <a:off x="3204339" y="4758575"/>
                <a:ext cx="385409" cy="405506"/>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83" name="Freeform 426">
                <a:extLst>
                  <a:ext uri="{FF2B5EF4-FFF2-40B4-BE49-F238E27FC236}">
                    <a16:creationId xmlns:a16="http://schemas.microsoft.com/office/drawing/2014/main" id="{95814221-E976-6FA4-CBC5-74998617D8C7}"/>
                  </a:ext>
                </a:extLst>
              </p:cNvPr>
              <p:cNvSpPr>
                <a:spLocks/>
              </p:cNvSpPr>
              <p:nvPr/>
            </p:nvSpPr>
            <p:spPr bwMode="auto">
              <a:xfrm>
                <a:off x="2275394" y="5547779"/>
                <a:ext cx="327456" cy="183782"/>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84" name="Freeform 501">
                <a:extLst>
                  <a:ext uri="{FF2B5EF4-FFF2-40B4-BE49-F238E27FC236}">
                    <a16:creationId xmlns:a16="http://schemas.microsoft.com/office/drawing/2014/main" id="{070D16BF-0332-DBF7-A3D8-7322011FAE24}"/>
                  </a:ext>
                </a:extLst>
              </p:cNvPr>
              <p:cNvSpPr>
                <a:spLocks noEditPoints="1"/>
              </p:cNvSpPr>
              <p:nvPr/>
            </p:nvSpPr>
            <p:spPr bwMode="auto">
              <a:xfrm>
                <a:off x="3160887" y="2209935"/>
                <a:ext cx="472312" cy="489509"/>
              </a:xfrm>
              <a:custGeom>
                <a:avLst/>
                <a:gdLst>
                  <a:gd name="T0" fmla="*/ 227 w 242"/>
                  <a:gd name="T1" fmla="*/ 9 h 241"/>
                  <a:gd name="T2" fmla="*/ 221 w 242"/>
                  <a:gd name="T3" fmla="*/ 1 h 241"/>
                  <a:gd name="T4" fmla="*/ 210 w 242"/>
                  <a:gd name="T5" fmla="*/ 3 h 241"/>
                  <a:gd name="T6" fmla="*/ 113 w 242"/>
                  <a:gd name="T7" fmla="*/ 35 h 241"/>
                  <a:gd name="T8" fmla="*/ 42 w 242"/>
                  <a:gd name="T9" fmla="*/ 54 h 241"/>
                  <a:gd name="T10" fmla="*/ 4 w 242"/>
                  <a:gd name="T11" fmla="*/ 121 h 241"/>
                  <a:gd name="T12" fmla="*/ 24 w 242"/>
                  <a:gd name="T13" fmla="*/ 188 h 241"/>
                  <a:gd name="T14" fmla="*/ 0 w 242"/>
                  <a:gd name="T15" fmla="*/ 230 h 241"/>
                  <a:gd name="T16" fmla="*/ 11 w 242"/>
                  <a:gd name="T17" fmla="*/ 241 h 241"/>
                  <a:gd name="T18" fmla="*/ 11 w 242"/>
                  <a:gd name="T19" fmla="*/ 241 h 241"/>
                  <a:gd name="T20" fmla="*/ 21 w 242"/>
                  <a:gd name="T21" fmla="*/ 230 h 241"/>
                  <a:gd name="T22" fmla="*/ 39 w 242"/>
                  <a:gd name="T23" fmla="*/ 203 h 241"/>
                  <a:gd name="T24" fmla="*/ 100 w 242"/>
                  <a:gd name="T25" fmla="*/ 225 h 241"/>
                  <a:gd name="T26" fmla="*/ 174 w 242"/>
                  <a:gd name="T27" fmla="*/ 193 h 241"/>
                  <a:gd name="T28" fmla="*/ 227 w 242"/>
                  <a:gd name="T29" fmla="*/ 9 h 241"/>
                  <a:gd name="T30" fmla="*/ 159 w 242"/>
                  <a:gd name="T31" fmla="*/ 178 h 241"/>
                  <a:gd name="T32" fmla="*/ 47 w 242"/>
                  <a:gd name="T33" fmla="*/ 181 h 241"/>
                  <a:gd name="T34" fmla="*/ 25 w 242"/>
                  <a:gd name="T35" fmla="*/ 123 h 241"/>
                  <a:gd name="T36" fmla="*/ 55 w 242"/>
                  <a:gd name="T37" fmla="*/ 71 h 241"/>
                  <a:gd name="T38" fmla="*/ 114 w 242"/>
                  <a:gd name="T39" fmla="*/ 56 h 241"/>
                  <a:gd name="T40" fmla="*/ 209 w 242"/>
                  <a:gd name="T41" fmla="*/ 30 h 241"/>
                  <a:gd name="T42" fmla="*/ 159 w 242"/>
                  <a:gd name="T43" fmla="*/ 178 h 241"/>
                  <a:gd name="T44" fmla="*/ 160 w 242"/>
                  <a:gd name="T45" fmla="*/ 90 h 241"/>
                  <a:gd name="T46" fmla="*/ 151 w 242"/>
                  <a:gd name="T47" fmla="*/ 102 h 241"/>
                  <a:gd name="T48" fmla="*/ 76 w 242"/>
                  <a:gd name="T49" fmla="*/ 163 h 241"/>
                  <a:gd name="T50" fmla="*/ 66 w 242"/>
                  <a:gd name="T51" fmla="*/ 170 h 241"/>
                  <a:gd name="T52" fmla="*/ 62 w 242"/>
                  <a:gd name="T53" fmla="*/ 169 h 241"/>
                  <a:gd name="T54" fmla="*/ 56 w 242"/>
                  <a:gd name="T55" fmla="*/ 156 h 241"/>
                  <a:gd name="T56" fmla="*/ 148 w 242"/>
                  <a:gd name="T57" fmla="*/ 81 h 241"/>
                  <a:gd name="T58" fmla="*/ 160 w 242"/>
                  <a:gd name="T59" fmla="*/ 9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2" h="241">
                    <a:moveTo>
                      <a:pt x="227" y="9"/>
                    </a:moveTo>
                    <a:cubicBezTo>
                      <a:pt x="226" y="5"/>
                      <a:pt x="224" y="2"/>
                      <a:pt x="221" y="1"/>
                    </a:cubicBezTo>
                    <a:cubicBezTo>
                      <a:pt x="217" y="0"/>
                      <a:pt x="213" y="0"/>
                      <a:pt x="210" y="3"/>
                    </a:cubicBezTo>
                    <a:cubicBezTo>
                      <a:pt x="171" y="33"/>
                      <a:pt x="141" y="34"/>
                      <a:pt x="113" y="35"/>
                    </a:cubicBezTo>
                    <a:cubicBezTo>
                      <a:pt x="90" y="36"/>
                      <a:pt x="67" y="37"/>
                      <a:pt x="42" y="54"/>
                    </a:cubicBezTo>
                    <a:cubicBezTo>
                      <a:pt x="20" y="69"/>
                      <a:pt x="6" y="94"/>
                      <a:pt x="4" y="121"/>
                    </a:cubicBezTo>
                    <a:cubicBezTo>
                      <a:pt x="2" y="145"/>
                      <a:pt x="9" y="169"/>
                      <a:pt x="24" y="188"/>
                    </a:cubicBezTo>
                    <a:cubicBezTo>
                      <a:pt x="1" y="209"/>
                      <a:pt x="0" y="228"/>
                      <a:pt x="0" y="230"/>
                    </a:cubicBezTo>
                    <a:cubicBezTo>
                      <a:pt x="0" y="236"/>
                      <a:pt x="5" y="241"/>
                      <a:pt x="11" y="241"/>
                    </a:cubicBezTo>
                    <a:cubicBezTo>
                      <a:pt x="11" y="241"/>
                      <a:pt x="11" y="241"/>
                      <a:pt x="11" y="241"/>
                    </a:cubicBezTo>
                    <a:cubicBezTo>
                      <a:pt x="17" y="241"/>
                      <a:pt x="21" y="236"/>
                      <a:pt x="21" y="230"/>
                    </a:cubicBezTo>
                    <a:cubicBezTo>
                      <a:pt x="22" y="230"/>
                      <a:pt x="22" y="218"/>
                      <a:pt x="39" y="203"/>
                    </a:cubicBezTo>
                    <a:cubicBezTo>
                      <a:pt x="57" y="218"/>
                      <a:pt x="78" y="225"/>
                      <a:pt x="100" y="225"/>
                    </a:cubicBezTo>
                    <a:cubicBezTo>
                      <a:pt x="127" y="225"/>
                      <a:pt x="153" y="214"/>
                      <a:pt x="174" y="193"/>
                    </a:cubicBezTo>
                    <a:cubicBezTo>
                      <a:pt x="212" y="156"/>
                      <a:pt x="242" y="80"/>
                      <a:pt x="227" y="9"/>
                    </a:cubicBezTo>
                    <a:close/>
                    <a:moveTo>
                      <a:pt x="159" y="178"/>
                    </a:moveTo>
                    <a:cubicBezTo>
                      <a:pt x="126" y="211"/>
                      <a:pt x="78" y="213"/>
                      <a:pt x="47" y="181"/>
                    </a:cubicBezTo>
                    <a:cubicBezTo>
                      <a:pt x="31" y="166"/>
                      <a:pt x="24" y="145"/>
                      <a:pt x="25" y="123"/>
                    </a:cubicBezTo>
                    <a:cubicBezTo>
                      <a:pt x="27" y="102"/>
                      <a:pt x="38" y="83"/>
                      <a:pt x="55" y="71"/>
                    </a:cubicBezTo>
                    <a:cubicBezTo>
                      <a:pt x="74" y="58"/>
                      <a:pt x="91" y="57"/>
                      <a:pt x="114" y="56"/>
                    </a:cubicBezTo>
                    <a:cubicBezTo>
                      <a:pt x="141" y="56"/>
                      <a:pt x="171" y="54"/>
                      <a:pt x="209" y="30"/>
                    </a:cubicBezTo>
                    <a:cubicBezTo>
                      <a:pt x="215" y="89"/>
                      <a:pt x="190" y="148"/>
                      <a:pt x="159" y="178"/>
                    </a:cubicBezTo>
                    <a:close/>
                    <a:moveTo>
                      <a:pt x="160" y="90"/>
                    </a:moveTo>
                    <a:cubicBezTo>
                      <a:pt x="161" y="95"/>
                      <a:pt x="157" y="101"/>
                      <a:pt x="151" y="102"/>
                    </a:cubicBezTo>
                    <a:cubicBezTo>
                      <a:pt x="97" y="112"/>
                      <a:pt x="76" y="163"/>
                      <a:pt x="76" y="163"/>
                    </a:cubicBezTo>
                    <a:cubicBezTo>
                      <a:pt x="75" y="168"/>
                      <a:pt x="71" y="170"/>
                      <a:pt x="66" y="170"/>
                    </a:cubicBezTo>
                    <a:cubicBezTo>
                      <a:pt x="65" y="170"/>
                      <a:pt x="64" y="170"/>
                      <a:pt x="62" y="169"/>
                    </a:cubicBezTo>
                    <a:cubicBezTo>
                      <a:pt x="57" y="167"/>
                      <a:pt x="54" y="161"/>
                      <a:pt x="56" y="156"/>
                    </a:cubicBezTo>
                    <a:cubicBezTo>
                      <a:pt x="57" y="153"/>
                      <a:pt x="81" y="93"/>
                      <a:pt x="148" y="81"/>
                    </a:cubicBezTo>
                    <a:cubicBezTo>
                      <a:pt x="154" y="80"/>
                      <a:pt x="159" y="84"/>
                      <a:pt x="160" y="9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85" name="Freeform 70">
                <a:extLst>
                  <a:ext uri="{FF2B5EF4-FFF2-40B4-BE49-F238E27FC236}">
                    <a16:creationId xmlns:a16="http://schemas.microsoft.com/office/drawing/2014/main" id="{8C529E99-9C2A-481C-6953-8C0E444EF6BB}"/>
                  </a:ext>
                </a:extLst>
              </p:cNvPr>
              <p:cNvSpPr>
                <a:spLocks noEditPoints="1"/>
              </p:cNvSpPr>
              <p:nvPr/>
            </p:nvSpPr>
            <p:spPr bwMode="auto">
              <a:xfrm>
                <a:off x="3714633" y="3559769"/>
                <a:ext cx="481058" cy="478374"/>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09" name="TextBox 208">
              <a:extLst>
                <a:ext uri="{FF2B5EF4-FFF2-40B4-BE49-F238E27FC236}">
                  <a16:creationId xmlns:a16="http://schemas.microsoft.com/office/drawing/2014/main" id="{BDF9F795-5C29-EA69-47F4-E9FEDC046003}"/>
                </a:ext>
              </a:extLst>
            </p:cNvPr>
            <p:cNvSpPr txBox="1"/>
            <p:nvPr/>
          </p:nvSpPr>
          <p:spPr bwMode="gray">
            <a:xfrm>
              <a:off x="8058307" y="2124655"/>
              <a:ext cx="3484522" cy="444519"/>
            </a:xfrm>
            <a:prstGeom prst="rect">
              <a:avLst/>
            </a:prstGeom>
          </p:spPr>
          <p:txBody>
            <a:bodyPr wrap="square" lIns="0" rIns="0" rtlCol="0" anchor="ctr" anchorCtr="0">
              <a:noAutofit/>
            </a:bodyPr>
            <a:lstStyle/>
            <a:p>
              <a:r>
                <a:rPr lang="en-US" sz="1300" b="1" dirty="0">
                  <a:solidFill>
                    <a:schemeClr val="tx1"/>
                  </a:solidFill>
                  <a:latin typeface="Calibri" panose="020F0502020204030204" pitchFamily="34" charset="0"/>
                  <a:cs typeface="Calibri" panose="020F0502020204030204" pitchFamily="34" charset="0"/>
                </a:rPr>
                <a:t>Perform BCM Risk Assessment</a:t>
              </a:r>
            </a:p>
          </p:txBody>
        </p:sp>
        <p:sp>
          <p:nvSpPr>
            <p:cNvPr id="210" name="TextBox 209">
              <a:extLst>
                <a:ext uri="{FF2B5EF4-FFF2-40B4-BE49-F238E27FC236}">
                  <a16:creationId xmlns:a16="http://schemas.microsoft.com/office/drawing/2014/main" id="{E18688CD-0F18-68EC-7AA8-0922A9D047AE}"/>
                </a:ext>
              </a:extLst>
            </p:cNvPr>
            <p:cNvSpPr txBox="1"/>
            <p:nvPr/>
          </p:nvSpPr>
          <p:spPr bwMode="gray">
            <a:xfrm>
              <a:off x="8383312" y="3068397"/>
              <a:ext cx="3484522" cy="444519"/>
            </a:xfrm>
            <a:prstGeom prst="rect">
              <a:avLst/>
            </a:prstGeom>
          </p:spPr>
          <p:txBody>
            <a:bodyPr wrap="square" lIns="0" rIns="0" rtlCol="0" anchor="ctr" anchorCtr="0">
              <a:noAutofit/>
            </a:bodyPr>
            <a:lstStyle/>
            <a:p>
              <a:r>
                <a:rPr lang="en-US" sz="1300" b="1" dirty="0">
                  <a:solidFill>
                    <a:schemeClr val="tx1"/>
                  </a:solidFill>
                  <a:latin typeface="Calibri" panose="020F0502020204030204" pitchFamily="34" charset="0"/>
                  <a:cs typeface="Calibri" panose="020F0502020204030204" pitchFamily="34" charset="0"/>
                </a:rPr>
                <a:t>Review BCM Strategy and develop 3 years roadmap</a:t>
              </a:r>
            </a:p>
          </p:txBody>
        </p:sp>
        <p:sp>
          <p:nvSpPr>
            <p:cNvPr id="211" name="TextBox 210">
              <a:extLst>
                <a:ext uri="{FF2B5EF4-FFF2-40B4-BE49-F238E27FC236}">
                  <a16:creationId xmlns:a16="http://schemas.microsoft.com/office/drawing/2014/main" id="{AF6019EB-5FB4-C574-E4BC-EDC0DDD621AB}"/>
                </a:ext>
              </a:extLst>
            </p:cNvPr>
            <p:cNvSpPr txBox="1"/>
            <p:nvPr/>
          </p:nvSpPr>
          <p:spPr bwMode="gray">
            <a:xfrm>
              <a:off x="7957937" y="3940049"/>
              <a:ext cx="3484522" cy="444519"/>
            </a:xfrm>
            <a:prstGeom prst="rect">
              <a:avLst/>
            </a:prstGeom>
          </p:spPr>
          <p:txBody>
            <a:bodyPr wrap="square" lIns="0" rIns="0" rtlCol="0" anchor="ctr" anchorCtr="0">
              <a:noAutofit/>
            </a:bodyPr>
            <a:lstStyle/>
            <a:p>
              <a:r>
                <a:rPr lang="de-DE" sz="1300" b="1" dirty="0">
                  <a:solidFill>
                    <a:schemeClr val="tx1"/>
                  </a:solidFill>
                  <a:latin typeface="Calibri" panose="020F0502020204030204" pitchFamily="34" charset="0"/>
                  <a:cs typeface="Calibri" panose="020F0502020204030204" pitchFamily="34" charset="0"/>
                </a:rPr>
                <a:t>Review and update BCM / CM DR / ER/ IM Plans</a:t>
              </a:r>
              <a:endParaRPr lang="en-US" sz="1300" b="1" dirty="0">
                <a:solidFill>
                  <a:schemeClr val="tx1"/>
                </a:solidFill>
                <a:latin typeface="Calibri" panose="020F0502020204030204" pitchFamily="34" charset="0"/>
                <a:cs typeface="Calibri" panose="020F0502020204030204" pitchFamily="34" charset="0"/>
              </a:endParaRPr>
            </a:p>
          </p:txBody>
        </p:sp>
        <p:sp>
          <p:nvSpPr>
            <p:cNvPr id="212" name="TextBox 211">
              <a:extLst>
                <a:ext uri="{FF2B5EF4-FFF2-40B4-BE49-F238E27FC236}">
                  <a16:creationId xmlns:a16="http://schemas.microsoft.com/office/drawing/2014/main" id="{FEFB4025-847A-8AFB-83E7-FE44CBBBBF45}"/>
                </a:ext>
              </a:extLst>
            </p:cNvPr>
            <p:cNvSpPr txBox="1"/>
            <p:nvPr/>
          </p:nvSpPr>
          <p:spPr bwMode="gray">
            <a:xfrm>
              <a:off x="7164287" y="4711929"/>
              <a:ext cx="3484522" cy="444519"/>
            </a:xfrm>
            <a:prstGeom prst="rect">
              <a:avLst/>
            </a:prstGeom>
          </p:spPr>
          <p:txBody>
            <a:bodyPr wrap="square" lIns="0" rIns="0" rtlCol="0" anchor="ctr" anchorCtr="0">
              <a:noAutofit/>
            </a:bodyPr>
            <a:lstStyle/>
            <a:p>
              <a:r>
                <a:rPr lang="en-US" sz="1300" b="1" dirty="0">
                  <a:solidFill>
                    <a:schemeClr val="tx1"/>
                  </a:solidFill>
                  <a:latin typeface="Calibri" panose="020F0502020204030204" pitchFamily="34" charset="0"/>
                  <a:cs typeface="Calibri" panose="020F0502020204030204" pitchFamily="34" charset="0"/>
                </a:rPr>
                <a:t>Develop BCM Test Plan Scenario Testing</a:t>
              </a:r>
            </a:p>
          </p:txBody>
        </p:sp>
      </p:grpSp>
      <p:sp>
        <p:nvSpPr>
          <p:cNvPr id="216" name="Content Placeholder 7">
            <a:extLst>
              <a:ext uri="{FF2B5EF4-FFF2-40B4-BE49-F238E27FC236}">
                <a16:creationId xmlns:a16="http://schemas.microsoft.com/office/drawing/2014/main" id="{E0783483-41C0-EA3C-C261-17C3502C06B3}"/>
              </a:ext>
            </a:extLst>
          </p:cNvPr>
          <p:cNvSpPr txBox="1">
            <a:spLocks/>
          </p:cNvSpPr>
          <p:nvPr/>
        </p:nvSpPr>
        <p:spPr>
          <a:xfrm>
            <a:off x="938939" y="1372380"/>
            <a:ext cx="3659963" cy="373143"/>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782" b="1" dirty="0">
                <a:solidFill>
                  <a:srgbClr val="111C4E"/>
                </a:solidFill>
                <a:cs typeface="Calibri" panose="020F0502020204030204" pitchFamily="34" charset="0"/>
              </a:rPr>
              <a:t>Project Objectives</a:t>
            </a:r>
          </a:p>
        </p:txBody>
      </p:sp>
      <p:grpSp>
        <p:nvGrpSpPr>
          <p:cNvPr id="217" name="Group 433">
            <a:extLst>
              <a:ext uri="{FF2B5EF4-FFF2-40B4-BE49-F238E27FC236}">
                <a16:creationId xmlns:a16="http://schemas.microsoft.com/office/drawing/2014/main" id="{B91F26A5-2937-CCC3-416C-13ED84B9E920}"/>
              </a:ext>
            </a:extLst>
          </p:cNvPr>
          <p:cNvGrpSpPr>
            <a:grpSpLocks noChangeAspect="1"/>
          </p:cNvGrpSpPr>
          <p:nvPr/>
        </p:nvGrpSpPr>
        <p:grpSpPr bwMode="auto">
          <a:xfrm>
            <a:off x="554909" y="1373943"/>
            <a:ext cx="363617" cy="363617"/>
            <a:chOff x="4725" y="1820"/>
            <a:chExt cx="340" cy="340"/>
          </a:xfrm>
          <a:solidFill>
            <a:srgbClr val="111C4E"/>
          </a:solidFill>
        </p:grpSpPr>
        <p:sp>
          <p:nvSpPr>
            <p:cNvPr id="218" name="Freeform 434">
              <a:extLst>
                <a:ext uri="{FF2B5EF4-FFF2-40B4-BE49-F238E27FC236}">
                  <a16:creationId xmlns:a16="http://schemas.microsoft.com/office/drawing/2014/main" id="{B661001D-2F45-871C-3DA1-04F0ED95D14A}"/>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111C4E"/>
                </a:solidFill>
              </a:endParaRPr>
            </a:p>
          </p:txBody>
        </p:sp>
        <p:sp>
          <p:nvSpPr>
            <p:cNvPr id="219" name="Freeform 435">
              <a:extLst>
                <a:ext uri="{FF2B5EF4-FFF2-40B4-BE49-F238E27FC236}">
                  <a16:creationId xmlns:a16="http://schemas.microsoft.com/office/drawing/2014/main" id="{DD3A8379-7C85-9AA8-0EAE-464F18ED6876}"/>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endParaRPr lang="en-GB" sz="1782" dirty="0">
                <a:solidFill>
                  <a:srgbClr val="111C4E"/>
                </a:solidFill>
              </a:endParaRPr>
            </a:p>
          </p:txBody>
        </p:sp>
      </p:grpSp>
    </p:spTree>
    <p:extLst>
      <p:ext uri="{BB962C8B-B14F-4D97-AF65-F5344CB8AC3E}">
        <p14:creationId xmlns:p14="http://schemas.microsoft.com/office/powerpoint/2010/main" val="1508172130"/>
      </p:ext>
    </p:extLst>
  </p:cSld>
  <p:clrMapOvr>
    <a:masterClrMapping/>
  </p:clrMapOvr>
  <p:transition spd="med">
    <p:pull/>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87900A-F1D0-42E5-B0CC-17D3F88FA4EE}"/>
              </a:ext>
            </a:extLst>
          </p:cNvPr>
          <p:cNvSpPr/>
          <p:nvPr/>
        </p:nvSpPr>
        <p:spPr bwMode="gray">
          <a:xfrm>
            <a:off x="5249" y="0"/>
            <a:ext cx="3024389"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582" b="1"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sp>
        <p:nvSpPr>
          <p:cNvPr id="10" name="Rectangle 9"/>
          <p:cNvSpPr/>
          <p:nvPr/>
        </p:nvSpPr>
        <p:spPr>
          <a:xfrm>
            <a:off x="89875" y="1984623"/>
            <a:ext cx="2855131" cy="737831"/>
          </a:xfrm>
          <a:prstGeom prst="rect">
            <a:avLst/>
          </a:prstGeom>
        </p:spPr>
        <p:txBody>
          <a:bodyPr wrap="square" lIns="0" tIns="0" rIns="0" bIns="0">
            <a:spAutoFit/>
          </a:bodyPr>
          <a:lstStyle/>
          <a:p>
            <a:pPr algn="ctr">
              <a:lnSpc>
                <a:spcPct val="106000"/>
              </a:lnSpc>
              <a:defRPr/>
            </a:pPr>
            <a:r>
              <a:rPr lang="en-US" sz="2381" dirty="0">
                <a:solidFill>
                  <a:prstClr val="white"/>
                </a:solidFill>
                <a:latin typeface="Calibri Light" panose="020F0302020204030204" pitchFamily="34" charset="0"/>
                <a:cs typeface="Arial" panose="020B0604020202020204" pitchFamily="34" charset="0"/>
              </a:rPr>
              <a:t>Maarten Smulders</a:t>
            </a:r>
          </a:p>
          <a:p>
            <a:pPr algn="ctr">
              <a:lnSpc>
                <a:spcPct val="106000"/>
              </a:lnSpc>
              <a:defRPr/>
            </a:pPr>
            <a:r>
              <a:rPr lang="en-US" sz="1094" dirty="0">
                <a:solidFill>
                  <a:prstClr val="white"/>
                </a:solidFill>
                <a:latin typeface="Calibri Light" panose="020F0302020204030204" pitchFamily="34" charset="0"/>
                <a:cs typeface="Arial" panose="020B0604020202020204" pitchFamily="34" charset="0"/>
              </a:rPr>
              <a:t>Director, Cyber Resilience</a:t>
            </a:r>
          </a:p>
          <a:p>
            <a:pPr algn="ctr">
              <a:lnSpc>
                <a:spcPct val="106000"/>
              </a:lnSpc>
              <a:defRPr/>
            </a:pPr>
            <a:endParaRPr lang="en-US" sz="1094" dirty="0">
              <a:solidFill>
                <a:prstClr val="white"/>
              </a:solidFill>
              <a:latin typeface="Calibri Light" panose="020F0302020204030204" pitchFamily="34" charset="0"/>
              <a:cs typeface="Arial" panose="020B0604020202020204" pitchFamily="34" charset="0"/>
            </a:endParaRPr>
          </a:p>
        </p:txBody>
      </p:sp>
      <p:sp>
        <p:nvSpPr>
          <p:cNvPr id="16" name="Rectangle 3"/>
          <p:cNvSpPr txBox="1">
            <a:spLocks noChangeArrowheads="1"/>
          </p:cNvSpPr>
          <p:nvPr/>
        </p:nvSpPr>
        <p:spPr bwMode="auto">
          <a:xfrm>
            <a:off x="3218077" y="770737"/>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defRPr/>
            </a:pPr>
            <a:r>
              <a:rPr lang="en-US" sz="943" dirty="0">
                <a:solidFill>
                  <a:srgbClr val="575757"/>
                </a:solidFill>
                <a:latin typeface="Calibri Light" panose="020F0302020204030204" pitchFamily="34" charset="0"/>
              </a:rPr>
              <a:t>Maarten is an experienced consulting leader in a multidisciplinary, international firm with a track record of the successful management of large and complex engagements, live incident, and crisis situations. He is a subject matter expert in crisis management &amp; operational resilience with 20+ years experience. As a Director of the Deloitte Middle East Risk Advisory Practice Maarten is leading our crisis and resilience services in the region. With a specific focus on our emerging business in KSA and wider region. In times of ongoing geopolitical situations, supply chain challenges, climate change and increasing incidents his mission is to build trust and create space to think. He has extensive experience with IT and technology resilience through supporting clients with disaster recovery planning, third party risk management and cyber incident response. He manages a diverse client portfolio mainly in government &amp; public sector, manufacturing and financial services.</a:t>
            </a:r>
          </a:p>
          <a:p>
            <a:pPr algn="just" defTabSz="1208233" fontAlgn="base">
              <a:spcBef>
                <a:spcPts val="300"/>
              </a:spcBef>
              <a:spcAft>
                <a:spcPts val="300"/>
              </a:spcAft>
              <a:defRPr/>
            </a:pPr>
            <a:r>
              <a:rPr lang="en-US" sz="943" dirty="0">
                <a:solidFill>
                  <a:srgbClr val="575757"/>
                </a:solidFill>
                <a:latin typeface="Calibri Light" panose="020F0302020204030204" pitchFamily="34" charset="0"/>
              </a:rPr>
              <a:t>. </a:t>
            </a:r>
          </a:p>
        </p:txBody>
      </p:sp>
      <p:sp>
        <p:nvSpPr>
          <p:cNvPr id="19" name="Rectangle 18"/>
          <p:cNvSpPr/>
          <p:nvPr/>
        </p:nvSpPr>
        <p:spPr>
          <a:xfrm>
            <a:off x="332245" y="2736588"/>
            <a:ext cx="2370395" cy="1418352"/>
          </a:xfrm>
          <a:prstGeom prst="rect">
            <a:avLst/>
          </a:prstGeom>
        </p:spPr>
        <p:txBody>
          <a:bodyPr wrap="square" lIns="90818" tIns="45410" rIns="90818" bIns="45410" anchor="t">
            <a:spAutoFit/>
          </a:bodyPr>
          <a:lstStyle/>
          <a:p>
            <a:pPr marL="0" marR="0" lvl="0" indent="-159629" algn="l" defTabSz="948386" rtl="0" eaLnBrk="1" fontAlgn="auto" latinLnBrk="0" hangingPunct="1">
              <a:lnSpc>
                <a:spcPts val="1014"/>
              </a:lnSpc>
              <a:spcBef>
                <a:spcPts val="590"/>
              </a:spcBef>
              <a:spcAft>
                <a:spcPts val="0"/>
              </a:spcAft>
              <a:buClr>
                <a:srgbClr val="000066"/>
              </a:buClr>
              <a:buSzPct val="75000"/>
              <a:buFontTx/>
              <a:buNone/>
              <a:tabLst>
                <a:tab pos="1312455" algn="l"/>
              </a:tabLst>
              <a:defRPr/>
            </a:pPr>
            <a:r>
              <a:rPr kumimoji="0" lang="en-US" sz="1091"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endParaRP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err="1">
                <a:ln>
                  <a:noFill/>
                </a:ln>
                <a:solidFill>
                  <a:srgbClr val="FFFFFF"/>
                </a:solidFill>
                <a:effectLst/>
                <a:uLnTx/>
                <a:uFillTx/>
                <a:latin typeface="Calibri Light" panose="020F0302020204030204" pitchFamily="34" charset="0"/>
                <a:ea typeface="Verdana" panose="020B0604030504040204" pitchFamily="34" charset="0"/>
                <a:cs typeface="+mn-cs"/>
              </a:rPr>
              <a:t>Badmin</a:t>
            </a: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 Facility Management (2006), Netherlands</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BCI CBCI (2009)</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IRM CIRM (2011)</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BS25999 (2008); ITIL (2012)</a:t>
            </a:r>
          </a:p>
        </p:txBody>
      </p:sp>
      <p:sp>
        <p:nvSpPr>
          <p:cNvPr id="13" name="Rectangle 3"/>
          <p:cNvSpPr txBox="1">
            <a:spLocks noChangeArrowheads="1"/>
          </p:cNvSpPr>
          <p:nvPr/>
        </p:nvSpPr>
        <p:spPr bwMode="auto">
          <a:xfrm>
            <a:off x="3207508" y="1893352"/>
            <a:ext cx="8115794" cy="2478623"/>
          </a:xfrm>
          <a:prstGeom prst="rect">
            <a:avLst/>
          </a:prstGeom>
          <a:noFill/>
          <a:ln w="9525">
            <a:noFill/>
            <a:miter lim="800000"/>
            <a:headEnd/>
            <a:tailEnd/>
          </a:ln>
        </p:spPr>
        <p:txBody>
          <a:bodyPr lIns="108257" tIns="54130" rIns="0" bIns="54130" anchor="t"/>
          <a:lstStyle/>
          <a:p>
            <a:pPr marL="189915" marR="0" lvl="0" indent="-189915" algn="l" defTabSz="914400" rtl="0" eaLnBrk="1" fontAlgn="auto" latinLnBrk="0" hangingPunct="1">
              <a:lnSpc>
                <a:spcPct val="100000"/>
              </a:lnSpc>
              <a:spcBef>
                <a:spcPts val="590"/>
              </a:spcBef>
              <a:spcAft>
                <a:spcPts val="590"/>
              </a:spcAft>
              <a:buClrTx/>
              <a:buSzTx/>
              <a:buFontTx/>
              <a:buNone/>
              <a:tabLst/>
              <a:defRPr/>
            </a:pPr>
            <a:r>
              <a:rPr kumimoji="0" lang="en-US" sz="990" b="0" i="0" u="none" strike="noStrike" kern="1200" cap="none" spc="0" normalizeH="0" baseline="0" noProof="0" dirty="0">
                <a:ln>
                  <a:noFill/>
                </a:ln>
                <a:solidFill>
                  <a:srgbClr val="005587"/>
                </a:solidFill>
                <a:effectLst/>
                <a:uLnTx/>
                <a:uFillTx/>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kumimoji="0" lang="en-US" sz="2388" b="0" i="0" u="none" strike="noStrike" kern="1200" cap="none" spc="0" normalizeH="0" baseline="0" noProof="0" dirty="0">
              <a:ln>
                <a:noFill/>
              </a:ln>
              <a:solidFill>
                <a:srgbClr val="005587"/>
              </a:solidFill>
              <a:effectLst/>
              <a:uLnTx/>
              <a:uFillTx/>
              <a:latin typeface="Calibri Light" panose="020F0302020204030204" pitchFamily="34" charset="0"/>
              <a:ea typeface="+mn-ea"/>
              <a:cs typeface="+mn-cs"/>
            </a:endParaRP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Business Continuity for a global industrial products manufacturer: Lead the design and implementation of a global BCM program. Steer and oversee BCP development in +300 entities worldwide. Support senior and executive management with the response to few major disruptive incident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Crisis management assessment for a global consumer brand: Lead a mission to identify and evaluate the global and local crisis management capabilities and overall readiness. Benchmark against peer organizations. Design a roadmap for crisis readiness enhancements. • IT Disaster Recovery for a local life insurer: Lead the design and implementation of Disaster Recovery capabilities for core IT infrastructure, applications and data. Identify business requirements and align DR needs with the technology roadmap. Steer and oversee the DR test program, training of key stakeholders and supplier engagemen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Business Continuity and Cyber Crisis Management for a global consumer brand: Lead the design and implementation of a BCM program for strategic production and logistics facilities. Lead the development of tactical and strategic playbooks for the response to major cyber incidents. Design and facilitate a cyber crisis exercise for senior and executive managemen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Business Continuity and Crisis Management for a European Institution: Design, implement and continuously improve departmental business continuity plans and the corporate crisis management plan. Design and facilitate annual simulation exercises, BCP tests, training and awareness. Design and deliver an inter-agency CERT simulation exercise to enhance ransomware response capabilities.</a:t>
            </a:r>
          </a:p>
        </p:txBody>
      </p:sp>
      <p:sp>
        <p:nvSpPr>
          <p:cNvPr id="14" name="Triangle 28">
            <a:extLst>
              <a:ext uri="{FF2B5EF4-FFF2-40B4-BE49-F238E27FC236}">
                <a16:creationId xmlns:a16="http://schemas.microsoft.com/office/drawing/2014/main" id="{66048279-5441-4339-9FF0-1C0CA45A877E}"/>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 name="Rectangle 3">
            <a:extLst>
              <a:ext uri="{FF2B5EF4-FFF2-40B4-BE49-F238E27FC236}">
                <a16:creationId xmlns:a16="http://schemas.microsoft.com/office/drawing/2014/main" id="{13693E8B-57B4-082A-4099-4A181B20EE7F}"/>
              </a:ext>
            </a:extLst>
          </p:cNvPr>
          <p:cNvSpPr txBox="1">
            <a:spLocks noChangeArrowheads="1"/>
          </p:cNvSpPr>
          <p:nvPr/>
        </p:nvSpPr>
        <p:spPr bwMode="auto">
          <a:xfrm>
            <a:off x="3218077" y="4609826"/>
            <a:ext cx="8115794" cy="2478623"/>
          </a:xfrm>
          <a:prstGeom prst="rect">
            <a:avLst/>
          </a:prstGeom>
          <a:noFill/>
          <a:ln w="9525">
            <a:noFill/>
            <a:miter lim="800000"/>
            <a:headEnd/>
            <a:tailEnd/>
          </a:ln>
        </p:spPr>
        <p:txBody>
          <a:bodyPr lIns="108257" tIns="54130" rIns="0" bIns="54130" anchor="t"/>
          <a:lstStyle/>
          <a:p>
            <a:pPr marL="0" lvl="1" algn="just">
              <a:spcBef>
                <a:spcPts val="200"/>
              </a:spcBef>
              <a:spcAft>
                <a:spcPts val="200"/>
              </a:spcAft>
              <a:buSzPts val="1000"/>
              <a:tabLst>
                <a:tab pos="225959" algn="l"/>
              </a:tabLst>
              <a:defRPr/>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 Served</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Technology, Media &amp; Telecommunications</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Government &amp; Public Sector</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Financial Services</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Consumer &amp; Industrial Products</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Energy &amp; Resources</a:t>
            </a:r>
          </a:p>
        </p:txBody>
      </p:sp>
      <p:pic>
        <p:nvPicPr>
          <p:cNvPr id="5" name="Picture 4">
            <a:extLst>
              <a:ext uri="{FF2B5EF4-FFF2-40B4-BE49-F238E27FC236}">
                <a16:creationId xmlns:a16="http://schemas.microsoft.com/office/drawing/2014/main" id="{EB59F124-C4DA-6D0A-C010-54CE08951C32}"/>
              </a:ext>
            </a:extLst>
          </p:cNvPr>
          <p:cNvPicPr>
            <a:picLocks noChangeAspect="1"/>
          </p:cNvPicPr>
          <p:nvPr/>
        </p:nvPicPr>
        <p:blipFill>
          <a:blip r:embed="rId2"/>
          <a:srcRect t="6207" b="6207"/>
          <a:stretch/>
        </p:blipFill>
        <p:spPr>
          <a:xfrm>
            <a:off x="813425" y="327008"/>
            <a:ext cx="1408032" cy="1485938"/>
          </a:xfrm>
          <a:prstGeom prst="ellipse">
            <a:avLst/>
          </a:prstGeom>
          <a:ln w="190500" cap="rnd">
            <a:noFill/>
            <a:prstDash val="solid"/>
          </a:ln>
          <a:effectLst/>
        </p:spPr>
      </p:pic>
      <p:sp>
        <p:nvSpPr>
          <p:cNvPr id="3" name="Title 1">
            <a:extLst>
              <a:ext uri="{FF2B5EF4-FFF2-40B4-BE49-F238E27FC236}">
                <a16:creationId xmlns:a16="http://schemas.microsoft.com/office/drawing/2014/main" id="{9BD74E6F-8283-291E-4BCC-3939EC162EB9}"/>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marL="0" marR="0" lvl="0" indent="0" algn="l" defTabSz="905920" rtl="0" eaLnBrk="1" fontAlgn="auto" latinLnBrk="0" hangingPunct="1">
              <a:lnSpc>
                <a:spcPct val="100000"/>
              </a:lnSpc>
              <a:spcBef>
                <a:spcPct val="0"/>
              </a:spcBef>
              <a:spcAft>
                <a:spcPts val="0"/>
              </a:spcAft>
              <a:buClrTx/>
              <a:buSzTx/>
              <a:buFontTx/>
              <a:buNone/>
              <a:tabLst/>
              <a:defRPr/>
            </a:pPr>
            <a:r>
              <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rPr>
              <a:t>Subject Matter Expert</a:t>
            </a:r>
          </a:p>
          <a:p>
            <a:pPr marL="0" marR="0" lvl="0" indent="0" algn="l" defTabSz="905920" rtl="0" eaLnBrk="1" fontAlgn="auto" latinLnBrk="0" hangingPunct="1">
              <a:lnSpc>
                <a:spcPct val="100000"/>
              </a:lnSpc>
              <a:spcBef>
                <a:spcPct val="0"/>
              </a:spcBef>
              <a:spcAft>
                <a:spcPts val="0"/>
              </a:spcAft>
              <a:buClrTx/>
              <a:buSzTx/>
              <a:buFontTx/>
              <a:buNone/>
              <a:tabLst/>
              <a:defRPr/>
            </a:pPr>
            <a:endPar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endParaRPr>
          </a:p>
        </p:txBody>
      </p:sp>
    </p:spTree>
    <p:extLst>
      <p:ext uri="{BB962C8B-B14F-4D97-AF65-F5344CB8AC3E}">
        <p14:creationId xmlns:p14="http://schemas.microsoft.com/office/powerpoint/2010/main" val="107551482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87900A-F1D0-42E5-B0CC-17D3F88FA4EE}"/>
              </a:ext>
            </a:extLst>
          </p:cNvPr>
          <p:cNvSpPr/>
          <p:nvPr/>
        </p:nvSpPr>
        <p:spPr bwMode="gray">
          <a:xfrm>
            <a:off x="5249" y="0"/>
            <a:ext cx="3024389"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582" b="1"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sp>
        <p:nvSpPr>
          <p:cNvPr id="10" name="Rectangle 9"/>
          <p:cNvSpPr/>
          <p:nvPr/>
        </p:nvSpPr>
        <p:spPr>
          <a:xfrm>
            <a:off x="89875" y="1984623"/>
            <a:ext cx="2855131" cy="587232"/>
          </a:xfrm>
          <a:prstGeom prst="rect">
            <a:avLst/>
          </a:prstGeom>
        </p:spPr>
        <p:txBody>
          <a:bodyPr wrap="square" lIns="0" tIns="0" rIns="0" bIns="0">
            <a:spAutoFit/>
          </a:bodyPr>
          <a:lstStyle/>
          <a:p>
            <a:pPr marL="0" marR="0" lvl="0" indent="0" algn="ctr" defTabSz="1208233" rtl="0" eaLnBrk="0" fontAlgn="auto" latinLnBrk="0" hangingPunct="0">
              <a:lnSpc>
                <a:spcPct val="110000"/>
              </a:lnSpc>
              <a:spcBef>
                <a:spcPts val="0"/>
              </a:spcBef>
              <a:spcAft>
                <a:spcPct val="0"/>
              </a:spcAft>
              <a:buClrTx/>
              <a:buSzTx/>
              <a:buFontTx/>
              <a:buNone/>
              <a:tabLst/>
              <a:defRPr/>
            </a:pPr>
            <a:r>
              <a:rPr lang="en-US" sz="2381" dirty="0">
                <a:solidFill>
                  <a:prstClr val="white"/>
                </a:solidFill>
                <a:latin typeface="Calibri Light" panose="020F0302020204030204" pitchFamily="34" charset="0"/>
                <a:cs typeface="Arial" panose="020B0604020202020204" pitchFamily="34" charset="0"/>
              </a:rPr>
              <a:t>Syed Waqi Hasan </a:t>
            </a:r>
            <a:endParaRPr kumimoji="0" lang="en-US" sz="2381"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endParaRPr>
          </a:p>
          <a:p>
            <a:pPr marL="0" marR="0" lvl="0" indent="0" algn="ctr" defTabSz="1208233" rtl="0" eaLnBrk="0" fontAlgn="auto" latinLnBrk="0" hangingPunct="0">
              <a:lnSpc>
                <a:spcPct val="110000"/>
              </a:lnSpc>
              <a:spcBef>
                <a:spcPts val="0"/>
              </a:spcBef>
              <a:spcAft>
                <a:spcPct val="0"/>
              </a:spcAft>
              <a:buClrTx/>
              <a:buSzTx/>
              <a:buFontTx/>
              <a:buNone/>
              <a:tabLst/>
              <a:defRPr/>
            </a:pPr>
            <a:r>
              <a:rPr lang="en-US" sz="1094" dirty="0">
                <a:solidFill>
                  <a:prstClr val="white"/>
                </a:solidFill>
                <a:latin typeface="Calibri Light" panose="020F0302020204030204" pitchFamily="34" charset="0"/>
                <a:cs typeface="Arial" panose="020B0604020202020204" pitchFamily="34" charset="0"/>
              </a:rPr>
              <a:t>Senior Manager</a:t>
            </a:r>
            <a:endParaRPr kumimoji="0" lang="en-US" sz="1094"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endParaRPr>
          </a:p>
        </p:txBody>
      </p:sp>
      <p:sp>
        <p:nvSpPr>
          <p:cNvPr id="16" name="Rectangle 3"/>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991" dirty="0">
                <a:solidFill>
                  <a:srgbClr val="575757"/>
                </a:solidFill>
                <a:latin typeface="Calibri Light" panose="020F0302020204030204" pitchFamily="34" charset="0"/>
              </a:rPr>
              <a:t>Syed Waqi Hasan is a Senior Manager at Deloitte’s Cyber Risk Advisory Practice. Waqi holds a Bachelor’s degree in Business Computing from University of Surrey, United Kingdom with more than 18 years of experience in Big Four Advisory, Telecommunications, Banks, Oil &amp; Gas, Manufacturing and Fintech sectors. Waqi has led teams in various projects including IT SOX 404 &amp; ISO 27001 Implementation and Compliance, Cyber &amp; Information Security Risk Management, IT Internal Audits, Business Continuity and IT Risk Management.</a:t>
            </a:r>
          </a:p>
        </p:txBody>
      </p:sp>
      <p:sp>
        <p:nvSpPr>
          <p:cNvPr id="19" name="Rectangle 18"/>
          <p:cNvSpPr/>
          <p:nvPr/>
        </p:nvSpPr>
        <p:spPr>
          <a:xfrm>
            <a:off x="332245" y="2736588"/>
            <a:ext cx="2370395" cy="2020825"/>
          </a:xfrm>
          <a:prstGeom prst="rect">
            <a:avLst/>
          </a:prstGeom>
        </p:spPr>
        <p:txBody>
          <a:bodyPr wrap="square" lIns="90818" tIns="45410" rIns="90818" bIns="45410" anchor="t">
            <a:spAutoFit/>
          </a:bodyPr>
          <a:lstStyle/>
          <a:p>
            <a:pPr marL="0" marR="0" lvl="0" indent="-159629" algn="l" defTabSz="948386" rtl="0" eaLnBrk="1" fontAlgn="auto" latinLnBrk="0" hangingPunct="1">
              <a:lnSpc>
                <a:spcPts val="1014"/>
              </a:lnSpc>
              <a:spcBef>
                <a:spcPts val="590"/>
              </a:spcBef>
              <a:spcAft>
                <a:spcPts val="0"/>
              </a:spcAft>
              <a:buClr>
                <a:srgbClr val="000066"/>
              </a:buClr>
              <a:buSzPct val="75000"/>
              <a:buFontTx/>
              <a:buNone/>
              <a:tabLst>
                <a:tab pos="1312455" algn="l"/>
              </a:tabLst>
              <a:defRPr/>
            </a:pPr>
            <a:r>
              <a:rPr kumimoji="0" lang="en-US" sz="1091"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kumimoji="0" lang="en-US" sz="2388"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a:p>
            <a:pPr marL="154122" marR="0" lvl="2" indent="-152780" algn="l" defTabSz="771834" rtl="0" eaLnBrk="1" fontAlgn="base" latinLnBrk="0" hangingPunct="1">
              <a:lnSpc>
                <a:spcPts val="1014"/>
              </a:lnSpc>
              <a:spcBef>
                <a:spcPts val="300"/>
              </a:spcBef>
              <a:spcAft>
                <a:spcPts val="300"/>
              </a:spcAft>
              <a:buClr>
                <a:srgbClr val="00A3E0"/>
              </a:buClr>
              <a:buSzPct val="100000"/>
              <a:buFont typeface="Wingdings" pitchFamily="2" charset="2"/>
              <a:buChar char="§"/>
              <a:tabLst>
                <a:tab pos="4824662" algn="l"/>
              </a:tabLst>
              <a:defRPr/>
            </a:pPr>
            <a:endParaRPr kumimoji="0" lang="en-GB"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endParaRP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BSc Business Computing</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University of Surrey</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Diploma Core Leadership-Stockholm School of Economics Oslo, Bangkok, Dubai</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Certified ISO/IEC 27001 LA</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SAP Certified Consultant (FICO)</a:t>
            </a:r>
          </a:p>
        </p:txBody>
      </p:sp>
      <p:graphicFrame>
        <p:nvGraphicFramePr>
          <p:cNvPr id="15" name="Table 14"/>
          <p:cNvGraphicFramePr>
            <a:graphicFrameLocks noGrp="1"/>
          </p:cNvGraphicFramePr>
          <p:nvPr/>
        </p:nvGraphicFramePr>
        <p:xfrm>
          <a:off x="3218079" y="4420855"/>
          <a:ext cx="8402716" cy="2111332"/>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918889">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olutions (KS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elenor</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Channel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Specialized</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GSK</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Petroleum Limited</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Faysal Bank</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ank Alfalah</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ICI Pakistan Limited</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Abbot Laboratorie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ublic Procurement Authority</a:t>
                      </a:r>
                    </a:p>
                    <a:p>
                      <a:pPr marL="171450" lvl="0" indent="-171450" algn="l" defTabSz="914400" rtl="0" eaLnBrk="1" latinLnBrk="0" hangingPunct="1">
                        <a:spcBef>
                          <a:spcPts val="300"/>
                        </a:spcBef>
                        <a:spcAft>
                          <a:spcPts val="0"/>
                        </a:spcAft>
                        <a:buFont typeface="Arial" panose="020B0604020202020204" pitchFamily="34" charset="0"/>
                        <a:buChar cha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Pakistan Stock Exchange </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3"/>
          <p:cNvSpPr txBox="1">
            <a:spLocks noChangeArrowheads="1"/>
          </p:cNvSpPr>
          <p:nvPr/>
        </p:nvSpPr>
        <p:spPr bwMode="auto">
          <a:xfrm>
            <a:off x="3207508" y="1731428"/>
            <a:ext cx="7739779" cy="2655638"/>
          </a:xfrm>
          <a:prstGeom prst="rect">
            <a:avLst/>
          </a:prstGeom>
          <a:noFill/>
          <a:ln w="9525">
            <a:noFill/>
            <a:miter lim="800000"/>
            <a:headEnd/>
            <a:tailEnd/>
          </a:ln>
        </p:spPr>
        <p:txBody>
          <a:bodyPr lIns="108257" tIns="54130" rIns="0" bIns="54130" anchor="t"/>
          <a:lstStyle/>
          <a:p>
            <a:pPr marL="189915" marR="0" lvl="0" indent="-189915" algn="l" defTabSz="914400" rtl="0" eaLnBrk="1" fontAlgn="auto" latinLnBrk="0" hangingPunct="1">
              <a:lnSpc>
                <a:spcPct val="100000"/>
              </a:lnSpc>
              <a:spcBef>
                <a:spcPts val="590"/>
              </a:spcBef>
              <a:spcAft>
                <a:spcPts val="590"/>
              </a:spcAft>
              <a:buClrTx/>
              <a:buSzTx/>
              <a:buFontTx/>
              <a:buNone/>
              <a:tabLst/>
              <a:defRPr/>
            </a:pPr>
            <a:r>
              <a:rPr kumimoji="0" lang="en-US" sz="990" b="0" i="0" u="none" strike="noStrike" kern="1200" cap="none" spc="0" normalizeH="0" baseline="0" noProof="0" dirty="0">
                <a:ln>
                  <a:noFill/>
                </a:ln>
                <a:solidFill>
                  <a:srgbClr val="005587"/>
                </a:solidFill>
                <a:effectLst/>
                <a:uLnTx/>
                <a:uFillTx/>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kumimoji="0" lang="en-US" sz="2388" b="0" i="0" u="none" strike="noStrike" kern="1200" cap="none" spc="0" normalizeH="0" baseline="0" noProof="0" dirty="0">
              <a:ln>
                <a:noFill/>
              </a:ln>
              <a:solidFill>
                <a:srgbClr val="005587"/>
              </a:solidFill>
              <a:effectLst/>
              <a:uLnTx/>
              <a:uFillTx/>
              <a:latin typeface="Calibri Light" panose="020F0302020204030204" pitchFamily="34" charset="0"/>
              <a:ea typeface="+mn-ea"/>
              <a:cs typeface="+mn-cs"/>
            </a:endParaRPr>
          </a:p>
          <a:p>
            <a:pPr marL="0" marR="0" lvl="1" indent="0" algn="just" defTabSz="914400" rtl="0" eaLnBrk="1" fontAlgn="auto" latinLnBrk="0" hangingPunct="1">
              <a:lnSpc>
                <a:spcPct val="100000"/>
              </a:lnSpc>
              <a:spcBef>
                <a:spcPts val="200"/>
              </a:spcBef>
              <a:spcAft>
                <a:spcPts val="200"/>
              </a:spcAft>
              <a:buClrTx/>
              <a:buSzPts val="1000"/>
              <a:buFontTx/>
              <a:buNone/>
              <a:tabLst>
                <a:tab pos="225959" algn="l"/>
              </a:tabLst>
              <a:defRPr/>
            </a:pPr>
            <a:r>
              <a:rPr lang="en-US" sz="991" dirty="0">
                <a:solidFill>
                  <a:srgbClr val="575757"/>
                </a:solidFill>
                <a:latin typeface="Calibri Light" panose="020F0302020204030204" pitchFamily="34" charset="0"/>
              </a:rPr>
              <a:t>Syed Waqi Hasan</a:t>
            </a: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 has led several key business continuity engagements in different sectors including Banking, Telecom, Manufacturing, etc. Key experience includes:</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Engagement Leader for Business Continuity Management Maturity Assessment at stc head office and its 13 subsidiaries , the largest telco service in the kingdom. </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Waqi has served as member of Business Continuity Steering Committee for the Telenor Pakistan and has led Business Continuity and Disaster Recovery initiatives for IT and Technology divisions.</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Led the development of Business Continuity Plan and conducted Business Impact Analysis for Faysal Bank.</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Waqi served as the member of Steering Committee for the launch of Easy Paisa ensuring that the first Mobile Banking platform in Pakistan is compliant with the Information Security, Disaster Recovery and Business Continuity requirements of Telenor Group and the State Bank of Pakistan. </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Waqi worked closely with State Bank of Pakistan to develop Branchless Banking Guidelines and achieved the first ISO27001 certification for Mobile Banking in Pakistan.</a:t>
            </a:r>
          </a:p>
          <a:p>
            <a:pPr marL="170354" marR="0" lvl="1" indent="-170354" algn="just" defTabSz="914400" rtl="0" eaLnBrk="1" fontAlgn="auto" latinLnBrk="0" hangingPunct="1">
              <a:lnSpc>
                <a:spcPct val="100000"/>
              </a:lnSpc>
              <a:spcBef>
                <a:spcPts val="200"/>
              </a:spcBef>
              <a:spcAft>
                <a:spcPts val="200"/>
              </a:spcAft>
              <a:buClrTx/>
              <a:buSzPts val="1000"/>
              <a:buFont typeface="Arial"/>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Verdana"/>
                <a:cs typeface="Calibri Light" panose="020F0302020204030204" pitchFamily="34" charset="0"/>
              </a:rPr>
              <a:t>Core team member for Business Continuity Enhancement Project (BCEP) at leading LNG company in Qatar assisting the organization in revamping its BCM Program.</a:t>
            </a:r>
          </a:p>
        </p:txBody>
      </p:sp>
      <p:sp>
        <p:nvSpPr>
          <p:cNvPr id="14" name="Triangle 28">
            <a:extLst>
              <a:ext uri="{FF2B5EF4-FFF2-40B4-BE49-F238E27FC236}">
                <a16:creationId xmlns:a16="http://schemas.microsoft.com/office/drawing/2014/main" id="{66048279-5441-4339-9FF0-1C0CA45A877E}"/>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F38C859F-33A0-4C76-6550-7820598F674B}"/>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marL="0" marR="0" lvl="0" indent="0" algn="l" defTabSz="905920" rtl="0" eaLnBrk="1" fontAlgn="auto" latinLnBrk="0" hangingPunct="1">
              <a:lnSpc>
                <a:spcPct val="100000"/>
              </a:lnSpc>
              <a:spcBef>
                <a:spcPct val="0"/>
              </a:spcBef>
              <a:spcAft>
                <a:spcPts val="0"/>
              </a:spcAft>
              <a:buClrTx/>
              <a:buSzTx/>
              <a:buFontTx/>
              <a:buNone/>
              <a:tabLst/>
              <a:defRPr/>
            </a:pPr>
            <a:r>
              <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rPr>
              <a:t>Engagement </a:t>
            </a:r>
            <a:r>
              <a:rPr lang="en-US" sz="2981" dirty="0">
                <a:solidFill>
                  <a:srgbClr val="0076A8"/>
                </a:solidFill>
                <a:latin typeface="Calibri Light" panose="020F0302020204030204" pitchFamily="34" charset="0"/>
                <a:cs typeface="Arial" panose="020B0604020202020204" pitchFamily="34" charset="0"/>
              </a:rPr>
              <a:t>Manager</a:t>
            </a:r>
            <a:endPar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endParaRPr>
          </a:p>
        </p:txBody>
      </p:sp>
      <p:pic>
        <p:nvPicPr>
          <p:cNvPr id="4" name="Picture 2" descr="Profile photo of Syed Waqi Hasan">
            <a:extLst>
              <a:ext uri="{FF2B5EF4-FFF2-40B4-BE49-F238E27FC236}">
                <a16:creationId xmlns:a16="http://schemas.microsoft.com/office/drawing/2014/main" id="{43FFD6BC-40B9-54A5-2D57-27A22C4194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185" y="276470"/>
            <a:ext cx="1417320" cy="1417320"/>
          </a:xfrm>
          <a:prstGeom prst="ellipse">
            <a:avLst/>
          </a:prstGeom>
          <a:ln w="127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946741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87900A-F1D0-42E5-B0CC-17D3F88FA4EE}"/>
              </a:ext>
            </a:extLst>
          </p:cNvPr>
          <p:cNvSpPr/>
          <p:nvPr/>
        </p:nvSpPr>
        <p:spPr bwMode="gray">
          <a:xfrm>
            <a:off x="5249" y="0"/>
            <a:ext cx="3024389"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582" b="1"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sp>
        <p:nvSpPr>
          <p:cNvPr id="10" name="Rectangle 9"/>
          <p:cNvSpPr/>
          <p:nvPr/>
        </p:nvSpPr>
        <p:spPr>
          <a:xfrm>
            <a:off x="89875" y="1984623"/>
            <a:ext cx="2855131" cy="764248"/>
          </a:xfrm>
          <a:prstGeom prst="rect">
            <a:avLst/>
          </a:prstGeom>
        </p:spPr>
        <p:txBody>
          <a:bodyPr wrap="square" lIns="0" tIns="0" rIns="0" bIns="0">
            <a:spAutoFit/>
          </a:bodyPr>
          <a:lstStyle/>
          <a:p>
            <a:pPr marL="0" marR="0" lvl="0" indent="0" algn="ctr" defTabSz="1208233" rtl="0" eaLnBrk="0" fontAlgn="auto" latinLnBrk="0" hangingPunct="0">
              <a:lnSpc>
                <a:spcPct val="110000"/>
              </a:lnSpc>
              <a:spcBef>
                <a:spcPts val="0"/>
              </a:spcBef>
              <a:spcAft>
                <a:spcPct val="0"/>
              </a:spcAft>
              <a:buClrTx/>
              <a:buSzTx/>
              <a:buFontTx/>
              <a:buNone/>
              <a:tabLst/>
              <a:defRPr/>
            </a:pPr>
            <a:r>
              <a:rPr kumimoji="0" lang="en-US" sz="2381"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rPr>
              <a:t>Chirag Kothari</a:t>
            </a:r>
          </a:p>
          <a:p>
            <a:pPr marL="0" marR="0" lvl="0" indent="0" algn="ctr" defTabSz="1208233" rtl="0" eaLnBrk="0" fontAlgn="auto" latinLnBrk="0" hangingPunct="0">
              <a:lnSpc>
                <a:spcPct val="110000"/>
              </a:lnSpc>
              <a:spcBef>
                <a:spcPts val="0"/>
              </a:spcBef>
              <a:spcAft>
                <a:spcPct val="0"/>
              </a:spcAft>
              <a:buClrTx/>
              <a:buSzTx/>
              <a:buFontTx/>
              <a:buNone/>
              <a:tabLst/>
              <a:defRPr/>
            </a:pPr>
            <a:r>
              <a:rPr kumimoji="0" lang="en-US" sz="1094"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rPr>
              <a:t>Manager, Cyber Risk Services</a:t>
            </a:r>
          </a:p>
          <a:p>
            <a:pPr marL="0" marR="0" lvl="0" indent="0" algn="ctr" defTabSz="1208233" rtl="0" eaLnBrk="0" fontAlgn="auto" latinLnBrk="0" hangingPunct="0">
              <a:lnSpc>
                <a:spcPct val="110000"/>
              </a:lnSpc>
              <a:spcBef>
                <a:spcPts val="0"/>
              </a:spcBef>
              <a:spcAft>
                <a:spcPct val="0"/>
              </a:spcAft>
              <a:buClrTx/>
              <a:buSzTx/>
              <a:buFontTx/>
              <a:buNone/>
              <a:tabLst/>
              <a:defRPr/>
            </a:pPr>
            <a:endParaRPr kumimoji="0" lang="en-US" sz="1094"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endParaRPr>
          </a:p>
        </p:txBody>
      </p:sp>
      <p:sp>
        <p:nvSpPr>
          <p:cNvPr id="16" name="Rectangle 3"/>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defRPr/>
            </a:pPr>
            <a:r>
              <a:rPr lang="en-US" sz="943" dirty="0">
                <a:solidFill>
                  <a:srgbClr val="575757"/>
                </a:solidFill>
                <a:latin typeface="Calibri Light" panose="020F0302020204030204" pitchFamily="34" charset="0"/>
              </a:rPr>
              <a:t>Chirag Kothari is a Manager with  Risk Advisory - Cyber Risk and Crisis &amp; Resilience practice at Deloitte. </a:t>
            </a:r>
          </a:p>
          <a:p>
            <a:pPr algn="just" defTabSz="1208233" fontAlgn="base">
              <a:spcBef>
                <a:spcPts val="300"/>
              </a:spcBef>
              <a:spcAft>
                <a:spcPts val="300"/>
              </a:spcAft>
              <a:defRPr/>
            </a:pPr>
            <a:r>
              <a:rPr lang="en-US" sz="943" dirty="0">
                <a:solidFill>
                  <a:srgbClr val="575757"/>
                </a:solidFill>
                <a:latin typeface="Calibri Light" panose="020F0302020204030204" pitchFamily="34" charset="0"/>
              </a:rPr>
              <a:t>He holds extensive experience in IT Disaster recovery, Cyber Resiliency, BCP and  IT strategy planning with IT- BFSI, Telecom and </a:t>
            </a:r>
            <a:r>
              <a:rPr lang="en-US" sz="943" dirty="0" err="1">
                <a:solidFill>
                  <a:srgbClr val="575757"/>
                </a:solidFill>
                <a:latin typeface="Calibri Light" panose="020F0302020204030204" pitchFamily="34" charset="0"/>
              </a:rPr>
              <a:t>ITeS</a:t>
            </a:r>
            <a:r>
              <a:rPr lang="en-US" sz="943" dirty="0">
                <a:solidFill>
                  <a:srgbClr val="575757"/>
                </a:solidFill>
                <a:latin typeface="Calibri Light" panose="020F0302020204030204" pitchFamily="34" charset="0"/>
              </a:rPr>
              <a:t>.</a:t>
            </a:r>
          </a:p>
        </p:txBody>
      </p:sp>
      <p:sp>
        <p:nvSpPr>
          <p:cNvPr id="19" name="Rectangle 18"/>
          <p:cNvSpPr/>
          <p:nvPr/>
        </p:nvSpPr>
        <p:spPr>
          <a:xfrm>
            <a:off x="332245" y="2736588"/>
            <a:ext cx="2370395" cy="2206645"/>
          </a:xfrm>
          <a:prstGeom prst="rect">
            <a:avLst/>
          </a:prstGeom>
        </p:spPr>
        <p:txBody>
          <a:bodyPr wrap="square" lIns="90818" tIns="45410" rIns="90818" bIns="45410" anchor="t">
            <a:spAutoFit/>
          </a:bodyPr>
          <a:lstStyle/>
          <a:p>
            <a:pPr marL="0" marR="0" lvl="0" indent="-159629" algn="l" defTabSz="948386" rtl="0" eaLnBrk="1" fontAlgn="auto" latinLnBrk="0" hangingPunct="1">
              <a:lnSpc>
                <a:spcPts val="1014"/>
              </a:lnSpc>
              <a:spcBef>
                <a:spcPts val="590"/>
              </a:spcBef>
              <a:spcAft>
                <a:spcPts val="0"/>
              </a:spcAft>
              <a:buClr>
                <a:srgbClr val="000066"/>
              </a:buClr>
              <a:buSzPct val="75000"/>
              <a:buFontTx/>
              <a:buNone/>
              <a:tabLst>
                <a:tab pos="1312455" algn="l"/>
              </a:tabLst>
              <a:defRPr/>
            </a:pPr>
            <a:r>
              <a:rPr kumimoji="0" lang="en-US" sz="1091"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endParaRP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MBA - IT</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BSC.IT</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Certified Google cloud digital leader</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ISO22301 BCMS Lead implementor</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Certified Scrum Master</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ITIL V3 </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Oracle OCA &amp; OCP</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endPar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endParaRPr>
          </a:p>
        </p:txBody>
      </p:sp>
      <p:sp>
        <p:nvSpPr>
          <p:cNvPr id="13" name="Rectangle 3"/>
          <p:cNvSpPr txBox="1">
            <a:spLocks noChangeArrowheads="1"/>
          </p:cNvSpPr>
          <p:nvPr/>
        </p:nvSpPr>
        <p:spPr bwMode="auto">
          <a:xfrm>
            <a:off x="3207508" y="1731427"/>
            <a:ext cx="8115794" cy="2478623"/>
          </a:xfrm>
          <a:prstGeom prst="rect">
            <a:avLst/>
          </a:prstGeom>
          <a:noFill/>
          <a:ln w="9525">
            <a:noFill/>
            <a:miter lim="800000"/>
            <a:headEnd/>
            <a:tailEnd/>
          </a:ln>
        </p:spPr>
        <p:txBody>
          <a:bodyPr lIns="108257" tIns="54130" rIns="0" bIns="54130" anchor="t"/>
          <a:lstStyle/>
          <a:p>
            <a:pPr marL="189915" marR="0" lvl="0" indent="-189915" algn="l" defTabSz="914400" rtl="0" eaLnBrk="1" fontAlgn="auto" latinLnBrk="0" hangingPunct="1">
              <a:lnSpc>
                <a:spcPct val="100000"/>
              </a:lnSpc>
              <a:spcBef>
                <a:spcPts val="590"/>
              </a:spcBef>
              <a:spcAft>
                <a:spcPts val="590"/>
              </a:spcAft>
              <a:buClrTx/>
              <a:buSzTx/>
              <a:buFontTx/>
              <a:buNone/>
              <a:tabLst/>
              <a:defRPr/>
            </a:pPr>
            <a:r>
              <a:rPr kumimoji="0" lang="en-US" sz="990" b="0" i="0" u="none" strike="noStrike" kern="1200" cap="none" spc="0" normalizeH="0" baseline="0" noProof="0" dirty="0">
                <a:ln>
                  <a:noFill/>
                </a:ln>
                <a:solidFill>
                  <a:srgbClr val="005587"/>
                </a:solidFill>
                <a:effectLst/>
                <a:uLnTx/>
                <a:uFillTx/>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kumimoji="0" lang="en-US" sz="2388" b="0" i="0" u="none" strike="noStrike" kern="1200" cap="none" spc="0" normalizeH="0" baseline="0" noProof="0" dirty="0">
              <a:ln>
                <a:noFill/>
              </a:ln>
              <a:solidFill>
                <a:srgbClr val="005587"/>
              </a:solidFill>
              <a:effectLst/>
              <a:uLnTx/>
              <a:uFillTx/>
              <a:latin typeface="Calibri Light" panose="020F0302020204030204" pitchFamily="34" charset="0"/>
              <a:ea typeface="+mn-ea"/>
              <a:cs typeface="+mn-cs"/>
            </a:endParaRP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Led multiple engagement on IT DR , Cyber resilience and BCP assessments for leading banks, telecom and technology companies in India and Middle East Asia</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Develop cyber resilience, IT DR and Cloud recovery framework, plan for leading private banks in India</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Design strategic plan on data center migration ensuring continuity of services, cloud recovery optimizing resources and cost for private sector bank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Setup and operationalized end to end IT DR program for leading bank in India</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Led in defining  robust &amp; optimized DR recovery procedure by building different DR scenarios, suite of business application and prioritization to fail-over in case of data center/ city level disaster for private banks </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Designed disaster recovery maturity matrix to project DR capability and DR process re-engineering  model with a 360-degree view to cover DR landscape across different industrie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Develop and conduct cyber simulation for senior leadership to gauge their and  organizations response capabilitie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Developed crisis management framework and plans for organization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designed, automated and tested complete recovery procedure for several critical banking services such Core Banking System , Customer facings channels like ATMs, Internet Banking and Digital Platform Services like Mobile Banking ,Payment Wallets ,UPI ,IMPS etc.</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Optimize Recovery Time Objective by implementing best DR implementation practice, understand of system architecture, automation and DR operating model</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Implemented banking solutions like Bancs@24,Bancs@Treasury,Bancs@AML for various co-operative and International Bank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Focused on automation  and optimization of resources</a:t>
            </a:r>
          </a:p>
        </p:txBody>
      </p:sp>
      <p:sp>
        <p:nvSpPr>
          <p:cNvPr id="14" name="Triangle 28">
            <a:extLst>
              <a:ext uri="{FF2B5EF4-FFF2-40B4-BE49-F238E27FC236}">
                <a16:creationId xmlns:a16="http://schemas.microsoft.com/office/drawing/2014/main" id="{66048279-5441-4339-9FF0-1C0CA45A877E}"/>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pic>
        <p:nvPicPr>
          <p:cNvPr id="5" name="Picture 4" descr="A person in a suit&#10;&#10;Description automatically generated with low confidence">
            <a:extLst>
              <a:ext uri="{FF2B5EF4-FFF2-40B4-BE49-F238E27FC236}">
                <a16:creationId xmlns:a16="http://schemas.microsoft.com/office/drawing/2014/main" id="{7E815D9D-DE21-4208-0B45-F080A5B73C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3424" y="327008"/>
            <a:ext cx="1408033" cy="1466058"/>
          </a:xfrm>
          <a:prstGeom prst="ellipse">
            <a:avLst/>
          </a:prstGeom>
          <a:ln w="190500" cap="rnd">
            <a:noFill/>
            <a:prstDash val="solid"/>
          </a:ln>
          <a:effectLst/>
        </p:spPr>
      </p:pic>
      <p:sp>
        <p:nvSpPr>
          <p:cNvPr id="6" name="Rectangle 3">
            <a:extLst>
              <a:ext uri="{FF2B5EF4-FFF2-40B4-BE49-F238E27FC236}">
                <a16:creationId xmlns:a16="http://schemas.microsoft.com/office/drawing/2014/main" id="{8C8344D7-E8DF-DC3F-5AD4-4FD6BA0AD620}"/>
              </a:ext>
            </a:extLst>
          </p:cNvPr>
          <p:cNvSpPr txBox="1">
            <a:spLocks noChangeArrowheads="1"/>
          </p:cNvSpPr>
          <p:nvPr/>
        </p:nvSpPr>
        <p:spPr bwMode="auto">
          <a:xfrm>
            <a:off x="3207508" y="5194026"/>
            <a:ext cx="8115794" cy="2478623"/>
          </a:xfrm>
          <a:prstGeom prst="rect">
            <a:avLst/>
          </a:prstGeom>
          <a:noFill/>
          <a:ln w="9525">
            <a:noFill/>
            <a:miter lim="800000"/>
            <a:headEnd/>
            <a:tailEnd/>
          </a:ln>
        </p:spPr>
        <p:txBody>
          <a:bodyPr lIns="108257" tIns="54130" rIns="0" bIns="54130" anchor="t"/>
          <a:lstStyle/>
          <a:p>
            <a:pPr marL="0" lvl="1" algn="just">
              <a:spcBef>
                <a:spcPts val="200"/>
              </a:spcBef>
              <a:spcAft>
                <a:spcPts val="200"/>
              </a:spcAft>
              <a:buSzPts val="1000"/>
              <a:tabLst>
                <a:tab pos="225959" algn="l"/>
              </a:tabLst>
              <a:defRPr/>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 Served</a:t>
            </a:r>
            <a:endParaRPr lang="en-US" sz="991" dirty="0">
              <a:solidFill>
                <a:srgbClr val="575757"/>
              </a:solidFill>
              <a:latin typeface="Calibri Light" panose="020F0302020204030204" pitchFamily="34" charset="0"/>
            </a:endParaRP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Banking</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Insurance</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Brokerage &amp; Securities</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Telecom</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err="1">
                <a:solidFill>
                  <a:srgbClr val="575757"/>
                </a:solidFill>
                <a:latin typeface="Calibri Light" panose="020F0302020204030204" pitchFamily="34" charset="0"/>
              </a:rPr>
              <a:t>ITeS</a:t>
            </a:r>
            <a:endParaRPr lang="en-US" sz="991" dirty="0">
              <a:solidFill>
                <a:srgbClr val="575757"/>
              </a:solidFill>
              <a:latin typeface="Calibri Light" panose="020F0302020204030204" pitchFamily="34" charset="0"/>
            </a:endParaRPr>
          </a:p>
          <a:p>
            <a:pPr marL="171450" lvl="1" indent="-171450" algn="just">
              <a:spcBef>
                <a:spcPts val="200"/>
              </a:spcBef>
              <a:spcAft>
                <a:spcPts val="200"/>
              </a:spcAft>
              <a:buSzPts val="1000"/>
              <a:buFont typeface="Arial" panose="020B0604020202020204" pitchFamily="34" charset="0"/>
              <a:buChar char="•"/>
              <a:tabLst>
                <a:tab pos="225959" algn="l"/>
              </a:tabLst>
              <a:defRPr/>
            </a:pPr>
            <a:endParaRPr lang="en-US" sz="991" dirty="0">
              <a:solidFill>
                <a:srgbClr val="575757"/>
              </a:solidFill>
              <a:latin typeface="Calibri Light" panose="020F0302020204030204" pitchFamily="34" charset="0"/>
            </a:endParaRPr>
          </a:p>
        </p:txBody>
      </p:sp>
      <p:sp>
        <p:nvSpPr>
          <p:cNvPr id="3" name="Title 1">
            <a:extLst>
              <a:ext uri="{FF2B5EF4-FFF2-40B4-BE49-F238E27FC236}">
                <a16:creationId xmlns:a16="http://schemas.microsoft.com/office/drawing/2014/main" id="{CA2D6626-D3F8-E497-7503-CA221AEF935E}"/>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marL="0" marR="0" lvl="0" indent="0" algn="l" defTabSz="905920" rtl="0" eaLnBrk="1" fontAlgn="auto" latinLnBrk="0" hangingPunct="1">
              <a:lnSpc>
                <a:spcPct val="100000"/>
              </a:lnSpc>
              <a:spcBef>
                <a:spcPct val="0"/>
              </a:spcBef>
              <a:spcAft>
                <a:spcPts val="0"/>
              </a:spcAft>
              <a:buClrTx/>
              <a:buSzTx/>
              <a:buFontTx/>
              <a:buNone/>
              <a:tabLst/>
              <a:defRPr/>
            </a:pPr>
            <a:r>
              <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rPr>
              <a:t>Subject Matter Expert</a:t>
            </a:r>
          </a:p>
          <a:p>
            <a:pPr marL="0" marR="0" lvl="0" indent="0" algn="l" defTabSz="905920" rtl="0" eaLnBrk="1" fontAlgn="auto" latinLnBrk="0" hangingPunct="1">
              <a:lnSpc>
                <a:spcPct val="100000"/>
              </a:lnSpc>
              <a:spcBef>
                <a:spcPct val="0"/>
              </a:spcBef>
              <a:spcAft>
                <a:spcPts val="0"/>
              </a:spcAft>
              <a:buClrTx/>
              <a:buSzTx/>
              <a:buFontTx/>
              <a:buNone/>
              <a:tabLst/>
              <a:defRPr/>
            </a:pPr>
            <a:endPar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endParaRPr>
          </a:p>
        </p:txBody>
      </p:sp>
    </p:spTree>
    <p:extLst>
      <p:ext uri="{BB962C8B-B14F-4D97-AF65-F5344CB8AC3E}">
        <p14:creationId xmlns:p14="http://schemas.microsoft.com/office/powerpoint/2010/main" val="115341315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04537C-1566-AE89-6C90-2F3BEAE1B50A}"/>
              </a:ext>
            </a:extLst>
          </p:cNvPr>
          <p:cNvSpPr/>
          <p:nvPr/>
        </p:nvSpPr>
        <p:spPr bwMode="gray">
          <a:xfrm>
            <a:off x="0" y="-110"/>
            <a:ext cx="3006547" cy="685811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4" name="Rectangle 3">
            <a:extLst>
              <a:ext uri="{FF2B5EF4-FFF2-40B4-BE49-F238E27FC236}">
                <a16:creationId xmlns:a16="http://schemas.microsoft.com/office/drawing/2014/main" id="{77A95162-F37E-748E-F7FD-967C8874B51A}"/>
              </a:ext>
            </a:extLst>
          </p:cNvPr>
          <p:cNvSpPr/>
          <p:nvPr/>
        </p:nvSpPr>
        <p:spPr>
          <a:xfrm>
            <a:off x="65332" y="2011307"/>
            <a:ext cx="2855131" cy="5872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Esam Shana’a</a:t>
            </a:r>
          </a:p>
          <a:p>
            <a:pPr algn="ctr" defTabSz="1208233" eaLnBrk="0" hangingPunct="0">
              <a:lnSpc>
                <a:spcPct val="110000"/>
              </a:lnSpc>
              <a:spcAft>
                <a:spcPct val="0"/>
              </a:spcAft>
            </a:pPr>
            <a:r>
              <a:rPr lang="en-US" sz="1094" dirty="0">
                <a:solidFill>
                  <a:prstClr val="white"/>
                </a:solidFill>
                <a:latin typeface="Calibri Light" panose="020F0302020204030204" pitchFamily="34" charset="0"/>
                <a:cs typeface="Arial" panose="020B0604020202020204" pitchFamily="34" charset="0"/>
              </a:rPr>
              <a:t>Senior Manager</a:t>
            </a:r>
          </a:p>
        </p:txBody>
      </p:sp>
      <p:sp>
        <p:nvSpPr>
          <p:cNvPr id="6" name="Rectangle 3">
            <a:extLst>
              <a:ext uri="{FF2B5EF4-FFF2-40B4-BE49-F238E27FC236}">
                <a16:creationId xmlns:a16="http://schemas.microsoft.com/office/drawing/2014/main" id="{17BFE7F7-5BF0-69D2-BEC6-574DA552DE46}"/>
              </a:ext>
            </a:extLst>
          </p:cNvPr>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pPr>
            <a:r>
              <a:rPr lang="en-US" sz="943" dirty="0">
                <a:solidFill>
                  <a:srgbClr val="575757"/>
                </a:solidFill>
                <a:latin typeface="Calibri Light" panose="020F0302020204030204" pitchFamily="34" charset="0"/>
              </a:rPr>
              <a:t>Esam is a Senior Manager in Risk Advisory - Cyber &amp; Technology Risk - based in Riyadh with over than 19 years of experience in the field of Business Continuity Management, Risk Management and BCM software implementation. </a:t>
            </a:r>
          </a:p>
          <a:p>
            <a:pPr algn="just" defTabSz="1208233" fontAlgn="base">
              <a:spcBef>
                <a:spcPts val="300"/>
              </a:spcBef>
              <a:spcAft>
                <a:spcPts val="300"/>
              </a:spcAft>
            </a:pPr>
            <a:r>
              <a:rPr lang="en-US" sz="943" dirty="0">
                <a:solidFill>
                  <a:srgbClr val="575757"/>
                </a:solidFill>
                <a:latin typeface="Calibri Light" panose="020F0302020204030204" pitchFamily="34" charset="0"/>
              </a:rPr>
              <a:t>Prior to joining Deloitte, Esam has held several positions with multiple Consulting and Information Technology firms as a Business Continuity Manager.</a:t>
            </a:r>
          </a:p>
          <a:p>
            <a:pPr algn="just" defTabSz="1208233" fontAlgn="base">
              <a:spcBef>
                <a:spcPts val="300"/>
              </a:spcBef>
              <a:spcAft>
                <a:spcPts val="300"/>
              </a:spcAft>
            </a:pPr>
            <a:r>
              <a:rPr lang="en-US" sz="943" dirty="0">
                <a:solidFill>
                  <a:srgbClr val="575757"/>
                </a:solidFill>
                <a:latin typeface="Calibri Light" panose="020F0302020204030204" pitchFamily="34" charset="0"/>
              </a:rPr>
              <a:t>Esam has also worked as an Assistant Risk Manager for one of the leading Banks in Jordan where he was supporting Operational Risk ,Business Continuity and Information Security.</a:t>
            </a:r>
          </a:p>
        </p:txBody>
      </p:sp>
      <p:sp>
        <p:nvSpPr>
          <p:cNvPr id="7" name="Rectangle 6">
            <a:extLst>
              <a:ext uri="{FF2B5EF4-FFF2-40B4-BE49-F238E27FC236}">
                <a16:creationId xmlns:a16="http://schemas.microsoft.com/office/drawing/2014/main" id="{8A005666-B5B6-D654-4190-98BDD95D3001}"/>
              </a:ext>
            </a:extLst>
          </p:cNvPr>
          <p:cNvSpPr/>
          <p:nvPr/>
        </p:nvSpPr>
        <p:spPr>
          <a:xfrm>
            <a:off x="397549" y="2698487"/>
            <a:ext cx="2370395" cy="3765825"/>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54122" lvl="2" indent="-152780" defTabSz="771834" fontAlgn="base">
              <a:lnSpc>
                <a:spcPts val="1014"/>
              </a:lnSpc>
              <a:spcBef>
                <a:spcPts val="300"/>
              </a:spcBef>
              <a:spcAft>
                <a:spcPts val="300"/>
              </a:spcAft>
              <a:buClr>
                <a:srgbClr val="00A3E0"/>
              </a:buClr>
              <a:buSzPct val="100000"/>
              <a:buFont typeface="Wingdings" pitchFamily="2" charset="2"/>
              <a:buChar char="§"/>
              <a:tabLst>
                <a:tab pos="4824662" algn="l"/>
              </a:tabLst>
              <a:defRPr/>
            </a:pPr>
            <a:endParaRPr lang="en-GB"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achelors of Science (BSc) in Accounting Sciences from Al Mustansiryah University – Iraq</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2301 Business Continuity Management System Lead Implementer.</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7001 Information Security Management Systems Lead Implementer and Lead Auditor. </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by Business Continuity Institute (CBCI) </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Member of the Business Continuity Institute (MBCI)</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7001 Information Security Management Systems Lead Implementer and Lead Auditor. </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endParaRPr lang="en-US" sz="1041" dirty="0">
              <a:solidFill>
                <a:srgbClr val="FFFFFF"/>
              </a:solidFill>
              <a:latin typeface="Calibri Light" panose="020F0302020204030204" pitchFamily="34" charset="0"/>
              <a:ea typeface="Verdana" panose="020B0604030504040204" pitchFamily="34" charset="0"/>
            </a:endParaRPr>
          </a:p>
        </p:txBody>
      </p:sp>
      <p:graphicFrame>
        <p:nvGraphicFramePr>
          <p:cNvPr id="8" name="Table 7">
            <a:extLst>
              <a:ext uri="{FF2B5EF4-FFF2-40B4-BE49-F238E27FC236}">
                <a16:creationId xmlns:a16="http://schemas.microsoft.com/office/drawing/2014/main" id="{48EE397C-CD90-9EBE-B994-424CE4C7DBAA}"/>
              </a:ext>
            </a:extLst>
          </p:cNvPr>
          <p:cNvGraphicFramePr>
            <a:graphicFrameLocks noGrp="1"/>
          </p:cNvGraphicFramePr>
          <p:nvPr>
            <p:extLst>
              <p:ext uri="{D42A27DB-BD31-4B8C-83A1-F6EECF244321}">
                <p14:modId xmlns:p14="http://schemas.microsoft.com/office/powerpoint/2010/main" val="2484792351"/>
              </p:ext>
            </p:extLst>
          </p:nvPr>
        </p:nvGraphicFramePr>
        <p:xfrm>
          <a:off x="3218079" y="5321733"/>
          <a:ext cx="8402716" cy="1908138"/>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908138">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1000" kern="1200" noProof="0" dirty="0">
                        <a:solidFill>
                          <a:srgbClr val="00558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tc Solutions in Saudi Arabi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Royal Commission for AlUl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Government Agency in Saudi Arabia</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ading Commercial and Islamic Banks in M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Uptown Jeddah Company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hiqah Business Service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Leading Insurance Company in Jordan</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E-Government Program - Yesser</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Saudi Railway Company – SAR</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9" name="Rectangle 3">
            <a:extLst>
              <a:ext uri="{FF2B5EF4-FFF2-40B4-BE49-F238E27FC236}">
                <a16:creationId xmlns:a16="http://schemas.microsoft.com/office/drawing/2014/main" id="{641EC4A9-EDBE-D9D6-8374-E91D9595BC10}"/>
              </a:ext>
            </a:extLst>
          </p:cNvPr>
          <p:cNvSpPr txBox="1">
            <a:spLocks noChangeArrowheads="1"/>
          </p:cNvSpPr>
          <p:nvPr/>
        </p:nvSpPr>
        <p:spPr bwMode="auto">
          <a:xfrm>
            <a:off x="3218076" y="2332228"/>
            <a:ext cx="7739779" cy="2931977"/>
          </a:xfrm>
          <a:prstGeom prst="rect">
            <a:avLst/>
          </a:prstGeom>
          <a:noFill/>
          <a:ln w="9525">
            <a:noFill/>
            <a:miter lim="800000"/>
            <a:headEnd/>
            <a:tailEnd/>
          </a:ln>
        </p:spPr>
        <p:txBody>
          <a:bodyPr lIns="108257" tIns="54130" rIns="0" bIns="54130" anchor="t"/>
          <a:lstStyle/>
          <a:p>
            <a:pPr marL="189915" indent="-189915">
              <a:spcBef>
                <a:spcPts val="590"/>
              </a:spcBef>
              <a:spcAft>
                <a:spcPts val="590"/>
              </a:spcAft>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lang="en-US" sz="2388" dirty="0">
              <a:solidFill>
                <a:srgbClr val="005587"/>
              </a:solidFill>
              <a:latin typeface="Calibri Light" panose="020F0302020204030204" pitchFamily="34" charset="0"/>
            </a:endParaRPr>
          </a:p>
          <a:p>
            <a:pPr marL="0" lvl="1" algn="just">
              <a:spcBef>
                <a:spcPts val="200"/>
              </a:spcBef>
              <a:spcAft>
                <a:spcPts val="200"/>
              </a:spcAft>
              <a:buSzPts val="1000"/>
              <a:tabLst>
                <a:tab pos="225959" algn="l"/>
              </a:tabLst>
              <a:defRPr/>
            </a:pPr>
            <a:r>
              <a:rPr lang="en-US" sz="991" dirty="0">
                <a:solidFill>
                  <a:srgbClr val="575757"/>
                </a:solidFill>
                <a:latin typeface="Calibri Light" panose="020F0302020204030204" pitchFamily="34" charset="0"/>
              </a:rPr>
              <a:t>Esam has performed and managed engagements in a wide range of environments, including:</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Managed and performed Business Impact Analysis (BIA) exercise that included identifying the urgency of each of the in scope business activities undertaken by the organization by assessing the impact of interrupting those activates over a defined timeframe.</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Design/Manage/conduct BCM Awareness and training for Staff. </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Development/Review/Update of Business Continuity Plans &amp; Crisis Management Plan (in line with ISO 22301/BS2599 &amp; regulatory guidelines/circulars /regulation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Executed and managed self assessment exercises that covered Policies, BCPs, BCP testing to ensure alignment with ISO 22301.</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Participated in Implementing Disaster Recovery centers, and developing DRP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Participated in Implementing Business Alternative site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Executed and Managed Implementations of Business continuity Tools.</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Conduct BCM Audit against ISO 22301 , SAMA Framework</a:t>
            </a:r>
          </a:p>
          <a:p>
            <a:pPr marL="170354" lvl="1" indent="-170354" algn="just">
              <a:spcBef>
                <a:spcPts val="200"/>
              </a:spcBef>
              <a:spcAft>
                <a:spcPts val="200"/>
              </a:spcAft>
              <a:buSzPts val="1000"/>
              <a:buFont typeface="Arial"/>
              <a:buChar char="•"/>
              <a:tabLst>
                <a:tab pos="225959" algn="l"/>
              </a:tabLst>
              <a:defRPr/>
            </a:pPr>
            <a:r>
              <a:rPr lang="en-US" sz="991" dirty="0">
                <a:solidFill>
                  <a:srgbClr val="575757"/>
                </a:solidFill>
                <a:latin typeface="Calibri Light" panose="020F0302020204030204" pitchFamily="34" charset="0"/>
              </a:rPr>
              <a:t>Managed Risk and Compliance related IT projects.</a:t>
            </a:r>
          </a:p>
        </p:txBody>
      </p:sp>
      <p:pic>
        <p:nvPicPr>
          <p:cNvPr id="11" name="Picture 2">
            <a:extLst>
              <a:ext uri="{FF2B5EF4-FFF2-40B4-BE49-F238E27FC236}">
                <a16:creationId xmlns:a16="http://schemas.microsoft.com/office/drawing/2014/main" id="{C24B1E00-8B69-444E-C77E-288899A0330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76" t="3959" r="976" b="15861"/>
          <a:stretch/>
        </p:blipFill>
        <p:spPr bwMode="auto">
          <a:xfrm>
            <a:off x="790843" y="290582"/>
            <a:ext cx="1404101" cy="1436567"/>
          </a:xfrm>
          <a:prstGeom prst="ellipse">
            <a:avLst/>
          </a:prstGeom>
          <a:extLst>
            <a:ext uri="{909E8E84-426E-40DD-AFC4-6F175D3DCCD1}">
              <a14:hiddenFill xmlns:a14="http://schemas.microsoft.com/office/drawing/2010/main">
                <a:solidFill>
                  <a:srgbClr val="FFFFFF"/>
                </a:solidFill>
              </a14:hiddenFill>
            </a:ext>
          </a:extLst>
        </p:spPr>
      </p:pic>
      <p:sp>
        <p:nvSpPr>
          <p:cNvPr id="12" name="Triangle 28">
            <a:extLst>
              <a:ext uri="{FF2B5EF4-FFF2-40B4-BE49-F238E27FC236}">
                <a16:creationId xmlns:a16="http://schemas.microsoft.com/office/drawing/2014/main" id="{244ECBD7-32A1-708E-9B2C-291DDC0C160D}"/>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17" name="Title 1">
            <a:extLst>
              <a:ext uri="{FF2B5EF4-FFF2-40B4-BE49-F238E27FC236}">
                <a16:creationId xmlns:a16="http://schemas.microsoft.com/office/drawing/2014/main" id="{34C03439-0577-6FEF-5A17-971DE4CA51DC}"/>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0076A8"/>
                </a:solidFill>
                <a:latin typeface="Calibri Light" panose="020F0302020204030204" pitchFamily="34" charset="0"/>
                <a:cs typeface="Arial" panose="020B0604020202020204" pitchFamily="34" charset="0"/>
              </a:rPr>
              <a:t>Subject Matter Expert</a:t>
            </a:r>
          </a:p>
        </p:txBody>
      </p:sp>
    </p:spTree>
    <p:extLst>
      <p:ext uri="{BB962C8B-B14F-4D97-AF65-F5344CB8AC3E}">
        <p14:creationId xmlns:p14="http://schemas.microsoft.com/office/powerpoint/2010/main" val="9346787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87900A-F1D0-42E5-B0CC-17D3F88FA4EE}"/>
              </a:ext>
            </a:extLst>
          </p:cNvPr>
          <p:cNvSpPr/>
          <p:nvPr/>
        </p:nvSpPr>
        <p:spPr bwMode="gray">
          <a:xfrm>
            <a:off x="5249" y="0"/>
            <a:ext cx="3024389"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582" b="1"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sp>
        <p:nvSpPr>
          <p:cNvPr id="10" name="Rectangle 9"/>
          <p:cNvSpPr/>
          <p:nvPr/>
        </p:nvSpPr>
        <p:spPr>
          <a:xfrm>
            <a:off x="89875" y="1984623"/>
            <a:ext cx="2855131" cy="579005"/>
          </a:xfrm>
          <a:prstGeom prst="rect">
            <a:avLst/>
          </a:prstGeom>
        </p:spPr>
        <p:txBody>
          <a:bodyPr wrap="square" lIns="0" tIns="0" rIns="0" bIns="0">
            <a:spAutoFit/>
          </a:bodyPr>
          <a:lstStyle/>
          <a:p>
            <a:pPr marL="0" marR="0" lvl="0" indent="0" algn="ctr" defTabSz="1208233" rtl="0" eaLnBrk="0" fontAlgn="auto" latinLnBrk="0" hangingPunct="0">
              <a:lnSpc>
                <a:spcPct val="110000"/>
              </a:lnSpc>
              <a:spcBef>
                <a:spcPts val="0"/>
              </a:spcBef>
              <a:spcAft>
                <a:spcPct val="0"/>
              </a:spcAft>
              <a:buClrTx/>
              <a:buSzTx/>
              <a:buFontTx/>
              <a:buNone/>
              <a:tabLst/>
              <a:defRPr/>
            </a:pPr>
            <a:r>
              <a:rPr kumimoji="0" lang="en-US" sz="2381"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rPr>
              <a:t>Deepak Sinha</a:t>
            </a:r>
          </a:p>
          <a:p>
            <a:pPr marL="0" marR="0" lvl="0" indent="0" algn="ctr" defTabSz="1208233" rtl="0" eaLnBrk="0" fontAlgn="auto" latinLnBrk="0" hangingPunct="0">
              <a:lnSpc>
                <a:spcPct val="110000"/>
              </a:lnSpc>
              <a:spcBef>
                <a:spcPts val="0"/>
              </a:spcBef>
              <a:spcAft>
                <a:spcPct val="0"/>
              </a:spcAft>
              <a:buClrTx/>
              <a:buSzTx/>
              <a:buFontTx/>
              <a:buNone/>
              <a:tabLst/>
              <a:defRPr/>
            </a:pPr>
            <a:r>
              <a:rPr kumimoji="0" lang="en-US" sz="1094"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rPr>
              <a:t>Deputy Manager Risk Advisory</a:t>
            </a:r>
          </a:p>
        </p:txBody>
      </p:sp>
      <p:sp>
        <p:nvSpPr>
          <p:cNvPr id="16" name="Rectangle 3"/>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defRPr/>
            </a:pPr>
            <a:r>
              <a:rPr lang="en-US" sz="943" dirty="0">
                <a:solidFill>
                  <a:srgbClr val="575757"/>
                </a:solidFill>
                <a:latin typeface="Calibri Light" panose="020F0302020204030204" pitchFamily="34" charset="0"/>
              </a:rPr>
              <a:t>Deepak is a Deputy Manager in  Risk Advisory team of Deloitte </a:t>
            </a:r>
            <a:r>
              <a:rPr lang="en-US" sz="943" dirty="0" err="1">
                <a:solidFill>
                  <a:srgbClr val="575757"/>
                </a:solidFill>
                <a:latin typeface="Calibri Light" panose="020F0302020204030204" pitchFamily="34" charset="0"/>
              </a:rPr>
              <a:t>Touche</a:t>
            </a:r>
            <a:r>
              <a:rPr lang="en-US" sz="943" dirty="0">
                <a:solidFill>
                  <a:srgbClr val="575757"/>
                </a:solidFill>
                <a:latin typeface="Calibri Light" panose="020F0302020204030204" pitchFamily="34" charset="0"/>
              </a:rPr>
              <a:t> Tohmatsu India LLP with overall 13 years of expertise. He manages the delivery of engagements in Chennai location and supporting other locations as and when needed. He is a risk professional and ISO 9000-27001 (LA), ISO 22301:2019 (LA), HIPPA certified Professional. His core areas of specialization lies in Risk Management, Compliances, Business continuity management, Crisis Management, IT Disaster Recovery and Information Security Management System.</a:t>
            </a:r>
          </a:p>
        </p:txBody>
      </p:sp>
      <p:sp>
        <p:nvSpPr>
          <p:cNvPr id="19" name="Rectangle 18"/>
          <p:cNvSpPr/>
          <p:nvPr/>
        </p:nvSpPr>
        <p:spPr>
          <a:xfrm>
            <a:off x="332245" y="2736588"/>
            <a:ext cx="2370395" cy="783948"/>
          </a:xfrm>
          <a:prstGeom prst="rect">
            <a:avLst/>
          </a:prstGeom>
        </p:spPr>
        <p:txBody>
          <a:bodyPr wrap="square" lIns="90818" tIns="45410" rIns="90818" bIns="45410" anchor="t">
            <a:spAutoFit/>
          </a:bodyPr>
          <a:lstStyle/>
          <a:p>
            <a:pPr marL="0" marR="0" lvl="0" indent="-159629" algn="l" defTabSz="948386" rtl="0" eaLnBrk="1" fontAlgn="auto" latinLnBrk="0" hangingPunct="1">
              <a:lnSpc>
                <a:spcPts val="1014"/>
              </a:lnSpc>
              <a:spcBef>
                <a:spcPts val="590"/>
              </a:spcBef>
              <a:spcAft>
                <a:spcPts val="0"/>
              </a:spcAft>
              <a:buClr>
                <a:srgbClr val="000066"/>
              </a:buClr>
              <a:buSzPct val="75000"/>
              <a:buFontTx/>
              <a:buNone/>
              <a:tabLst>
                <a:tab pos="1312455" algn="l"/>
              </a:tabLst>
              <a:defRPr/>
            </a:pPr>
            <a:r>
              <a:rPr kumimoji="0" lang="en-US" sz="1091"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endParaRP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PGDBA (Marketing Management)</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err="1">
                <a:ln>
                  <a:noFill/>
                </a:ln>
                <a:solidFill>
                  <a:srgbClr val="FFFFFF"/>
                </a:solidFill>
                <a:effectLst/>
                <a:uLnTx/>
                <a:uFillTx/>
                <a:latin typeface="Calibri Light" panose="020F0302020204030204" pitchFamily="34" charset="0"/>
                <a:ea typeface="Verdana" panose="020B0604030504040204" pitchFamily="34" charset="0"/>
                <a:cs typeface="+mn-cs"/>
              </a:rPr>
              <a:t>B.Sc</a:t>
            </a: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 (Electronics)</a:t>
            </a:r>
          </a:p>
        </p:txBody>
      </p:sp>
      <p:sp>
        <p:nvSpPr>
          <p:cNvPr id="13" name="Rectangle 3"/>
          <p:cNvSpPr txBox="1">
            <a:spLocks noChangeArrowheads="1"/>
          </p:cNvSpPr>
          <p:nvPr/>
        </p:nvSpPr>
        <p:spPr bwMode="auto">
          <a:xfrm>
            <a:off x="3207508" y="1731427"/>
            <a:ext cx="8115794" cy="2478623"/>
          </a:xfrm>
          <a:prstGeom prst="rect">
            <a:avLst/>
          </a:prstGeom>
          <a:noFill/>
          <a:ln w="9525">
            <a:noFill/>
            <a:miter lim="800000"/>
            <a:headEnd/>
            <a:tailEnd/>
          </a:ln>
        </p:spPr>
        <p:txBody>
          <a:bodyPr lIns="108257" tIns="54130" rIns="0" bIns="54130" anchor="t"/>
          <a:lstStyle/>
          <a:p>
            <a:pPr marL="189915" marR="0" lvl="0" indent="-189915" algn="l" defTabSz="914400" rtl="0" eaLnBrk="1" fontAlgn="auto" latinLnBrk="0" hangingPunct="1">
              <a:lnSpc>
                <a:spcPct val="100000"/>
              </a:lnSpc>
              <a:spcBef>
                <a:spcPts val="590"/>
              </a:spcBef>
              <a:spcAft>
                <a:spcPts val="590"/>
              </a:spcAft>
              <a:buClrTx/>
              <a:buSzTx/>
              <a:buFontTx/>
              <a:buNone/>
              <a:tabLst/>
              <a:defRPr/>
            </a:pPr>
            <a:r>
              <a:rPr kumimoji="0" lang="en-US" sz="990" b="0" i="0" u="none" strike="noStrike" kern="1200" cap="none" spc="0" normalizeH="0" baseline="0" noProof="0" dirty="0">
                <a:ln>
                  <a:noFill/>
                </a:ln>
                <a:solidFill>
                  <a:srgbClr val="005587"/>
                </a:solidFill>
                <a:effectLst/>
                <a:uLnTx/>
                <a:uFillTx/>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lang="en-US" sz="2388" dirty="0">
              <a:solidFill>
                <a:srgbClr val="005587"/>
              </a:solidFill>
              <a:latin typeface="Calibri Light" panose="020F0302020204030204" pitchFamily="34" charset="0"/>
            </a:endParaRPr>
          </a:p>
          <a:p>
            <a:pPr marL="189915" marR="0" lvl="0" indent="-189915" algn="l" defTabSz="914400" rtl="0" eaLnBrk="1" fontAlgn="auto" latinLnBrk="0" hangingPunct="1">
              <a:lnSpc>
                <a:spcPct val="100000"/>
              </a:lnSpc>
              <a:spcBef>
                <a:spcPts val="590"/>
              </a:spcBef>
              <a:spcAft>
                <a:spcPts val="590"/>
              </a:spcAft>
              <a:buClrTx/>
              <a:buSzTx/>
              <a:buFont typeface="Arial" panose="020B0604020202020204" pitchFamily="34" charset="0"/>
              <a:buChar char="•"/>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Involved in creating, implementing and testing Business Continuity Management System (BCMS), IT Disaster Recovery Plan for India, Middle East and European countries at Account and location level</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 Performed Risk Assessments, Risk Causal Self-Assessment Audits, Infosec Audits, identifying potential risk and developing/updating the Risk Register.</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 Worked on end to end ITDR Project in one of the Govt. client in Kuwai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 Profound knowledge of Business Impact Analysis (BIA), designing Business Continuity strategies and provided suitable BCP guidance to clients based on the requiremen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 Involved in designing Business continuity plans, Pandemic response plans, Crisis Management plans .and other mandatory procedures at organization level.</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 Completely involved in managing the overall BCMS activities that includes performing BCP tests (Desktop Audit, Table top , Call tree tests, etc. ) and conducted several BCP webinars , workshops etc.</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 At Deloitte, Deepak is collaborating with different business verticals to build resiliency in their operation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 Previously he has organized and conducted workshops, training, mentoring and crisis management. Deepak is specialized in his team-building and collaboration strategies</a:t>
            </a:r>
          </a:p>
        </p:txBody>
      </p:sp>
      <p:sp>
        <p:nvSpPr>
          <p:cNvPr id="14" name="Triangle 28">
            <a:extLst>
              <a:ext uri="{FF2B5EF4-FFF2-40B4-BE49-F238E27FC236}">
                <a16:creationId xmlns:a16="http://schemas.microsoft.com/office/drawing/2014/main" id="{66048279-5441-4339-9FF0-1C0CA45A877E}"/>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F38C859F-33A0-4C76-6550-7820598F674B}"/>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marL="0" marR="0" lvl="0" indent="0" algn="l" defTabSz="905920" rtl="0" eaLnBrk="1" fontAlgn="auto" latinLnBrk="0" hangingPunct="1">
              <a:lnSpc>
                <a:spcPct val="100000"/>
              </a:lnSpc>
              <a:spcBef>
                <a:spcPct val="0"/>
              </a:spcBef>
              <a:spcAft>
                <a:spcPts val="0"/>
              </a:spcAft>
              <a:buClrTx/>
              <a:buSzTx/>
              <a:buFontTx/>
              <a:buNone/>
              <a:tabLst/>
              <a:defRPr/>
            </a:pPr>
            <a:r>
              <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rPr>
              <a:t>Deputy Manager Risk Advisory</a:t>
            </a:r>
          </a:p>
        </p:txBody>
      </p:sp>
      <p:pic>
        <p:nvPicPr>
          <p:cNvPr id="5" name="Picture 4" descr="A person in a suit and tie&#10;&#10;Description automatically generated">
            <a:extLst>
              <a:ext uri="{FF2B5EF4-FFF2-40B4-BE49-F238E27FC236}">
                <a16:creationId xmlns:a16="http://schemas.microsoft.com/office/drawing/2014/main" id="{A2CF6FEE-4A41-72EC-5E36-DDB44B8CA410}"/>
              </a:ext>
            </a:extLst>
          </p:cNvPr>
          <p:cNvPicPr>
            <a:picLocks noChangeAspect="1"/>
          </p:cNvPicPr>
          <p:nvPr/>
        </p:nvPicPr>
        <p:blipFill>
          <a:blip r:embed="rId2"/>
          <a:stretch>
            <a:fillRect/>
          </a:stretch>
        </p:blipFill>
        <p:spPr>
          <a:xfrm>
            <a:off x="813425" y="299576"/>
            <a:ext cx="1408032" cy="1466058"/>
          </a:xfrm>
          <a:prstGeom prst="ellipse">
            <a:avLst/>
          </a:prstGeom>
          <a:ln w="190500" cap="rnd">
            <a:noFill/>
            <a:prstDash val="solid"/>
          </a:ln>
          <a:effectLst/>
        </p:spPr>
      </p:pic>
      <p:graphicFrame>
        <p:nvGraphicFramePr>
          <p:cNvPr id="6" name="Table 5">
            <a:extLst>
              <a:ext uri="{FF2B5EF4-FFF2-40B4-BE49-F238E27FC236}">
                <a16:creationId xmlns:a16="http://schemas.microsoft.com/office/drawing/2014/main" id="{EF535464-E61B-5A65-6E86-0FADBC267DFE}"/>
              </a:ext>
            </a:extLst>
          </p:cNvPr>
          <p:cNvGraphicFramePr>
            <a:graphicFrameLocks noGrp="1"/>
          </p:cNvGraphicFramePr>
          <p:nvPr/>
        </p:nvGraphicFramePr>
        <p:xfrm>
          <a:off x="3218079" y="4646884"/>
          <a:ext cx="8402716" cy="1918889"/>
        </p:xfrm>
        <a:graphic>
          <a:graphicData uri="http://schemas.openxmlformats.org/drawingml/2006/table">
            <a:tbl>
              <a:tblPr firstRow="1" firstCol="1" bandRow="1"/>
              <a:tblGrid>
                <a:gridCol w="3699717">
                  <a:extLst>
                    <a:ext uri="{9D8B030D-6E8A-4147-A177-3AD203B41FA5}">
                      <a16:colId xmlns:a16="http://schemas.microsoft.com/office/drawing/2014/main" val="20000"/>
                    </a:ext>
                  </a:extLst>
                </a:gridCol>
                <a:gridCol w="4702999">
                  <a:extLst>
                    <a:ext uri="{9D8B030D-6E8A-4147-A177-3AD203B41FA5}">
                      <a16:colId xmlns:a16="http://schemas.microsoft.com/office/drawing/2014/main" val="20001"/>
                    </a:ext>
                  </a:extLst>
                </a:gridCol>
              </a:tblGrid>
              <a:tr h="1918889">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a:t>
                      </a:r>
                      <a:endParaRPr lang="en-US" sz="1000" kern="1200" noProof="0" dirty="0">
                        <a:solidFill>
                          <a:srgbClr val="005587"/>
                        </a:solidFill>
                        <a:latin typeface="Calibri Light" panose="020F0302020204030204" pitchFamily="34" charset="0"/>
                        <a:ea typeface="Verdana" panose="020B0604030504040204" pitchFamily="34" charset="0"/>
                        <a:cs typeface="Calibri Light" panose="020F030202020403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Central Agency for Information Technology (Kuwait</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US Mortgage Project</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Internal Wipro Project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Internal Projects</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lvl="0" indent="0" algn="l" defTabSz="914400" rtl="0" eaLnBrk="1" latinLnBrk="0" hangingPunct="1">
                        <a:spcBef>
                          <a:spcPts val="300"/>
                        </a:spcBef>
                        <a:spcAft>
                          <a:spcPts val="0"/>
                        </a:spcAft>
                        <a:buFont typeface="Arial" panose="020B0604020202020204" pitchFamily="34" charset="0"/>
                        <a:buNone/>
                      </a:pP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594124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87900A-F1D0-42E5-B0CC-17D3F88FA4EE}"/>
              </a:ext>
            </a:extLst>
          </p:cNvPr>
          <p:cNvSpPr/>
          <p:nvPr/>
        </p:nvSpPr>
        <p:spPr bwMode="gray">
          <a:xfrm>
            <a:off x="5249" y="0"/>
            <a:ext cx="3024389"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582" b="1"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sp>
        <p:nvSpPr>
          <p:cNvPr id="10" name="Rectangle 9"/>
          <p:cNvSpPr/>
          <p:nvPr/>
        </p:nvSpPr>
        <p:spPr>
          <a:xfrm>
            <a:off x="89875" y="1984623"/>
            <a:ext cx="2855131" cy="764248"/>
          </a:xfrm>
          <a:prstGeom prst="rect">
            <a:avLst/>
          </a:prstGeom>
        </p:spPr>
        <p:txBody>
          <a:bodyPr wrap="square" lIns="0" tIns="0" rIns="0" bIns="0">
            <a:spAutoFit/>
          </a:bodyPr>
          <a:lstStyle/>
          <a:p>
            <a:pPr marL="0" marR="0" lvl="0" indent="0" algn="ctr" defTabSz="1208233" rtl="0" eaLnBrk="0" fontAlgn="auto" latinLnBrk="0" hangingPunct="0">
              <a:lnSpc>
                <a:spcPct val="110000"/>
              </a:lnSpc>
              <a:spcBef>
                <a:spcPts val="0"/>
              </a:spcBef>
              <a:spcAft>
                <a:spcPct val="0"/>
              </a:spcAft>
              <a:buClrTx/>
              <a:buSzTx/>
              <a:buFontTx/>
              <a:buNone/>
              <a:tabLst/>
              <a:defRPr/>
            </a:pPr>
            <a:r>
              <a:rPr kumimoji="0" lang="en-US" sz="2381"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rPr>
              <a:t>Nitesh Naik</a:t>
            </a:r>
          </a:p>
          <a:p>
            <a:pPr marL="0" marR="0" lvl="0" indent="0" algn="ctr" defTabSz="1208233" rtl="0" eaLnBrk="0" fontAlgn="auto" latinLnBrk="0" hangingPunct="0">
              <a:lnSpc>
                <a:spcPct val="110000"/>
              </a:lnSpc>
              <a:spcBef>
                <a:spcPts val="0"/>
              </a:spcBef>
              <a:spcAft>
                <a:spcPct val="0"/>
              </a:spcAft>
              <a:buClrTx/>
              <a:buSzTx/>
              <a:buFontTx/>
              <a:buNone/>
              <a:tabLst/>
              <a:defRPr/>
            </a:pPr>
            <a:r>
              <a:rPr kumimoji="0" lang="en-US" sz="1094"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rPr>
              <a:t>Assistant Manager, Crisis &amp; Resilience</a:t>
            </a:r>
          </a:p>
          <a:p>
            <a:pPr marL="0" marR="0" lvl="0" indent="0" algn="ctr" defTabSz="1208233" rtl="0" eaLnBrk="0" fontAlgn="auto" latinLnBrk="0" hangingPunct="0">
              <a:lnSpc>
                <a:spcPct val="110000"/>
              </a:lnSpc>
              <a:spcBef>
                <a:spcPts val="0"/>
              </a:spcBef>
              <a:spcAft>
                <a:spcPct val="0"/>
              </a:spcAft>
              <a:buClrTx/>
              <a:buSzTx/>
              <a:buFontTx/>
              <a:buNone/>
              <a:tabLst/>
              <a:defRPr/>
            </a:pPr>
            <a:endParaRPr kumimoji="0" lang="en-US" sz="1094" b="0"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endParaRPr>
          </a:p>
        </p:txBody>
      </p:sp>
      <p:sp>
        <p:nvSpPr>
          <p:cNvPr id="16" name="Rectangle 3"/>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defRPr/>
            </a:pPr>
            <a:r>
              <a:rPr lang="en-US" sz="943" dirty="0">
                <a:solidFill>
                  <a:srgbClr val="575757"/>
                </a:solidFill>
                <a:latin typeface="Calibri Light" panose="020F0302020204030204" pitchFamily="34" charset="0"/>
              </a:rPr>
              <a:t>Nitesh Naik is working as an Assistant Manager in Deloitte has over 5  years of experience in cybersecurity consulting in domains such as networking, telecommunication and cloud infrastructure. He has served various clients across various domains such as BFSI, telecommunications, IT shared service and media. </a:t>
            </a:r>
          </a:p>
        </p:txBody>
      </p:sp>
      <p:sp>
        <p:nvSpPr>
          <p:cNvPr id="19" name="Rectangle 18"/>
          <p:cNvSpPr/>
          <p:nvPr/>
        </p:nvSpPr>
        <p:spPr>
          <a:xfrm>
            <a:off x="332245" y="2736588"/>
            <a:ext cx="2370395" cy="3327849"/>
          </a:xfrm>
          <a:prstGeom prst="rect">
            <a:avLst/>
          </a:prstGeom>
        </p:spPr>
        <p:txBody>
          <a:bodyPr wrap="square" lIns="90818" tIns="45410" rIns="90818" bIns="45410" anchor="t">
            <a:spAutoFit/>
          </a:bodyPr>
          <a:lstStyle/>
          <a:p>
            <a:pPr marL="0" marR="0" lvl="0" indent="-159629" algn="l" defTabSz="948386" rtl="0" eaLnBrk="1" fontAlgn="auto" latinLnBrk="0" hangingPunct="1">
              <a:lnSpc>
                <a:spcPts val="1014"/>
              </a:lnSpc>
              <a:spcBef>
                <a:spcPts val="590"/>
              </a:spcBef>
              <a:spcAft>
                <a:spcPts val="0"/>
              </a:spcAft>
              <a:buClr>
                <a:srgbClr val="000066"/>
              </a:buClr>
              <a:buSzPct val="75000"/>
              <a:buFontTx/>
              <a:buNone/>
              <a:tabLst>
                <a:tab pos="1312455" algn="l"/>
              </a:tabLst>
              <a:defRPr/>
            </a:pPr>
            <a:r>
              <a:rPr kumimoji="0" lang="en-US" sz="1091"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endParaRP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MBA (Digital and Telecommunication Management)</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B.E. (Electronics and Telecommunications)</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Certified ISO 27001:2013 Lead Implementer</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Certified ISO 27701:2019 Lead Implementer</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Google Cloud Platform-Professional Security Engineer</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Google Cloud Platform-Associate Cloud Engineer</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Google Cloud Platform-Cloud Digital Leader</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Azure Fundamentals (Az-900)</a:t>
            </a:r>
          </a:p>
        </p:txBody>
      </p:sp>
      <p:sp>
        <p:nvSpPr>
          <p:cNvPr id="13" name="Rectangle 3"/>
          <p:cNvSpPr txBox="1">
            <a:spLocks noChangeArrowheads="1"/>
          </p:cNvSpPr>
          <p:nvPr/>
        </p:nvSpPr>
        <p:spPr bwMode="auto">
          <a:xfrm>
            <a:off x="3207508" y="1490127"/>
            <a:ext cx="8115794" cy="2478623"/>
          </a:xfrm>
          <a:prstGeom prst="rect">
            <a:avLst/>
          </a:prstGeom>
          <a:noFill/>
          <a:ln w="9525">
            <a:noFill/>
            <a:miter lim="800000"/>
            <a:headEnd/>
            <a:tailEnd/>
          </a:ln>
        </p:spPr>
        <p:txBody>
          <a:bodyPr lIns="108257" tIns="54130" rIns="0" bIns="54130" anchor="t"/>
          <a:lstStyle/>
          <a:p>
            <a:pPr marL="189915" marR="0" lvl="0" indent="-189915" algn="l" defTabSz="914400" rtl="0" eaLnBrk="1" fontAlgn="auto" latinLnBrk="0" hangingPunct="1">
              <a:lnSpc>
                <a:spcPct val="100000"/>
              </a:lnSpc>
              <a:spcBef>
                <a:spcPts val="590"/>
              </a:spcBef>
              <a:spcAft>
                <a:spcPts val="590"/>
              </a:spcAft>
              <a:buClrTx/>
              <a:buSzTx/>
              <a:buFontTx/>
              <a:buNone/>
              <a:tabLst/>
              <a:defRPr/>
            </a:pPr>
            <a:r>
              <a:rPr kumimoji="0" lang="en-US" sz="990" b="0" i="0" u="none" strike="noStrike" kern="1200" cap="none" spc="0" normalizeH="0" baseline="0" noProof="0" dirty="0">
                <a:ln>
                  <a:noFill/>
                </a:ln>
                <a:solidFill>
                  <a:srgbClr val="005587"/>
                </a:solidFill>
                <a:effectLst/>
                <a:uLnTx/>
                <a:uFillTx/>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kumimoji="0" lang="en-US" sz="2388" b="0" i="0" u="none" strike="noStrike" kern="1200" cap="none" spc="0" normalizeH="0" baseline="0" noProof="0" dirty="0">
              <a:ln>
                <a:noFill/>
              </a:ln>
              <a:solidFill>
                <a:srgbClr val="005587"/>
              </a:solidFill>
              <a:effectLst/>
              <a:uLnTx/>
              <a:uFillTx/>
              <a:latin typeface="Calibri Light" panose="020F0302020204030204" pitchFamily="34" charset="0"/>
              <a:ea typeface="+mn-ea"/>
              <a:cs typeface="+mn-cs"/>
            </a:endParaRP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Drafted 40+ standards/procedures for a banking client located in Riyadh (Saudi Arabia)</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as a deep understanding of SAMA CSF/NCA and helped client to increase cyber maturity level</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drafted cloud security policy and cloud security control framework for hybrid cloud environmen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drafted security over 40 security standards and procedures for BFSI clien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assessed and identified gaps in procedures for IT shared service clien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assisted client for data classification activitie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assisted for implementing information security policy across cloud environment for the leading OTT client. He has closely work with client infosec team for gap assessment and implementing solutions for identified gap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captured processes for shared service provider which provides cloud services to its businesse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conducted SOX audit and assisted for creating BCP documentation for a leading OTT clien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earned EY cloud bronze badge by understanding and demonstrating cloud knowledge to the engagement team.</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worked on performance management for major telecom client which included assessing KPI dashboards and presenting performances to senior management</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performed ITGC Statutory audit for the leading telecom client in Africa. He was able to highlight major gaps in the processes. Also, he tracked end to end implementation of those gap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conducted audit for a leading telecommunication client against regulatory requirements. He identified major gaps in the regulatory compliance which helped client to reduce penalties for regulatory. He was awarded by the organization for the same.</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assessed BSS application stack for leading telecom client which helped client to ensure security of BSS application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e has performed network resiliency audit for a telecom client.</a:t>
            </a:r>
          </a:p>
        </p:txBody>
      </p:sp>
      <p:sp>
        <p:nvSpPr>
          <p:cNvPr id="14" name="Triangle 28">
            <a:extLst>
              <a:ext uri="{FF2B5EF4-FFF2-40B4-BE49-F238E27FC236}">
                <a16:creationId xmlns:a16="http://schemas.microsoft.com/office/drawing/2014/main" id="{66048279-5441-4339-9FF0-1C0CA45A877E}"/>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F38C859F-33A0-4C76-6550-7820598F674B}"/>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marL="0" marR="0" lvl="0" indent="0" algn="l" defTabSz="905920" rtl="0" eaLnBrk="1" fontAlgn="auto" latinLnBrk="0" hangingPunct="1">
              <a:lnSpc>
                <a:spcPct val="100000"/>
              </a:lnSpc>
              <a:spcBef>
                <a:spcPct val="0"/>
              </a:spcBef>
              <a:spcAft>
                <a:spcPts val="0"/>
              </a:spcAft>
              <a:buClrTx/>
              <a:buSzTx/>
              <a:buFontTx/>
              <a:buNone/>
              <a:tabLst/>
              <a:defRPr/>
            </a:pPr>
            <a:r>
              <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rPr>
              <a:t>Assistant Manager, Crisis &amp; Resilience</a:t>
            </a:r>
          </a:p>
        </p:txBody>
      </p:sp>
      <p:pic>
        <p:nvPicPr>
          <p:cNvPr id="4" name="Picture 3" descr="A person in a suit&#10;&#10;Description automatically generated with medium confidence">
            <a:extLst>
              <a:ext uri="{FF2B5EF4-FFF2-40B4-BE49-F238E27FC236}">
                <a16:creationId xmlns:a16="http://schemas.microsoft.com/office/drawing/2014/main" id="{48322960-F3F4-3F26-03DB-741583F1099E}"/>
              </a:ext>
            </a:extLst>
          </p:cNvPr>
          <p:cNvPicPr>
            <a:picLocks noChangeAspect="1"/>
          </p:cNvPicPr>
          <p:nvPr/>
        </p:nvPicPr>
        <p:blipFill>
          <a:blip r:embed="rId2"/>
          <a:stretch>
            <a:fillRect/>
          </a:stretch>
        </p:blipFill>
        <p:spPr>
          <a:xfrm>
            <a:off x="813424" y="327008"/>
            <a:ext cx="1408033" cy="1466058"/>
          </a:xfrm>
          <a:prstGeom prst="ellipse">
            <a:avLst/>
          </a:prstGeom>
          <a:ln w="190500" cap="rnd">
            <a:noFill/>
            <a:prstDash val="solid"/>
          </a:ln>
          <a:effectLst/>
        </p:spPr>
      </p:pic>
      <p:sp>
        <p:nvSpPr>
          <p:cNvPr id="6" name="Rectangle 3">
            <a:extLst>
              <a:ext uri="{FF2B5EF4-FFF2-40B4-BE49-F238E27FC236}">
                <a16:creationId xmlns:a16="http://schemas.microsoft.com/office/drawing/2014/main" id="{25819B6E-584A-20FC-5DB7-F2BD5410303D}"/>
              </a:ext>
            </a:extLst>
          </p:cNvPr>
          <p:cNvSpPr txBox="1">
            <a:spLocks noChangeArrowheads="1"/>
          </p:cNvSpPr>
          <p:nvPr/>
        </p:nvSpPr>
        <p:spPr bwMode="auto">
          <a:xfrm>
            <a:off x="3207508" y="5473426"/>
            <a:ext cx="8115794" cy="2478623"/>
          </a:xfrm>
          <a:prstGeom prst="rect">
            <a:avLst/>
          </a:prstGeom>
          <a:noFill/>
          <a:ln w="9525">
            <a:noFill/>
            <a:miter lim="800000"/>
            <a:headEnd/>
            <a:tailEnd/>
          </a:ln>
        </p:spPr>
        <p:txBody>
          <a:bodyPr lIns="108257" tIns="54130" rIns="0" bIns="54130" anchor="t"/>
          <a:lstStyle/>
          <a:p>
            <a:pPr marL="0" lvl="1" algn="just">
              <a:spcBef>
                <a:spcPts val="200"/>
              </a:spcBef>
              <a:spcAft>
                <a:spcPts val="200"/>
              </a:spcAft>
              <a:buSzPts val="1000"/>
              <a:tabLst>
                <a:tab pos="225959" algn="l"/>
              </a:tabLst>
              <a:defRPr/>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 Served</a:t>
            </a:r>
            <a:endParaRPr lang="en-US" sz="991" dirty="0">
              <a:solidFill>
                <a:srgbClr val="575757"/>
              </a:solidFill>
              <a:latin typeface="Calibri Light" panose="020F0302020204030204" pitchFamily="34" charset="0"/>
            </a:endParaRP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BFSI</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Shared Service</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IT services</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Telecommunication</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Healthcare</a:t>
            </a:r>
          </a:p>
        </p:txBody>
      </p:sp>
    </p:spTree>
    <p:extLst>
      <p:ext uri="{BB962C8B-B14F-4D97-AF65-F5344CB8AC3E}">
        <p14:creationId xmlns:p14="http://schemas.microsoft.com/office/powerpoint/2010/main" val="227078810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87900A-F1D0-42E5-B0CC-17D3F88FA4EE}"/>
              </a:ext>
            </a:extLst>
          </p:cNvPr>
          <p:cNvSpPr/>
          <p:nvPr/>
        </p:nvSpPr>
        <p:spPr bwMode="gray">
          <a:xfrm>
            <a:off x="5249" y="0"/>
            <a:ext cx="3024389"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582" b="1"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sp>
        <p:nvSpPr>
          <p:cNvPr id="10" name="Rectangle 9"/>
          <p:cNvSpPr/>
          <p:nvPr/>
        </p:nvSpPr>
        <p:spPr>
          <a:xfrm>
            <a:off x="89875" y="1984623"/>
            <a:ext cx="2855131" cy="559320"/>
          </a:xfrm>
          <a:prstGeom prst="rect">
            <a:avLst/>
          </a:prstGeom>
        </p:spPr>
        <p:txBody>
          <a:bodyPr wrap="square" lIns="0" tIns="0" rIns="0" bIns="0">
            <a:spAutoFit/>
          </a:bodyPr>
          <a:lstStyle/>
          <a:p>
            <a:pPr algn="ctr">
              <a:lnSpc>
                <a:spcPct val="106000"/>
              </a:lnSpc>
              <a:defRPr/>
            </a:pPr>
            <a:r>
              <a:rPr lang="en-US" sz="2381" dirty="0">
                <a:solidFill>
                  <a:prstClr val="white"/>
                </a:solidFill>
                <a:latin typeface="Calibri Light" panose="020F0302020204030204" pitchFamily="34" charset="0"/>
                <a:cs typeface="Arial" panose="020B0604020202020204" pitchFamily="34" charset="0"/>
              </a:rPr>
              <a:t>Suprotim Ghosh</a:t>
            </a:r>
          </a:p>
          <a:p>
            <a:pPr algn="ctr">
              <a:lnSpc>
                <a:spcPct val="106000"/>
              </a:lnSpc>
              <a:defRPr/>
            </a:pPr>
            <a:r>
              <a:rPr lang="en-US" sz="1094" dirty="0">
                <a:solidFill>
                  <a:prstClr val="white"/>
                </a:solidFill>
                <a:latin typeface="Calibri Light" panose="020F0302020204030204" pitchFamily="34" charset="0"/>
                <a:cs typeface="Arial" panose="020B0604020202020204" pitchFamily="34" charset="0"/>
              </a:rPr>
              <a:t>Assistant Manager</a:t>
            </a:r>
          </a:p>
        </p:txBody>
      </p:sp>
      <p:sp>
        <p:nvSpPr>
          <p:cNvPr id="16" name="Rectangle 3"/>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defRPr/>
            </a:pPr>
            <a:r>
              <a:rPr lang="en-US" sz="943" dirty="0" err="1">
                <a:solidFill>
                  <a:srgbClr val="575757"/>
                </a:solidFill>
                <a:latin typeface="Calibri Light" panose="020F0302020204030204" pitchFamily="34" charset="0"/>
              </a:rPr>
              <a:t>Suprotim</a:t>
            </a:r>
            <a:r>
              <a:rPr lang="en-US" sz="943" dirty="0">
                <a:solidFill>
                  <a:srgbClr val="575757"/>
                </a:solidFill>
                <a:latin typeface="Calibri Light" panose="020F0302020204030204" pitchFamily="34" charset="0"/>
              </a:rPr>
              <a:t> is an Assistant Manager in the Risk Advisory – Crisis and Resilience practice at Deloitte India with overall 6 years of expertise. He has done </a:t>
            </a:r>
            <a:r>
              <a:rPr lang="en-US" sz="943" dirty="0" err="1">
                <a:solidFill>
                  <a:srgbClr val="575757"/>
                </a:solidFill>
                <a:latin typeface="Calibri Light" panose="020F0302020204030204" pitchFamily="34" charset="0"/>
              </a:rPr>
              <a:t>B.Tech</a:t>
            </a:r>
            <a:r>
              <a:rPr lang="en-US" sz="943" dirty="0">
                <a:solidFill>
                  <a:srgbClr val="575757"/>
                </a:solidFill>
                <a:latin typeface="Calibri Light" panose="020F0302020204030204" pitchFamily="34" charset="0"/>
              </a:rPr>
              <a:t> in Information and Telecommunication Engineering. He is Proficient in completing risk and impact assessments. Competent in readying employees with use of exercises and training programs. He has documented feedbacks and adjusted plans to account for changing conditions. He is a dedicated professional with history of meeting company goals utilizing consistent and organized practices. Skilled in working under pressure and adapting to new situations and challenges to best enhance the organizational brand.</a:t>
            </a:r>
          </a:p>
        </p:txBody>
      </p:sp>
      <p:sp>
        <p:nvSpPr>
          <p:cNvPr id="19" name="Rectangle 18"/>
          <p:cNvSpPr/>
          <p:nvPr/>
        </p:nvSpPr>
        <p:spPr>
          <a:xfrm>
            <a:off x="332245" y="2736588"/>
            <a:ext cx="2370395" cy="1418352"/>
          </a:xfrm>
          <a:prstGeom prst="rect">
            <a:avLst/>
          </a:prstGeom>
        </p:spPr>
        <p:txBody>
          <a:bodyPr wrap="square" lIns="90818" tIns="45410" rIns="90818" bIns="45410" anchor="t">
            <a:spAutoFit/>
          </a:bodyPr>
          <a:lstStyle/>
          <a:p>
            <a:pPr marL="0" marR="0" lvl="0" indent="-159629" algn="l" defTabSz="948386" rtl="0" eaLnBrk="1" fontAlgn="auto" latinLnBrk="0" hangingPunct="1">
              <a:lnSpc>
                <a:spcPts val="1014"/>
              </a:lnSpc>
              <a:spcBef>
                <a:spcPts val="590"/>
              </a:spcBef>
              <a:spcAft>
                <a:spcPts val="0"/>
              </a:spcAft>
              <a:buClr>
                <a:srgbClr val="000066"/>
              </a:buClr>
              <a:buSzPct val="75000"/>
              <a:buFontTx/>
              <a:buNone/>
              <a:tabLst>
                <a:tab pos="1312455" algn="l"/>
              </a:tabLst>
              <a:defRPr/>
            </a:pPr>
            <a:r>
              <a:rPr kumimoji="0" lang="en-US" sz="1091"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endParaRP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err="1">
                <a:ln>
                  <a:noFill/>
                </a:ln>
                <a:solidFill>
                  <a:srgbClr val="FFFFFF"/>
                </a:solidFill>
                <a:effectLst/>
                <a:uLnTx/>
                <a:uFillTx/>
                <a:latin typeface="Calibri Light" panose="020F0302020204030204" pitchFamily="34" charset="0"/>
                <a:ea typeface="Verdana" panose="020B0604030504040204" pitchFamily="34" charset="0"/>
                <a:cs typeface="+mn-cs"/>
              </a:rPr>
              <a:t>B.Tech</a:t>
            </a: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 in Information and Telecommunications Engineering</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ISO 22301 Internal Auditor</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ISO 27001 Foundation</a:t>
            </a:r>
          </a:p>
          <a:p>
            <a:pPr marL="154122" marR="0" lvl="2" indent="-152780" algn="l" defTabSz="771834" rtl="0" eaLnBrk="1" fontAlgn="base" latinLnBrk="0" hangingPunct="1">
              <a:lnSpc>
                <a:spcPct val="100000"/>
              </a:lnSpc>
              <a:spcBef>
                <a:spcPts val="300"/>
              </a:spcBef>
              <a:spcAft>
                <a:spcPts val="300"/>
              </a:spcAft>
              <a:buClr>
                <a:srgbClr val="00A3E0"/>
              </a:buClr>
              <a:buSzPct val="100000"/>
              <a:buFont typeface="Wingdings" pitchFamily="2" charset="2"/>
              <a:buChar char="§"/>
              <a:tabLst>
                <a:tab pos="4824662" algn="l"/>
              </a:tabLst>
              <a:defRPr/>
            </a:pPr>
            <a:r>
              <a:rPr kumimoji="0" lang="en-US" sz="1041" b="0" i="0" u="none" strike="noStrike" kern="1200" cap="none" spc="0" normalizeH="0" baseline="0" noProof="0" dirty="0">
                <a:ln>
                  <a:noFill/>
                </a:ln>
                <a:solidFill>
                  <a:srgbClr val="FFFFFF"/>
                </a:solidFill>
                <a:effectLst/>
                <a:uLnTx/>
                <a:uFillTx/>
                <a:latin typeface="Calibri Light" panose="020F0302020204030204" pitchFamily="34" charset="0"/>
                <a:ea typeface="Verdana" panose="020B0604030504040204" pitchFamily="34" charset="0"/>
                <a:cs typeface="+mn-cs"/>
              </a:rPr>
              <a:t>AWS Cloud Practitioner Essentials</a:t>
            </a:r>
          </a:p>
        </p:txBody>
      </p:sp>
      <p:sp>
        <p:nvSpPr>
          <p:cNvPr id="13" name="Rectangle 3"/>
          <p:cNvSpPr txBox="1">
            <a:spLocks noChangeArrowheads="1"/>
          </p:cNvSpPr>
          <p:nvPr/>
        </p:nvSpPr>
        <p:spPr bwMode="auto">
          <a:xfrm>
            <a:off x="3207508" y="1750477"/>
            <a:ext cx="8115794" cy="2478623"/>
          </a:xfrm>
          <a:prstGeom prst="rect">
            <a:avLst/>
          </a:prstGeom>
          <a:noFill/>
          <a:ln w="9525">
            <a:noFill/>
            <a:miter lim="800000"/>
            <a:headEnd/>
            <a:tailEnd/>
          </a:ln>
        </p:spPr>
        <p:txBody>
          <a:bodyPr lIns="108257" tIns="54130" rIns="0" bIns="54130" anchor="t"/>
          <a:lstStyle/>
          <a:p>
            <a:pPr marL="189915" marR="0" lvl="0" indent="-189915" algn="l" defTabSz="914400" rtl="0" eaLnBrk="1" fontAlgn="auto" latinLnBrk="0" hangingPunct="1">
              <a:lnSpc>
                <a:spcPct val="100000"/>
              </a:lnSpc>
              <a:spcBef>
                <a:spcPts val="590"/>
              </a:spcBef>
              <a:spcAft>
                <a:spcPts val="590"/>
              </a:spcAft>
              <a:buClrTx/>
              <a:buSzTx/>
              <a:buFontTx/>
              <a:buNone/>
              <a:tabLst/>
              <a:defRPr/>
            </a:pPr>
            <a:r>
              <a:rPr kumimoji="0" lang="en-US" sz="990" b="0" i="0" u="none" strike="noStrike" kern="1200" cap="none" spc="0" normalizeH="0" baseline="0" noProof="0" dirty="0">
                <a:ln>
                  <a:noFill/>
                </a:ln>
                <a:solidFill>
                  <a:srgbClr val="005587"/>
                </a:solidFill>
                <a:effectLst/>
                <a:uLnTx/>
                <a:uFillTx/>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kumimoji="0" lang="en-US" sz="2388" b="0" i="0" u="none" strike="noStrike" kern="1200" cap="none" spc="0" normalizeH="0" baseline="0" noProof="0" dirty="0">
              <a:ln>
                <a:noFill/>
              </a:ln>
              <a:solidFill>
                <a:srgbClr val="005587"/>
              </a:solidFill>
              <a:effectLst/>
              <a:uLnTx/>
              <a:uFillTx/>
              <a:latin typeface="Calibri Light" panose="020F0302020204030204" pitchFamily="34" charset="0"/>
              <a:ea typeface="+mn-ea"/>
              <a:cs typeface="+mn-cs"/>
            </a:endParaRP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Supported the Business Continuity Management (BCM) program across business and functions(Europe, India and North America Region) as per the BCM policy and methodology. Having an understanding on IT Disaster Recovery Program. </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Supported the alignment of new clients(Europe/North America/India) and services to the business continuity program.</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Liaised with business projects / functions to provide guidance on the development of business continuity plan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Provided input or guidance to the business projects / functions to maintain all business continuity documentation and processes required</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Provided support to required assessments and tests related to the business continuity.</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Supported communication and training programs for the business projects / functions to provide effective management of the business continuity program</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Provided guidance to Business in development of business continuity plan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Tracked compliance to the agreed business continuity controls through ongoing reviews</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Contributed towards the development of tools, processes, methodology and standardization for the business continuity program so it remains relevant and compliant with industry standards. Actively worked on Fusion Framework tool for Business Continuity.</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Having an experience on assisting ISO22301 certification conducted by BCI(Business Continuity Institute).</a:t>
            </a:r>
          </a:p>
          <a:p>
            <a:pPr marL="171450" marR="0" lvl="1" indent="-171450" algn="just" defTabSz="914400" rtl="0" eaLnBrk="1" fontAlgn="auto" latinLnBrk="0" hangingPunct="1">
              <a:lnSpc>
                <a:spcPct val="100000"/>
              </a:lnSpc>
              <a:spcBef>
                <a:spcPts val="200"/>
              </a:spcBef>
              <a:spcAft>
                <a:spcPts val="200"/>
              </a:spcAft>
              <a:buClrTx/>
              <a:buSzPts val="1000"/>
              <a:buFont typeface="Arial" panose="020B0604020202020204" pitchFamily="34" charset="0"/>
              <a:buChar char="•"/>
              <a:tabLst>
                <a:tab pos="225959" algn="l"/>
              </a:tabLst>
              <a:defRPr/>
            </a:pPr>
            <a:r>
              <a:rPr kumimoji="0" lang="en-US" sz="991" b="0" i="0" u="none" strike="noStrike" kern="1200" cap="none" spc="0" normalizeH="0" baseline="0" noProof="0" dirty="0">
                <a:ln>
                  <a:noFill/>
                </a:ln>
                <a:solidFill>
                  <a:srgbClr val="575757"/>
                </a:solidFill>
                <a:effectLst/>
                <a:uLnTx/>
                <a:uFillTx/>
                <a:latin typeface="Calibri Light" panose="020F0302020204030204" pitchFamily="34" charset="0"/>
                <a:ea typeface="+mn-ea"/>
                <a:cs typeface="+mn-cs"/>
              </a:rPr>
              <a:t>Conducted Business Continuity Management Maturity Assessment for one of the largest telecom company in Middle-East Region.</a:t>
            </a:r>
          </a:p>
        </p:txBody>
      </p:sp>
      <p:sp>
        <p:nvSpPr>
          <p:cNvPr id="14" name="Triangle 28">
            <a:extLst>
              <a:ext uri="{FF2B5EF4-FFF2-40B4-BE49-F238E27FC236}">
                <a16:creationId xmlns:a16="http://schemas.microsoft.com/office/drawing/2014/main" id="{66048279-5441-4339-9FF0-1C0CA45A877E}"/>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F38C859F-33A0-4C76-6550-7820598F674B}"/>
              </a:ext>
            </a:extLst>
          </p:cNvPr>
          <p:cNvSpPr txBox="1">
            <a:spLocks/>
          </p:cNvSpPr>
          <p:nvPr/>
        </p:nvSpPr>
        <p:spPr>
          <a:xfrm>
            <a:off x="3218086" y="327008"/>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marL="0" marR="0" lvl="0" indent="0" algn="l" defTabSz="905920" rtl="0" eaLnBrk="1" fontAlgn="auto" latinLnBrk="0" hangingPunct="1">
              <a:lnSpc>
                <a:spcPct val="100000"/>
              </a:lnSpc>
              <a:spcBef>
                <a:spcPct val="0"/>
              </a:spcBef>
              <a:spcAft>
                <a:spcPts val="0"/>
              </a:spcAft>
              <a:buClrTx/>
              <a:buSzTx/>
              <a:buFontTx/>
              <a:buNone/>
              <a:tabLst/>
              <a:defRPr/>
            </a:pPr>
            <a:r>
              <a:rPr kumimoji="0" lang="en-US" sz="2981" b="0" i="0" u="none" strike="noStrike" kern="1200" cap="none" spc="0" normalizeH="0" baseline="0" noProof="0" dirty="0">
                <a:ln>
                  <a:noFill/>
                </a:ln>
                <a:solidFill>
                  <a:srgbClr val="0076A8"/>
                </a:solidFill>
                <a:effectLst/>
                <a:uLnTx/>
                <a:uFillTx/>
                <a:latin typeface="Calibri Light" panose="020F0302020204030204" pitchFamily="34" charset="0"/>
                <a:ea typeface="+mj-ea"/>
                <a:cs typeface="Arial" panose="020B0604020202020204" pitchFamily="34" charset="0"/>
              </a:rPr>
              <a:t>Assistant Manager</a:t>
            </a:r>
          </a:p>
        </p:txBody>
      </p:sp>
      <p:pic>
        <p:nvPicPr>
          <p:cNvPr id="5" name="Picture 4">
            <a:extLst>
              <a:ext uri="{FF2B5EF4-FFF2-40B4-BE49-F238E27FC236}">
                <a16:creationId xmlns:a16="http://schemas.microsoft.com/office/drawing/2014/main" id="{4E2C5092-F366-B875-AA6E-69B87B9EC72F}"/>
              </a:ext>
            </a:extLst>
          </p:cNvPr>
          <p:cNvPicPr>
            <a:picLocks noChangeAspect="1"/>
          </p:cNvPicPr>
          <p:nvPr/>
        </p:nvPicPr>
        <p:blipFill rotWithShape="1">
          <a:blip r:embed="rId2"/>
          <a:srcRect t="7957" b="7957"/>
          <a:stretch/>
        </p:blipFill>
        <p:spPr>
          <a:xfrm>
            <a:off x="813425" y="327008"/>
            <a:ext cx="1408032" cy="1466058"/>
          </a:xfrm>
          <a:prstGeom prst="flowChartConnector">
            <a:avLst/>
          </a:prstGeom>
          <a:noFill/>
          <a:ln w="9525">
            <a:noFill/>
            <a:miter lim="800000"/>
            <a:headEnd/>
            <a:tailEnd/>
          </a:ln>
        </p:spPr>
      </p:pic>
      <p:sp>
        <p:nvSpPr>
          <p:cNvPr id="6" name="Rectangle 3">
            <a:extLst>
              <a:ext uri="{FF2B5EF4-FFF2-40B4-BE49-F238E27FC236}">
                <a16:creationId xmlns:a16="http://schemas.microsoft.com/office/drawing/2014/main" id="{13693E8B-57B4-082A-4099-4A181B20EE7F}"/>
              </a:ext>
            </a:extLst>
          </p:cNvPr>
          <p:cNvSpPr txBox="1">
            <a:spLocks noChangeArrowheads="1"/>
          </p:cNvSpPr>
          <p:nvPr/>
        </p:nvSpPr>
        <p:spPr bwMode="auto">
          <a:xfrm>
            <a:off x="3218077" y="4609826"/>
            <a:ext cx="8115794" cy="2478623"/>
          </a:xfrm>
          <a:prstGeom prst="rect">
            <a:avLst/>
          </a:prstGeom>
          <a:noFill/>
          <a:ln w="9525">
            <a:noFill/>
            <a:miter lim="800000"/>
            <a:headEnd/>
            <a:tailEnd/>
          </a:ln>
        </p:spPr>
        <p:txBody>
          <a:bodyPr lIns="108257" tIns="54130" rIns="0" bIns="54130" anchor="t"/>
          <a:lstStyle/>
          <a:p>
            <a:pPr marL="0" lvl="1" algn="just">
              <a:spcBef>
                <a:spcPts val="200"/>
              </a:spcBef>
              <a:spcAft>
                <a:spcPts val="200"/>
              </a:spcAft>
              <a:buSzPts val="1000"/>
              <a:tabLst>
                <a:tab pos="225959" algn="l"/>
              </a:tabLst>
              <a:defRPr/>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 Served</a:t>
            </a:r>
            <a:endParaRPr lang="en-US" sz="991" dirty="0">
              <a:solidFill>
                <a:srgbClr val="575757"/>
              </a:solidFill>
              <a:latin typeface="Calibri Light" panose="020F0302020204030204" pitchFamily="34" charset="0"/>
            </a:endParaRP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IT</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Healthcare</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Banking</a:t>
            </a:r>
          </a:p>
          <a:p>
            <a:pPr marL="171450" lvl="1" indent="-171450"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Manufacturing Industries</a:t>
            </a:r>
          </a:p>
        </p:txBody>
      </p:sp>
    </p:spTree>
    <p:extLst>
      <p:ext uri="{BB962C8B-B14F-4D97-AF65-F5344CB8AC3E}">
        <p14:creationId xmlns:p14="http://schemas.microsoft.com/office/powerpoint/2010/main" val="353380421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B87900A-F1D0-42E5-B0CC-17D3F88FA4EE}"/>
              </a:ext>
            </a:extLst>
          </p:cNvPr>
          <p:cNvSpPr/>
          <p:nvPr/>
        </p:nvSpPr>
        <p:spPr bwMode="gray">
          <a:xfrm>
            <a:off x="0" y="-110"/>
            <a:ext cx="3006547" cy="685811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10" name="Rectangle 9"/>
          <p:cNvSpPr/>
          <p:nvPr/>
        </p:nvSpPr>
        <p:spPr>
          <a:xfrm>
            <a:off x="65332" y="2011307"/>
            <a:ext cx="2855131" cy="587232"/>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Tanzeel Afzal</a:t>
            </a:r>
          </a:p>
          <a:p>
            <a:pPr algn="ctr" defTabSz="1208233" eaLnBrk="0" hangingPunct="0">
              <a:lnSpc>
                <a:spcPct val="110000"/>
              </a:lnSpc>
              <a:spcAft>
                <a:spcPct val="0"/>
              </a:spcAft>
            </a:pPr>
            <a:r>
              <a:rPr lang="en-US" sz="1094" dirty="0">
                <a:solidFill>
                  <a:prstClr val="white"/>
                </a:solidFill>
                <a:latin typeface="Calibri Light" panose="020F0302020204030204" pitchFamily="34" charset="0"/>
                <a:cs typeface="Arial" panose="020B0604020202020204" pitchFamily="34" charset="0"/>
              </a:rPr>
              <a:t>Assistant Manager</a:t>
            </a:r>
          </a:p>
        </p:txBody>
      </p:sp>
      <p:sp>
        <p:nvSpPr>
          <p:cNvPr id="16" name="Rectangle 3"/>
          <p:cNvSpPr txBox="1">
            <a:spLocks noChangeArrowheads="1"/>
          </p:cNvSpPr>
          <p:nvPr/>
        </p:nvSpPr>
        <p:spPr bwMode="auto">
          <a:xfrm>
            <a:off x="3218077" y="1008862"/>
            <a:ext cx="7739779" cy="906505"/>
          </a:xfrm>
          <a:prstGeom prst="rect">
            <a:avLst/>
          </a:prstGeom>
          <a:noFill/>
          <a:ln w="9525">
            <a:noFill/>
            <a:miter lim="800000"/>
            <a:headEnd/>
            <a:tailEnd/>
          </a:ln>
        </p:spPr>
        <p:txBody>
          <a:bodyPr lIns="108257" tIns="54130" rIns="0" bIns="54130" anchor="t"/>
          <a:lstStyle/>
          <a:p>
            <a:pPr algn="just" defTabSz="1208233" fontAlgn="base">
              <a:spcBef>
                <a:spcPts val="300"/>
              </a:spcBef>
              <a:spcAft>
                <a:spcPts val="300"/>
              </a:spcAft>
            </a:pPr>
            <a:r>
              <a:rPr lang="en-US" sz="943" dirty="0">
                <a:solidFill>
                  <a:srgbClr val="575757"/>
                </a:solidFill>
                <a:latin typeface="Calibri Light" panose="020F0302020204030204" pitchFamily="34" charset="0"/>
              </a:rPr>
              <a:t>Tanzeel is an Assistant Manager in Deloitte’s Cyber services. He has gained 10+ years of experience in various areas related to business continuity, disaster recovery and IT risk in a multitude of disciplines and industries. </a:t>
            </a:r>
          </a:p>
          <a:p>
            <a:pPr algn="just" defTabSz="1208233" fontAlgn="base">
              <a:spcBef>
                <a:spcPts val="300"/>
              </a:spcBef>
              <a:spcAft>
                <a:spcPts val="300"/>
              </a:spcAft>
            </a:pPr>
            <a:r>
              <a:rPr lang="en-US" sz="943" dirty="0">
                <a:solidFill>
                  <a:srgbClr val="575757"/>
                </a:solidFill>
                <a:latin typeface="Calibri Light" panose="020F0302020204030204" pitchFamily="34" charset="0"/>
              </a:rPr>
              <a:t>Tanzeel has been part of multiple teams performing end to end business continuity implementations and disaster recovery reviews based on ISO 22301. Tanzeel was involved in various advisory engagements based on ISO 27001, ISO 20000 COBIT, ITIL and more. </a:t>
            </a:r>
          </a:p>
        </p:txBody>
      </p:sp>
      <p:sp>
        <p:nvSpPr>
          <p:cNvPr id="19" name="Rectangle 18"/>
          <p:cNvSpPr/>
          <p:nvPr/>
        </p:nvSpPr>
        <p:spPr>
          <a:xfrm>
            <a:off x="397549" y="2698487"/>
            <a:ext cx="2370395" cy="2975573"/>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54122" lvl="2" indent="-152780" defTabSz="771834" fontAlgn="base">
              <a:lnSpc>
                <a:spcPts val="1014"/>
              </a:lnSpc>
              <a:spcBef>
                <a:spcPts val="300"/>
              </a:spcBef>
              <a:spcAft>
                <a:spcPts val="300"/>
              </a:spcAft>
              <a:buClr>
                <a:srgbClr val="00A3E0"/>
              </a:buClr>
              <a:buSzPct val="100000"/>
              <a:buFont typeface="Wingdings" pitchFamily="2" charset="2"/>
              <a:buChar char="§"/>
              <a:tabLst>
                <a:tab pos="4824662" algn="l"/>
              </a:tabLst>
              <a:defRPr/>
            </a:pPr>
            <a:endParaRPr lang="en-GB"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Sc. – Applied Auditing – Oxford Brookes University, UK</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Fellow Chartered and Certified Accountant (FCCA) ACCA-UK</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ternal Auditor (CIA), Institute of Internal Auditors (IIA), USA</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formation System Auditor (CISA), ISACA-USA</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nformation System Security Professional (CISSP), ISC2-USA</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7001 Lead Auditor</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0000 Lead Implementer</a:t>
            </a:r>
          </a:p>
        </p:txBody>
      </p:sp>
      <p:sp>
        <p:nvSpPr>
          <p:cNvPr id="13" name="Rectangle 3"/>
          <p:cNvSpPr txBox="1">
            <a:spLocks noChangeArrowheads="1"/>
          </p:cNvSpPr>
          <p:nvPr/>
        </p:nvSpPr>
        <p:spPr bwMode="auto">
          <a:xfrm>
            <a:off x="3218076" y="2332228"/>
            <a:ext cx="7739779" cy="2931977"/>
          </a:xfrm>
          <a:prstGeom prst="rect">
            <a:avLst/>
          </a:prstGeom>
          <a:noFill/>
          <a:ln w="9525">
            <a:noFill/>
            <a:miter lim="800000"/>
            <a:headEnd/>
            <a:tailEnd/>
          </a:ln>
        </p:spPr>
        <p:txBody>
          <a:bodyPr lIns="108257" tIns="54130" rIns="0" bIns="54130" anchor="t"/>
          <a:lstStyle/>
          <a:p>
            <a:pPr marL="189915" indent="-189915">
              <a:spcBef>
                <a:spcPts val="590"/>
              </a:spcBef>
              <a:spcAft>
                <a:spcPts val="590"/>
              </a:spcAft>
            </a:pPr>
            <a:r>
              <a:rPr lang="en-US" sz="99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lang="en-US" sz="2388" dirty="0">
              <a:solidFill>
                <a:srgbClr val="005587"/>
              </a:solidFill>
              <a:latin typeface="Calibri Light" panose="020F0302020204030204" pitchFamily="34" charset="0"/>
            </a:endParaRPr>
          </a:p>
          <a:p>
            <a:pPr marL="0" marR="0" lvl="1" indent="-169914" algn="just" fontAlgn="base">
              <a:lnSpc>
                <a:spcPct val="100000"/>
              </a:lnSpc>
              <a:spcBef>
                <a:spcPts val="200"/>
              </a:spcBef>
              <a:spcAft>
                <a:spcPts val="200"/>
              </a:spcAft>
              <a:buClrTx/>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Led End-to-End implementations of Business Continuity Management Systems as per the requirements of international standards such as ISO22301 covering current state assessment; business impact analysis; threat risk assessment; business continuity and disaster recovery strategies; crisis management plans, business continuity plans, IT DR plans; training &amp; awareness; and testing. ​</a:t>
            </a:r>
          </a:p>
          <a:p>
            <a:pPr marL="0" marR="0" lvl="1" indent="-169914" algn="just" fontAlgn="base">
              <a:lnSpc>
                <a:spcPct val="100000"/>
              </a:lnSpc>
              <a:spcBef>
                <a:spcPts val="200"/>
              </a:spcBef>
              <a:spcAft>
                <a:spcPts val="200"/>
              </a:spcAft>
              <a:buClrTx/>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Worked on the development of IT DR plan for multiple organizations. This involved identifying critical IT systems and development of measures to ensure services are available when required by the organization. </a:t>
            </a:r>
          </a:p>
          <a:p>
            <a:pPr marL="0" marR="0" lvl="1" indent="-169914" algn="just" fontAlgn="base">
              <a:lnSpc>
                <a:spcPct val="100000"/>
              </a:lnSpc>
              <a:spcBef>
                <a:spcPts val="200"/>
              </a:spcBef>
              <a:spcAft>
                <a:spcPts val="200"/>
              </a:spcAft>
              <a:buClrTx/>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Performed and managed the review of the  IT General Controls with respect to the business continuity, disaster recovery planning, backups and service management and other areas for more than 15 Abu Dhabi entities.</a:t>
            </a:r>
          </a:p>
          <a:p>
            <a:pPr marL="0" marR="0" lvl="1" indent="-169914" algn="just" fontAlgn="base">
              <a:lnSpc>
                <a:spcPct val="100000"/>
              </a:lnSpc>
              <a:spcBef>
                <a:spcPts val="200"/>
              </a:spcBef>
              <a:spcAft>
                <a:spcPts val="200"/>
              </a:spcAft>
              <a:buClrTx/>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rPr>
              <a:t>Performed and managed multiple end to end IT Risk Assessments based on security best practices such as NIST, ISO and COBIT.</a:t>
            </a:r>
          </a:p>
          <a:p>
            <a:pPr marL="0" marR="0" lvl="1" indent="-169914" algn="just" fontAlgn="base">
              <a:lnSpc>
                <a:spcPct val="100000"/>
              </a:lnSpc>
              <a:spcBef>
                <a:spcPts val="200"/>
              </a:spcBef>
              <a:spcAft>
                <a:spcPts val="200"/>
              </a:spcAft>
              <a:buClrTx/>
              <a:buSzPts val="1000"/>
              <a:buFont typeface="Arial" panose="020B0604020202020204" pitchFamily="34" charset="0"/>
              <a:buChar char="•"/>
              <a:tabLst>
                <a:tab pos="225959" algn="l"/>
              </a:tabLst>
              <a:defRPr/>
            </a:pPr>
            <a:endParaRPr lang="en-US" sz="991" dirty="0">
              <a:solidFill>
                <a:srgbClr val="575757"/>
              </a:solidFill>
              <a:latin typeface="Calibri Light" panose="020F0302020204030204" pitchFamily="34" charset="0"/>
            </a:endParaRPr>
          </a:p>
        </p:txBody>
      </p:sp>
      <p:sp>
        <p:nvSpPr>
          <p:cNvPr id="17" name="Triangle 28">
            <a:extLst>
              <a:ext uri="{FF2B5EF4-FFF2-40B4-BE49-F238E27FC236}">
                <a16:creationId xmlns:a16="http://schemas.microsoft.com/office/drawing/2014/main" id="{A86F2728-3359-4AC3-AD56-71D9C6EF99DB}"/>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2" name="Title 1">
            <a:extLst>
              <a:ext uri="{FF2B5EF4-FFF2-40B4-BE49-F238E27FC236}">
                <a16:creationId xmlns:a16="http://schemas.microsoft.com/office/drawing/2014/main" id="{08B00136-B1EA-5738-AC03-CCAE9C9D45E0}"/>
              </a:ext>
            </a:extLst>
          </p:cNvPr>
          <p:cNvSpPr txBox="1">
            <a:spLocks/>
          </p:cNvSpPr>
          <p:nvPr/>
        </p:nvSpPr>
        <p:spPr>
          <a:xfrm>
            <a:off x="3317229" y="330535"/>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0076A8"/>
                </a:solidFill>
                <a:latin typeface="Calibri Light" panose="020F0302020204030204" pitchFamily="34" charset="0"/>
                <a:cs typeface="Arial" panose="020B0604020202020204" pitchFamily="34" charset="0"/>
              </a:rPr>
              <a:t>Core Team Member</a:t>
            </a:r>
          </a:p>
        </p:txBody>
      </p:sp>
      <p:pic>
        <p:nvPicPr>
          <p:cNvPr id="4" name="Picture 3" descr="A person wearing glasses and a suit&#10;&#10;Description automatically generated with medium confidence">
            <a:extLst>
              <a:ext uri="{FF2B5EF4-FFF2-40B4-BE49-F238E27FC236}">
                <a16:creationId xmlns:a16="http://schemas.microsoft.com/office/drawing/2014/main" id="{54D1660D-139E-3C1C-847D-144E7F097C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9623" y="274935"/>
            <a:ext cx="1466538" cy="144515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aphicFrame>
        <p:nvGraphicFramePr>
          <p:cNvPr id="5" name="Table 4">
            <a:extLst>
              <a:ext uri="{FF2B5EF4-FFF2-40B4-BE49-F238E27FC236}">
                <a16:creationId xmlns:a16="http://schemas.microsoft.com/office/drawing/2014/main" id="{83E3B8DB-07E8-745D-0F57-FB97742DBCCA}"/>
              </a:ext>
            </a:extLst>
          </p:cNvPr>
          <p:cNvGraphicFramePr>
            <a:graphicFrameLocks noGrp="1"/>
          </p:cNvGraphicFramePr>
          <p:nvPr>
            <p:extLst>
              <p:ext uri="{D42A27DB-BD31-4B8C-83A1-F6EECF244321}">
                <p14:modId xmlns:p14="http://schemas.microsoft.com/office/powerpoint/2010/main" val="2605227307"/>
              </p:ext>
            </p:extLst>
          </p:nvPr>
        </p:nvGraphicFramePr>
        <p:xfrm>
          <a:off x="3190979" y="4340759"/>
          <a:ext cx="8481821" cy="2518236"/>
        </p:xfrm>
        <a:graphic>
          <a:graphicData uri="http://schemas.openxmlformats.org/drawingml/2006/table">
            <a:tbl>
              <a:tblPr firstRow="1" firstCol="1" bandRow="1"/>
              <a:tblGrid>
                <a:gridCol w="3191533">
                  <a:extLst>
                    <a:ext uri="{9D8B030D-6E8A-4147-A177-3AD203B41FA5}">
                      <a16:colId xmlns:a16="http://schemas.microsoft.com/office/drawing/2014/main" val="20000"/>
                    </a:ext>
                  </a:extLst>
                </a:gridCol>
                <a:gridCol w="5290288">
                  <a:extLst>
                    <a:ext uri="{9D8B030D-6E8A-4147-A177-3AD203B41FA5}">
                      <a16:colId xmlns:a16="http://schemas.microsoft.com/office/drawing/2014/main" val="20001"/>
                    </a:ext>
                  </a:extLst>
                </a:gridCol>
              </a:tblGrid>
              <a:tr h="1353144">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Public Investment Fund – KSA</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BMW Abu Dhabi Motors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bu Dhabi Cooperative Society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Ministry of Finance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SHUROOQ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l Ansari Exchange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l Jaleel Trading-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Grand Millennium-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Rabdan Academy-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bu Dhabi Municipality-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bu Dhabi Statistics Department- UAE</a:t>
                      </a:r>
                    </a:p>
                  </a:txBody>
                  <a:tcPr marL="72795" marR="72795" marT="27218" marB="2721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endParaRPr lang="en-US" sz="1000" kern="1200" noProof="0" dirty="0">
                        <a:solidFill>
                          <a:srgbClr val="575757"/>
                        </a:solidFill>
                        <a:latin typeface="Calibri Light" panose="020F0302020204030204" pitchFamily="34" charset="0"/>
                        <a:ea typeface="+mn-ea"/>
                        <a:cs typeface="+mn-cs"/>
                      </a:endParaRP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bu Dhabi Accountability Authority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bu Dhabi Government Media Office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bu Dhabi Department of Economic Development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bu Dhabi Digital Authority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DNOC Distribution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bu Dhabi Investment Office - UAE</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King Abdullah Economic City  – Saudi</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Pakistan Telecommunication Company Limited – Pak</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Telenor  –  Pak</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PMCL and Warid now Jazz  –  Pak</a:t>
                      </a: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endParaRPr lang="en-US" sz="1000" kern="1200" noProof="0" dirty="0">
                        <a:solidFill>
                          <a:srgbClr val="575757"/>
                        </a:solidFill>
                        <a:latin typeface="Calibri Light" panose="020F0302020204030204" pitchFamily="34" charset="0"/>
                        <a:ea typeface="+mn-ea"/>
                        <a:cs typeface="+mn-cs"/>
                      </a:endParaRP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endParaRPr lang="en-US" sz="1000" kern="1200" noProof="0" dirty="0">
                        <a:solidFill>
                          <a:srgbClr val="575757"/>
                        </a:solidFill>
                        <a:latin typeface="Calibri Light" panose="020F0302020204030204" pitchFamily="34" charset="0"/>
                        <a:ea typeface="+mn-ea"/>
                        <a:cs typeface="+mn-cs"/>
                      </a:endParaRPr>
                    </a:p>
                    <a:p>
                      <a:pPr marL="0" marR="0" lvl="1" indent="-171450" algn="just" defTabSz="914400" rtl="0" eaLnBrk="1" fontAlgn="auto" latinLnBrk="0" hangingPunct="1">
                        <a:lnSpc>
                          <a:spcPct val="100000"/>
                        </a:lnSpc>
                        <a:spcBef>
                          <a:spcPts val="200"/>
                        </a:spcBef>
                        <a:spcAft>
                          <a:spcPts val="0"/>
                        </a:spcAft>
                        <a:buClrTx/>
                        <a:buSzPts val="1000"/>
                        <a:buFont typeface="Arial" panose="020B0604020202020204" pitchFamily="34" charset="0"/>
                        <a:buChar char="•"/>
                        <a:tabLst>
                          <a:tab pos="228003" algn="l"/>
                        </a:tabLst>
                        <a:defRPr/>
                      </a:pPr>
                      <a:endParaRPr lang="en-US" sz="1000" kern="1200" noProof="0" dirty="0">
                        <a:solidFill>
                          <a:srgbClr val="575757"/>
                        </a:solidFill>
                        <a:latin typeface="Calibri Light" panose="020F0302020204030204" pitchFamily="34" charset="0"/>
                        <a:ea typeface="+mn-ea"/>
                        <a:cs typeface="+mn-cs"/>
                      </a:endParaRPr>
                    </a:p>
                  </a:txBody>
                  <a:tcPr marL="72795" marR="72795" marT="27218" marB="2721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12711484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85F4DFC-09F4-49DF-92E7-9F40DF67C26F}"/>
              </a:ext>
            </a:extLst>
          </p:cNvPr>
          <p:cNvSpPr/>
          <p:nvPr/>
        </p:nvSpPr>
        <p:spPr bwMode="gray">
          <a:xfrm>
            <a:off x="-5228" y="0"/>
            <a:ext cx="3058089"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10" name="Rectangle 9"/>
          <p:cNvSpPr/>
          <p:nvPr/>
        </p:nvSpPr>
        <p:spPr>
          <a:xfrm>
            <a:off x="197730" y="2197911"/>
            <a:ext cx="2855131" cy="585196"/>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Jason Massaad</a:t>
            </a:r>
          </a:p>
          <a:p>
            <a:pPr algn="ctr" defTabSz="1208233" eaLnBrk="0" hangingPunct="0">
              <a:lnSpc>
                <a:spcPct val="110000"/>
              </a:lnSpc>
              <a:spcAft>
                <a:spcPct val="0"/>
              </a:spcAft>
            </a:pPr>
            <a:r>
              <a:rPr lang="en-US" sz="1091" dirty="0">
                <a:solidFill>
                  <a:prstClr val="white"/>
                </a:solidFill>
                <a:latin typeface="Calibri Light" panose="020F0302020204030204" pitchFamily="34" charset="0"/>
                <a:cs typeface="Arial" panose="020B0604020202020204" pitchFamily="34" charset="0"/>
              </a:rPr>
              <a:t>Consultant</a:t>
            </a:r>
          </a:p>
        </p:txBody>
      </p:sp>
      <p:sp>
        <p:nvSpPr>
          <p:cNvPr id="16" name="Rectangle 3"/>
          <p:cNvSpPr txBox="1">
            <a:spLocks noChangeArrowheads="1"/>
          </p:cNvSpPr>
          <p:nvPr/>
        </p:nvSpPr>
        <p:spPr bwMode="auto">
          <a:xfrm>
            <a:off x="3218077" y="1008865"/>
            <a:ext cx="7739779" cy="706786"/>
          </a:xfrm>
          <a:prstGeom prst="rect">
            <a:avLst/>
          </a:prstGeom>
          <a:noFill/>
          <a:ln w="9525">
            <a:noFill/>
            <a:miter lim="800000"/>
            <a:headEnd/>
            <a:tailEnd/>
          </a:ln>
        </p:spPr>
        <p:txBody>
          <a:bodyPr lIns="108257" tIns="54130" rIns="0" bIns="54130" anchor="t"/>
          <a:lstStyle/>
          <a:p>
            <a:pPr algn="justLow" defTabSz="1208233" fontAlgn="base">
              <a:spcBef>
                <a:spcPts val="300"/>
              </a:spcBef>
              <a:spcAft>
                <a:spcPts val="300"/>
              </a:spcAft>
            </a:pPr>
            <a:r>
              <a:rPr lang="en-US" sz="943" dirty="0">
                <a:solidFill>
                  <a:srgbClr val="575757"/>
                </a:solidFill>
                <a:latin typeface="Calibri Light" panose="020F0302020204030204" pitchFamily="34" charset="0"/>
              </a:rPr>
              <a:t>Jason is a Consultant in Deloitte Risk Advisory practice working with the Crisis &amp; Resilience Team. He has been trained to work on Business Continuity International Standard ISO 22301:2019 and UAE national standard NCEMA AE/SCNS/NCEMA 7000:2021. </a:t>
            </a:r>
          </a:p>
          <a:p>
            <a:pPr algn="justLow" defTabSz="1208233" fontAlgn="base">
              <a:spcBef>
                <a:spcPts val="300"/>
              </a:spcBef>
              <a:spcAft>
                <a:spcPts val="300"/>
              </a:spcAft>
            </a:pPr>
            <a:r>
              <a:rPr lang="en-US" sz="943" dirty="0">
                <a:solidFill>
                  <a:srgbClr val="575757"/>
                </a:solidFill>
                <a:latin typeface="Calibri Light" panose="020F0302020204030204" pitchFamily="34" charset="0"/>
              </a:rPr>
              <a:t>Jason has been involved in multiple engagements working on end-to-end business continuity implementation, maintenance of the business continuity management system, current state assessment and enhancement of crisis management framework and testing and exercising.</a:t>
            </a:r>
          </a:p>
        </p:txBody>
      </p:sp>
      <p:sp>
        <p:nvSpPr>
          <p:cNvPr id="19" name="Rectangle 18"/>
          <p:cNvSpPr/>
          <p:nvPr/>
        </p:nvSpPr>
        <p:spPr>
          <a:xfrm>
            <a:off x="440097" y="2970143"/>
            <a:ext cx="2176104" cy="2936845"/>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345" lvl="2" defTabSz="771834" fontAlgn="base">
              <a:spcBef>
                <a:spcPts val="300"/>
              </a:spcBef>
              <a:spcAft>
                <a:spcPts val="300"/>
              </a:spcAft>
              <a:buClr>
                <a:srgbClr val="00A3E0"/>
              </a:buClr>
              <a:buSzPct val="100000"/>
              <a:tabLst>
                <a:tab pos="4824662" algn="l"/>
              </a:tabLst>
            </a:pPr>
            <a:endParaRPr lang="en-US"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achelor of Science in Business Administration from Boston University Questrom School of Business, Boston, MA</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2301 Business Continuity Management System Lead Implementer and Lead Auditor.</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ed ISO 27001 Information Security Management Systems Lead Implementer and Lead Auditor </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cate of the BCI (CBCI)</a:t>
            </a:r>
          </a:p>
        </p:txBody>
      </p:sp>
      <p:graphicFrame>
        <p:nvGraphicFramePr>
          <p:cNvPr id="15" name="Table 14"/>
          <p:cNvGraphicFramePr>
            <a:graphicFrameLocks noGrp="1"/>
          </p:cNvGraphicFramePr>
          <p:nvPr>
            <p:extLst>
              <p:ext uri="{D42A27DB-BD31-4B8C-83A1-F6EECF244321}">
                <p14:modId xmlns:p14="http://schemas.microsoft.com/office/powerpoint/2010/main" val="1512764595"/>
              </p:ext>
            </p:extLst>
          </p:nvPr>
        </p:nvGraphicFramePr>
        <p:xfrm>
          <a:off x="3207512" y="4023569"/>
          <a:ext cx="3888232" cy="1079003"/>
        </p:xfrm>
        <a:graphic>
          <a:graphicData uri="http://schemas.openxmlformats.org/drawingml/2006/table">
            <a:tbl>
              <a:tblPr firstRow="1" firstCol="1" bandRow="1"/>
              <a:tblGrid>
                <a:gridCol w="3888232">
                  <a:extLst>
                    <a:ext uri="{9D8B030D-6E8A-4147-A177-3AD203B41FA5}">
                      <a16:colId xmlns:a16="http://schemas.microsoft.com/office/drawing/2014/main" val="20000"/>
                    </a:ext>
                  </a:extLst>
                </a:gridCol>
              </a:tblGrid>
              <a:tr h="1079003">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a:t>
                      </a: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NEOM</a:t>
                      </a: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ROSHN Real Estate Company</a:t>
                      </a: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Solutions by stc</a:t>
                      </a: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Public Investment Fund</a:t>
                      </a: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The Olayan Group</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3"/>
          <p:cNvSpPr txBox="1">
            <a:spLocks noChangeArrowheads="1"/>
          </p:cNvSpPr>
          <p:nvPr/>
        </p:nvSpPr>
        <p:spPr bwMode="auto">
          <a:xfrm>
            <a:off x="3207514" y="1886874"/>
            <a:ext cx="7680851" cy="2136695"/>
          </a:xfrm>
          <a:prstGeom prst="rect">
            <a:avLst/>
          </a:prstGeom>
          <a:noFill/>
          <a:ln w="9525">
            <a:noFill/>
            <a:miter lim="800000"/>
            <a:headEnd/>
            <a:tailEnd/>
          </a:ln>
        </p:spPr>
        <p:txBody>
          <a:bodyPr lIns="108257" tIns="54130" rIns="0" bIns="54130" anchor="t"/>
          <a:lstStyle/>
          <a:p>
            <a:pPr marL="189915" indent="-189915">
              <a:spcBef>
                <a:spcPts val="590"/>
              </a:spcBef>
              <a:spcAft>
                <a:spcPts val="590"/>
              </a:spcAft>
            </a:pPr>
            <a:r>
              <a:rPr lang="en-US" sz="991"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lang="en-US" sz="2773" dirty="0">
              <a:solidFill>
                <a:srgbClr val="005587"/>
              </a:solidFill>
              <a:latin typeface="Calibri Light" panose="020F0302020204030204" pitchFamily="34" charset="0"/>
            </a:endParaRPr>
          </a:p>
          <a:p>
            <a:pPr marL="170084" lvl="1" indent="-170084"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usiness Continuity Governance Framework: Jason developed documentation requirements based on NCEMA 7000:2021 and ISO 22301 requirements. That includes but not limited to: Business Continuity policies, Technical procedures such as Business Impact Analysis procedure, Threat Risk Assessment procedure, Testing and Exercising procedure and Supporting Documents.</a:t>
            </a:r>
          </a:p>
          <a:p>
            <a:pPr marL="170084" lvl="1" indent="-170084"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usiness Continuity Design: End-to-End implementation of Business Continuity Management Systems as per the requirements of international standards such as ISO22301, as well as local UAE Standard issued by NCMEA AE/HSC 7000:2021. The activities include but are not limited to:</a:t>
            </a:r>
          </a:p>
          <a:p>
            <a:pPr marL="170084" lvl="1" indent="-170084"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Business Impact Analysis: Jason conducted Business Impact Analysis for corporate departments in the public sector as well as private sector. In this exercise, Jason identified organization critical processes, recovery requirements and critical dependencies.</a:t>
            </a:r>
          </a:p>
          <a:p>
            <a:pPr marL="170084" lvl="1" indent="-170084"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Threat Risk Assessment: Jason conducted Threat Risk Assessment exercise including Threat identification, Threat analysis and evaluation, and high-level assessment of threat treatment options.</a:t>
            </a:r>
          </a:p>
          <a:p>
            <a:pPr marL="170084" lvl="1" indent="-170084" algn="just">
              <a:spcBef>
                <a:spcPts val="200"/>
              </a:spcBef>
              <a:spcAft>
                <a:spcPts val="200"/>
              </a:spcAft>
              <a:buSzPts val="1000"/>
              <a:buFont typeface="Arial" panose="020B0604020202020204" pitchFamily="34" charset="0"/>
              <a:buChar char="•"/>
              <a:tabLst>
                <a:tab pos="225959" algn="l"/>
              </a:tabLst>
              <a:defRPr/>
            </a:pPr>
            <a:r>
              <a:rPr lang="en-US" sz="991" dirty="0">
                <a:solidFill>
                  <a:srgbClr val="575757"/>
                </a:solidFill>
                <a:latin typeface="Calibri Light" panose="020F0302020204030204" pitchFamily="34" charset="0"/>
                <a:ea typeface="Verdana" panose="020B0604030504040204" pitchFamily="34" charset="0"/>
                <a:cs typeface="Calibri Light" panose="020F0302020204030204" pitchFamily="34" charset="0"/>
              </a:rPr>
              <a:t>Involved in developing Crisis Management Plans, Recovery strategies, Business Continuity Plans, Testing and Exercising.</a:t>
            </a:r>
            <a:endParaRPr lang="en-US" sz="991" dirty="0">
              <a:solidFill>
                <a:srgbClr val="92D400"/>
              </a:solidFill>
              <a:latin typeface="Calibri Light" panose="020F0302020204030204" pitchFamily="34" charset="0"/>
              <a:ea typeface="Verdana" panose="020B0604030504040204" pitchFamily="34" charset="0"/>
              <a:cs typeface="Calibri Light" panose="020F0302020204030204" pitchFamily="34" charset="0"/>
            </a:endParaRPr>
          </a:p>
        </p:txBody>
      </p:sp>
      <p:sp>
        <p:nvSpPr>
          <p:cNvPr id="14" name="Triangle 28">
            <a:extLst>
              <a:ext uri="{FF2B5EF4-FFF2-40B4-BE49-F238E27FC236}">
                <a16:creationId xmlns:a16="http://schemas.microsoft.com/office/drawing/2014/main" id="{3C368271-845E-48B8-BC18-37E4E126E417}"/>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2" name="Title 1">
            <a:extLst>
              <a:ext uri="{FF2B5EF4-FFF2-40B4-BE49-F238E27FC236}">
                <a16:creationId xmlns:a16="http://schemas.microsoft.com/office/drawing/2014/main" id="{05EBA0FF-235C-1C40-70DA-1CC5940588A5}"/>
              </a:ext>
            </a:extLst>
          </p:cNvPr>
          <p:cNvSpPr txBox="1">
            <a:spLocks/>
          </p:cNvSpPr>
          <p:nvPr/>
        </p:nvSpPr>
        <p:spPr>
          <a:xfrm>
            <a:off x="3317229" y="330535"/>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0076A8"/>
                </a:solidFill>
                <a:latin typeface="Calibri Light" panose="020F0302020204030204" pitchFamily="34" charset="0"/>
                <a:cs typeface="Arial" panose="020B0604020202020204" pitchFamily="34" charset="0"/>
              </a:rPr>
              <a:t>Core Team Member</a:t>
            </a:r>
          </a:p>
        </p:txBody>
      </p:sp>
      <p:pic>
        <p:nvPicPr>
          <p:cNvPr id="3" name="F12E359B-7B67-4C4F-B26C-EAA30B0981B1" descr="Jason Massaad Picture.jpg">
            <a:extLst>
              <a:ext uri="{FF2B5EF4-FFF2-40B4-BE49-F238E27FC236}">
                <a16:creationId xmlns:a16="http://schemas.microsoft.com/office/drawing/2014/main" id="{013EEA71-71B5-72C4-940B-EFAF75E79F74}"/>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210" y="260990"/>
            <a:ext cx="1489836" cy="1479655"/>
          </a:xfrm>
          <a:prstGeom prst="ellipse">
            <a:avLst/>
          </a:prstGeom>
          <a:ln w="28575"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45211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85F4DFC-09F4-49DF-92E7-9F40DF67C26F}"/>
              </a:ext>
            </a:extLst>
          </p:cNvPr>
          <p:cNvSpPr/>
          <p:nvPr/>
        </p:nvSpPr>
        <p:spPr bwMode="gray">
          <a:xfrm>
            <a:off x="-1" y="0"/>
            <a:ext cx="3063622" cy="6858000"/>
          </a:xfrm>
          <a:prstGeom prst="rect">
            <a:avLst/>
          </a:prstGeom>
          <a:solidFill>
            <a:srgbClr val="0076A8"/>
          </a:solidFill>
          <a:ln w="19050" algn="ctr">
            <a:solidFill>
              <a:srgbClr val="0076A8"/>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Light" panose="020F0302020204030204" pitchFamily="34" charset="0"/>
            </a:endParaRPr>
          </a:p>
        </p:txBody>
      </p:sp>
      <p:sp>
        <p:nvSpPr>
          <p:cNvPr id="10" name="Rectangle 9"/>
          <p:cNvSpPr/>
          <p:nvPr/>
        </p:nvSpPr>
        <p:spPr>
          <a:xfrm>
            <a:off x="208490" y="2011306"/>
            <a:ext cx="2855131" cy="585196"/>
          </a:xfrm>
          <a:prstGeom prst="rect">
            <a:avLst/>
          </a:prstGeom>
        </p:spPr>
        <p:txBody>
          <a:bodyPr wrap="square" lIns="0" tIns="0" rIns="0" bIns="0">
            <a:spAutoFit/>
          </a:bodyPr>
          <a:lstStyle/>
          <a:p>
            <a:pPr algn="ctr" defTabSz="1208233" eaLnBrk="0" hangingPunct="0">
              <a:lnSpc>
                <a:spcPct val="110000"/>
              </a:lnSpc>
              <a:spcAft>
                <a:spcPct val="0"/>
              </a:spcAft>
            </a:pPr>
            <a:r>
              <a:rPr lang="en-US" sz="2381" dirty="0">
                <a:solidFill>
                  <a:prstClr val="white"/>
                </a:solidFill>
                <a:latin typeface="Calibri Light" panose="020F0302020204030204" pitchFamily="34" charset="0"/>
                <a:cs typeface="Arial" panose="020B0604020202020204" pitchFamily="34" charset="0"/>
              </a:rPr>
              <a:t>Lujain Alfawzan</a:t>
            </a:r>
          </a:p>
          <a:p>
            <a:pPr algn="ctr" defTabSz="1208233" eaLnBrk="0" hangingPunct="0">
              <a:lnSpc>
                <a:spcPct val="110000"/>
              </a:lnSpc>
              <a:spcAft>
                <a:spcPct val="0"/>
              </a:spcAft>
            </a:pPr>
            <a:r>
              <a:rPr lang="en-US" sz="1091" dirty="0">
                <a:solidFill>
                  <a:prstClr val="white"/>
                </a:solidFill>
                <a:latin typeface="Calibri Light" panose="020F0302020204030204" pitchFamily="34" charset="0"/>
                <a:cs typeface="Arial" panose="020B0604020202020204" pitchFamily="34" charset="0"/>
              </a:rPr>
              <a:t>Business Analyst</a:t>
            </a:r>
          </a:p>
        </p:txBody>
      </p:sp>
      <p:sp>
        <p:nvSpPr>
          <p:cNvPr id="16" name="Rectangle 3"/>
          <p:cNvSpPr txBox="1">
            <a:spLocks noChangeArrowheads="1"/>
          </p:cNvSpPr>
          <p:nvPr/>
        </p:nvSpPr>
        <p:spPr bwMode="auto">
          <a:xfrm>
            <a:off x="3218077" y="1008865"/>
            <a:ext cx="7739779" cy="706786"/>
          </a:xfrm>
          <a:prstGeom prst="rect">
            <a:avLst/>
          </a:prstGeom>
          <a:noFill/>
          <a:ln w="9525">
            <a:noFill/>
            <a:miter lim="800000"/>
            <a:headEnd/>
            <a:tailEnd/>
          </a:ln>
        </p:spPr>
        <p:txBody>
          <a:bodyPr lIns="108257" tIns="54130" rIns="0" bIns="54130" anchor="t"/>
          <a:lstStyle/>
          <a:p>
            <a:pPr algn="justLow" defTabSz="1208233" fontAlgn="base">
              <a:spcBef>
                <a:spcPts val="300"/>
              </a:spcBef>
              <a:spcAft>
                <a:spcPts val="300"/>
              </a:spcAft>
            </a:pPr>
            <a:r>
              <a:rPr lang="en-US" sz="943" dirty="0">
                <a:solidFill>
                  <a:srgbClr val="575757"/>
                </a:solidFill>
                <a:latin typeface="Calibri Light" panose="020F0302020204030204" pitchFamily="34" charset="0"/>
              </a:rPr>
              <a:t>Lujain is a Business Analyst in Deloitte’s Cyber services in Riyadh, KSA with experience in business continuity management and project management. She holds a Bachelor Degree in Computer Science from Al-imam Mohammed bin Saud University and is CBCI certified. She did her COOP training with Sahab National Company for 6 months.</a:t>
            </a:r>
          </a:p>
        </p:txBody>
      </p:sp>
      <p:sp>
        <p:nvSpPr>
          <p:cNvPr id="19" name="Rectangle 18"/>
          <p:cNvSpPr/>
          <p:nvPr/>
        </p:nvSpPr>
        <p:spPr>
          <a:xfrm>
            <a:off x="450854" y="2736591"/>
            <a:ext cx="2370395" cy="1341408"/>
          </a:xfrm>
          <a:prstGeom prst="rect">
            <a:avLst/>
          </a:prstGeom>
        </p:spPr>
        <p:txBody>
          <a:bodyPr wrap="square" lIns="90818" tIns="45410" rIns="90818" bIns="45410" anchor="t">
            <a:spAutoFit/>
          </a:bodyPr>
          <a:lstStyle/>
          <a:p>
            <a:pPr indent="-159629" defTabSz="948386">
              <a:lnSpc>
                <a:spcPts val="1014"/>
              </a:lnSpc>
              <a:spcBef>
                <a:spcPts val="590"/>
              </a:spcBef>
              <a:buClr>
                <a:srgbClr val="000066"/>
              </a:buClr>
              <a:buSzPct val="75000"/>
              <a:tabLst>
                <a:tab pos="1312455" algn="l"/>
              </a:tabLst>
              <a:defRPr/>
            </a:pPr>
            <a:r>
              <a:rPr lang="en-US" sz="1091" dirty="0">
                <a:solidFill>
                  <a:schemeClr val="bg1"/>
                </a:solidFill>
                <a:latin typeface="Calibri Light" panose="020F0302020204030204" pitchFamily="34" charset="0"/>
                <a:ea typeface="Verdana" panose="020B0604030504040204" pitchFamily="34" charset="0"/>
                <a:cs typeface="Calibri Light" panose="020F0302020204030204" pitchFamily="34" charset="0"/>
              </a:rPr>
              <a:t>Professional and Technical Qualification</a:t>
            </a:r>
            <a:endParaRPr lang="en-US" sz="2388" dirty="0">
              <a:solidFill>
                <a:schemeClr val="bg1"/>
              </a:solidFill>
              <a:latin typeface="Calibri Light" panose="020F0302020204030204" pitchFamily="34" charset="0"/>
            </a:endParaRPr>
          </a:p>
          <a:p>
            <a:pPr marL="1345" lvl="2" defTabSz="771834" fontAlgn="base">
              <a:spcBef>
                <a:spcPts val="300"/>
              </a:spcBef>
              <a:spcAft>
                <a:spcPts val="300"/>
              </a:spcAft>
              <a:buClr>
                <a:srgbClr val="00A3E0"/>
              </a:buClr>
              <a:buSzPct val="100000"/>
              <a:tabLst>
                <a:tab pos="4824662" algn="l"/>
              </a:tabLst>
            </a:pPr>
            <a:endParaRPr lang="en-US" sz="1041" dirty="0">
              <a:solidFill>
                <a:srgbClr val="FFFFFF"/>
              </a:solidFill>
              <a:latin typeface="Calibri Light" panose="020F0302020204030204" pitchFamily="34" charset="0"/>
              <a:ea typeface="Verdana" panose="020B0604030504040204" pitchFamily="34" charset="0"/>
            </a:endParaRP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Bachelor’s degree in Computer Science from Al-imam Mohammed bin Saud University</a:t>
            </a:r>
          </a:p>
          <a:p>
            <a:pPr marL="154122" lvl="2" indent="-152780" defTabSz="771834" fontAlgn="base">
              <a:spcBef>
                <a:spcPts val="300"/>
              </a:spcBef>
              <a:spcAft>
                <a:spcPts val="300"/>
              </a:spcAft>
              <a:buClr>
                <a:srgbClr val="00A3E0"/>
              </a:buClr>
              <a:buSzPct val="100000"/>
              <a:buFont typeface="Wingdings" pitchFamily="2" charset="2"/>
              <a:buChar char="§"/>
              <a:tabLst>
                <a:tab pos="4824662" algn="l"/>
              </a:tabLst>
            </a:pPr>
            <a:r>
              <a:rPr lang="en-US" sz="1041" dirty="0">
                <a:solidFill>
                  <a:srgbClr val="FFFFFF"/>
                </a:solidFill>
                <a:latin typeface="Calibri Light" panose="020F0302020204030204" pitchFamily="34" charset="0"/>
                <a:ea typeface="Verdana" panose="020B0604030504040204" pitchFamily="34" charset="0"/>
              </a:rPr>
              <a:t>Certificate of the BCI (CBCI)</a:t>
            </a:r>
          </a:p>
        </p:txBody>
      </p:sp>
      <p:graphicFrame>
        <p:nvGraphicFramePr>
          <p:cNvPr id="15" name="Table 14"/>
          <p:cNvGraphicFramePr>
            <a:graphicFrameLocks noGrp="1"/>
          </p:cNvGraphicFramePr>
          <p:nvPr>
            <p:extLst>
              <p:ext uri="{D42A27DB-BD31-4B8C-83A1-F6EECF244321}">
                <p14:modId xmlns:p14="http://schemas.microsoft.com/office/powerpoint/2010/main" val="1460611850"/>
              </p:ext>
            </p:extLst>
          </p:nvPr>
        </p:nvGraphicFramePr>
        <p:xfrm>
          <a:off x="3338430" y="3905516"/>
          <a:ext cx="3803034" cy="1079003"/>
        </p:xfrm>
        <a:graphic>
          <a:graphicData uri="http://schemas.openxmlformats.org/drawingml/2006/table">
            <a:tbl>
              <a:tblPr firstRow="1" firstCol="1" bandRow="1"/>
              <a:tblGrid>
                <a:gridCol w="3803034">
                  <a:extLst>
                    <a:ext uri="{9D8B030D-6E8A-4147-A177-3AD203B41FA5}">
                      <a16:colId xmlns:a16="http://schemas.microsoft.com/office/drawing/2014/main" val="20000"/>
                    </a:ext>
                  </a:extLst>
                </a:gridCol>
              </a:tblGrid>
              <a:tr h="1079003">
                <a:tc>
                  <a:txBody>
                    <a:bodyPr/>
                    <a:lstStyle>
                      <a:lvl1pPr marL="0" algn="l" defTabSz="1219170" rtl="0" eaLnBrk="1" latinLnBrk="0" hangingPunct="1">
                        <a:defRPr sz="2400" kern="1200">
                          <a:solidFill>
                            <a:schemeClr val="tx1"/>
                          </a:solidFill>
                          <a:latin typeface="Verdana"/>
                        </a:defRPr>
                      </a:lvl1pPr>
                      <a:lvl2pPr marL="609585" algn="l" defTabSz="1219170" rtl="0" eaLnBrk="1" latinLnBrk="0" hangingPunct="1">
                        <a:defRPr sz="2400" kern="1200">
                          <a:solidFill>
                            <a:schemeClr val="tx1"/>
                          </a:solidFill>
                          <a:latin typeface="Verdana"/>
                        </a:defRPr>
                      </a:lvl2pPr>
                      <a:lvl3pPr marL="1219170" algn="l" defTabSz="1219170" rtl="0" eaLnBrk="1" latinLnBrk="0" hangingPunct="1">
                        <a:defRPr sz="2400" kern="1200">
                          <a:solidFill>
                            <a:schemeClr val="tx1"/>
                          </a:solidFill>
                          <a:latin typeface="Verdana"/>
                        </a:defRPr>
                      </a:lvl3pPr>
                      <a:lvl4pPr marL="1828754" algn="l" defTabSz="1219170" rtl="0" eaLnBrk="1" latinLnBrk="0" hangingPunct="1">
                        <a:defRPr sz="2400" kern="1200">
                          <a:solidFill>
                            <a:schemeClr val="tx1"/>
                          </a:solidFill>
                          <a:latin typeface="Verdana"/>
                        </a:defRPr>
                      </a:lvl4pPr>
                      <a:lvl5pPr marL="2438339" algn="l" defTabSz="1219170" rtl="0" eaLnBrk="1" latinLnBrk="0" hangingPunct="1">
                        <a:defRPr sz="2400" kern="1200">
                          <a:solidFill>
                            <a:schemeClr val="tx1"/>
                          </a:solidFill>
                          <a:latin typeface="Verdana"/>
                        </a:defRPr>
                      </a:lvl5pPr>
                      <a:lvl6pPr marL="3047924" algn="l" defTabSz="1219170" rtl="0" eaLnBrk="1" latinLnBrk="0" hangingPunct="1">
                        <a:defRPr sz="2400" kern="1200">
                          <a:solidFill>
                            <a:schemeClr val="tx1"/>
                          </a:solidFill>
                          <a:latin typeface="Verdana"/>
                        </a:defRPr>
                      </a:lvl6pPr>
                      <a:lvl7pPr marL="3657509" algn="l" defTabSz="1219170" rtl="0" eaLnBrk="1" latinLnBrk="0" hangingPunct="1">
                        <a:defRPr sz="2400" kern="1200">
                          <a:solidFill>
                            <a:schemeClr val="tx1"/>
                          </a:solidFill>
                          <a:latin typeface="Verdana"/>
                        </a:defRPr>
                      </a:lvl7pPr>
                      <a:lvl8pPr marL="4267093" algn="l" defTabSz="1219170" rtl="0" eaLnBrk="1" latinLnBrk="0" hangingPunct="1">
                        <a:defRPr sz="2400" kern="1200">
                          <a:solidFill>
                            <a:schemeClr val="tx1"/>
                          </a:solidFill>
                          <a:latin typeface="Verdana"/>
                        </a:defRPr>
                      </a:lvl8pPr>
                      <a:lvl9pPr marL="4876678" algn="l" defTabSz="1219170" rtl="0" eaLnBrk="1" latinLnBrk="0" hangingPunct="1">
                        <a:defRPr sz="2400" kern="1200">
                          <a:solidFill>
                            <a:schemeClr val="tx1"/>
                          </a:solidFill>
                          <a:latin typeface="Verdana"/>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Clients</a:t>
                      </a:r>
                      <a:endParaRPr lang="en-US" sz="1000" kern="1200" noProof="0" dirty="0">
                        <a:solidFill>
                          <a:srgbClr val="575757"/>
                        </a:solidFill>
                        <a:latin typeface="Calibri Light" panose="020F0302020204030204" pitchFamily="34" charset="0"/>
                        <a:ea typeface="Verdana" panose="020B0604030504040204" pitchFamily="34" charset="0"/>
                        <a:cs typeface="Calibri Light" panose="020F0302020204030204" pitchFamily="34" charset="0"/>
                      </a:endParaRP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NEOM</a:t>
                      </a:r>
                    </a:p>
                    <a:p>
                      <a:pPr marL="171259" marR="0" lvl="1" indent="-171259" algn="just" defTabSz="914400" rtl="0" eaLnBrk="1" fontAlgn="auto" latinLnBrk="0" hangingPunct="1">
                        <a:lnSpc>
                          <a:spcPts val="1000"/>
                        </a:lnSpc>
                        <a:spcBef>
                          <a:spcPts val="200"/>
                        </a:spcBef>
                        <a:spcAft>
                          <a:spcPts val="200"/>
                        </a:spcAft>
                        <a:buClrTx/>
                        <a:buSzPts val="1000"/>
                        <a:buFont typeface="Arial" panose="020B0604020202020204" pitchFamily="34" charset="0"/>
                        <a:buChar char="•"/>
                        <a:tabLst>
                          <a:tab pos="228003" algn="l"/>
                        </a:tabLst>
                        <a:defRPr/>
                      </a:pPr>
                      <a:r>
                        <a:rPr lang="en-US" sz="1000" kern="1200" noProof="0" dirty="0">
                          <a:solidFill>
                            <a:srgbClr val="575757"/>
                          </a:solidFill>
                          <a:latin typeface="Calibri Light" panose="020F0302020204030204" pitchFamily="34" charset="0"/>
                          <a:ea typeface="+mn-ea"/>
                          <a:cs typeface="+mn-cs"/>
                        </a:rPr>
                        <a:t>Alinma Bank</a:t>
                      </a:r>
                    </a:p>
                  </a:txBody>
                  <a:tcPr marL="72116" marR="72116" marT="26966" marB="26966">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3"/>
          <p:cNvSpPr txBox="1">
            <a:spLocks noChangeArrowheads="1"/>
          </p:cNvSpPr>
          <p:nvPr/>
        </p:nvSpPr>
        <p:spPr bwMode="auto">
          <a:xfrm>
            <a:off x="3207508" y="1715650"/>
            <a:ext cx="7831774" cy="2069966"/>
          </a:xfrm>
          <a:prstGeom prst="rect">
            <a:avLst/>
          </a:prstGeom>
          <a:noFill/>
          <a:ln w="9525">
            <a:noFill/>
            <a:miter lim="800000"/>
            <a:headEnd/>
            <a:tailEnd/>
          </a:ln>
        </p:spPr>
        <p:txBody>
          <a:bodyPr lIns="108257" tIns="54130" rIns="0" bIns="54130" anchor="t"/>
          <a:lstStyle/>
          <a:p>
            <a:pPr marL="189915" indent="-189915">
              <a:spcBef>
                <a:spcPts val="590"/>
              </a:spcBef>
              <a:spcAft>
                <a:spcPts val="590"/>
              </a:spcAft>
            </a:pPr>
            <a:r>
              <a:rPr lang="en-US" sz="991" dirty="0">
                <a:solidFill>
                  <a:srgbClr val="005587"/>
                </a:solidFill>
                <a:latin typeface="Calibri Light" panose="020F0302020204030204" pitchFamily="34" charset="0"/>
                <a:ea typeface="Verdana" panose="020B0604030504040204" pitchFamily="34" charset="0"/>
                <a:cs typeface="Calibri Light" panose="020F0302020204030204" pitchFamily="34" charset="0"/>
              </a:rPr>
              <a:t>Key Relevant Engagements – Outline</a:t>
            </a:r>
            <a:endParaRPr lang="en-US" sz="2773" dirty="0">
              <a:solidFill>
                <a:srgbClr val="005587"/>
              </a:solidFill>
              <a:latin typeface="Calibri Light" panose="020F0302020204030204" pitchFamily="34" charset="0"/>
            </a:endParaRP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Core team member as part of BCM project in NEOM working on multiple business units</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Core team member for delivery of crisis simulation at Alinma Bank</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Published book chapter entitled “Security Challenges for UAV Systems Communications: Potential Attacks and Countermeasures” in the book series: Synthesis Lectures on Intelligent Technologies (SLIT), specifically as a part of "Unmanned Aerial Vehicles Applications: Challenges and Trends" book, Springer, 2023.</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Her Graduation Project “Detecting Cyber-Attacks Against Unmanned Aerial Vehicles Using Machine Learning Model” was chosen as one of the outstanding projects to represent Al-Imam Mohammed bin Saud University at the Sustainable Partnerships Conference entitled "Research and Innovation to Build a Prosperous Economy”.</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Worked in Sahab National Company as project management Intern for 6 months.</a:t>
            </a:r>
          </a:p>
          <a:p>
            <a:pPr marL="171450" lvl="1" indent="-171450" algn="just" fontAlgn="base">
              <a:lnSpc>
                <a:spcPts val="991"/>
              </a:lnSpc>
              <a:spcBef>
                <a:spcPts val="200"/>
              </a:spcBef>
              <a:spcAft>
                <a:spcPts val="200"/>
              </a:spcAft>
              <a:buSzPts val="1000"/>
              <a:buFont typeface="Arial" panose="020B0604020202020204" pitchFamily="34" charset="0"/>
              <a:buChar char="•"/>
              <a:tabLst>
                <a:tab pos="225959" algn="l"/>
              </a:tabLst>
              <a:defRPr/>
            </a:pPr>
            <a:r>
              <a:rPr lang="en-US" sz="943" dirty="0">
                <a:solidFill>
                  <a:srgbClr val="575757"/>
                </a:solidFill>
                <a:latin typeface="Calibri Light" panose="020F0302020204030204" pitchFamily="34" charset="0"/>
              </a:rPr>
              <a:t>During her time at Sahab National Company, she managed the “Digital Inspection” project by creating a solid project plan, risk assessment reports, and leading the technical team.</a:t>
            </a:r>
          </a:p>
        </p:txBody>
      </p:sp>
      <p:sp>
        <p:nvSpPr>
          <p:cNvPr id="14" name="Triangle 28">
            <a:extLst>
              <a:ext uri="{FF2B5EF4-FFF2-40B4-BE49-F238E27FC236}">
                <a16:creationId xmlns:a16="http://schemas.microsoft.com/office/drawing/2014/main" id="{A55C39C1-E91E-44E2-A7D3-E6FF6B93CC2C}"/>
              </a:ext>
            </a:extLst>
          </p:cNvPr>
          <p:cNvSpPr/>
          <p:nvPr/>
        </p:nvSpPr>
        <p:spPr>
          <a:xfrm rot="16200000">
            <a:off x="11076609" y="5247031"/>
            <a:ext cx="264966" cy="228419"/>
          </a:xfrm>
          <a:prstGeom prst="triangl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2" name="Title 1">
            <a:extLst>
              <a:ext uri="{FF2B5EF4-FFF2-40B4-BE49-F238E27FC236}">
                <a16:creationId xmlns:a16="http://schemas.microsoft.com/office/drawing/2014/main" id="{EAE4ABD5-883D-62B6-A853-BD409760BC3C}"/>
              </a:ext>
            </a:extLst>
          </p:cNvPr>
          <p:cNvSpPr txBox="1">
            <a:spLocks/>
          </p:cNvSpPr>
          <p:nvPr/>
        </p:nvSpPr>
        <p:spPr>
          <a:xfrm>
            <a:off x="3317229" y="330535"/>
            <a:ext cx="7286397" cy="466096"/>
          </a:xfrm>
          <a:prstGeom prst="rect">
            <a:avLst/>
          </a:prstGeom>
        </p:spPr>
        <p:txBody>
          <a:bodyPr vert="horz" lIns="0" tIns="0" rIns="0" bIns="0" rtlCol="0" anchor="t" anchorCtr="0">
            <a:noAutofit/>
          </a:bodyPr>
          <a:lstStyle>
            <a:lvl1pPr algn="l" defTabSz="916686" rtl="0" eaLnBrk="1" latinLnBrk="0" hangingPunct="1">
              <a:spcBef>
                <a:spcPct val="0"/>
              </a:spcBef>
              <a:buNone/>
              <a:defRPr sz="2807" kern="1200">
                <a:solidFill>
                  <a:schemeClr val="accent1"/>
                </a:solidFill>
                <a:latin typeface="+mj-lt"/>
                <a:ea typeface="+mj-ea"/>
                <a:cs typeface="+mj-cs"/>
              </a:defRPr>
            </a:lvl1pPr>
          </a:lstStyle>
          <a:p>
            <a:pPr defTabSz="905920"/>
            <a:r>
              <a:rPr lang="en-US" sz="2981" dirty="0">
                <a:solidFill>
                  <a:srgbClr val="0076A8"/>
                </a:solidFill>
                <a:latin typeface="Calibri Light" panose="020F0302020204030204" pitchFamily="34" charset="0"/>
                <a:cs typeface="Arial" panose="020B0604020202020204" pitchFamily="34" charset="0"/>
              </a:rPr>
              <a:t>Core Team Member</a:t>
            </a:r>
          </a:p>
        </p:txBody>
      </p:sp>
      <p:pic>
        <p:nvPicPr>
          <p:cNvPr id="4" name="Picture 3">
            <a:extLst>
              <a:ext uri="{FF2B5EF4-FFF2-40B4-BE49-F238E27FC236}">
                <a16:creationId xmlns:a16="http://schemas.microsoft.com/office/drawing/2014/main" id="{821691F4-055F-DED4-1A47-382E352ECEC7}"/>
              </a:ext>
            </a:extLst>
          </p:cNvPr>
          <p:cNvPicPr>
            <a:picLocks noChangeAspect="1"/>
          </p:cNvPicPr>
          <p:nvPr/>
        </p:nvPicPr>
        <p:blipFill rotWithShape="1">
          <a:blip r:embed="rId2"/>
          <a:srcRect l="17140" t="21975" r="13998" b="1204"/>
          <a:stretch/>
        </p:blipFill>
        <p:spPr>
          <a:xfrm>
            <a:off x="761014" y="257550"/>
            <a:ext cx="1466230" cy="148653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3954261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643837E0-CD69-40BE-ADBC-3B0D264EAE62}"/>
              </a:ext>
            </a:extLst>
          </p:cNvPr>
          <p:cNvSpPr>
            <a:spLocks noGrp="1"/>
          </p:cNvSpPr>
          <p:nvPr>
            <p:ph type="body" sz="quarter" idx="13"/>
          </p:nvPr>
        </p:nvSpPr>
        <p:spPr>
          <a:xfrm>
            <a:off x="522373" y="761804"/>
            <a:ext cx="11147258" cy="750193"/>
          </a:xfrm>
        </p:spPr>
        <p:txBody>
          <a:bodyPr/>
          <a:lstStyle/>
          <a:p>
            <a:r>
              <a:rPr lang="en-US" dirty="0">
                <a:cs typeface="Calibri" panose="020F0502020204030204" pitchFamily="34" charset="0"/>
              </a:rPr>
              <a:t>We Know You</a:t>
            </a:r>
          </a:p>
        </p:txBody>
      </p:sp>
      <p:sp>
        <p:nvSpPr>
          <p:cNvPr id="11" name="Title 1">
            <a:extLst>
              <a:ext uri="{FF2B5EF4-FFF2-40B4-BE49-F238E27FC236}">
                <a16:creationId xmlns:a16="http://schemas.microsoft.com/office/drawing/2014/main" id="{7616DF33-BDD9-459D-AAFE-AEE6EDDDC8D8}"/>
              </a:ext>
            </a:extLst>
          </p:cNvPr>
          <p:cNvSpPr>
            <a:spLocks noGrp="1"/>
          </p:cNvSpPr>
          <p:nvPr>
            <p:ph type="title"/>
          </p:nvPr>
        </p:nvSpPr>
        <p:spPr>
          <a:xfrm>
            <a:off x="522373" y="430820"/>
            <a:ext cx="11147258" cy="330986"/>
          </a:xfrm>
        </p:spPr>
        <p:txBody>
          <a:bodyPr/>
          <a:lstStyle/>
          <a:p>
            <a:r>
              <a:rPr lang="en-US" sz="2382" dirty="0">
                <a:cs typeface="Calibri" panose="020F0502020204030204" pitchFamily="34" charset="0"/>
              </a:rPr>
              <a:t>Executive Summary</a:t>
            </a:r>
          </a:p>
        </p:txBody>
      </p:sp>
      <p:sp>
        <p:nvSpPr>
          <p:cNvPr id="119" name="Content Placeholder 2">
            <a:extLst>
              <a:ext uri="{FF2B5EF4-FFF2-40B4-BE49-F238E27FC236}">
                <a16:creationId xmlns:a16="http://schemas.microsoft.com/office/drawing/2014/main" id="{505EF4A3-C286-4601-B0BC-2D59C2830976}"/>
              </a:ext>
            </a:extLst>
          </p:cNvPr>
          <p:cNvSpPr txBox="1">
            <a:spLocks/>
          </p:cNvSpPr>
          <p:nvPr/>
        </p:nvSpPr>
        <p:spPr>
          <a:xfrm>
            <a:off x="964323" y="1393117"/>
            <a:ext cx="4740430" cy="337603"/>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782" b="1" dirty="0">
                <a:solidFill>
                  <a:srgbClr val="111C4E"/>
                </a:solidFill>
                <a:cs typeface="Calibri" panose="020F0502020204030204" pitchFamily="34" charset="0"/>
              </a:rPr>
              <a:t>Our experience with the stc Group</a:t>
            </a:r>
          </a:p>
        </p:txBody>
      </p:sp>
      <p:sp>
        <p:nvSpPr>
          <p:cNvPr id="126" name="Freeform 54">
            <a:extLst>
              <a:ext uri="{FF2B5EF4-FFF2-40B4-BE49-F238E27FC236}">
                <a16:creationId xmlns:a16="http://schemas.microsoft.com/office/drawing/2014/main" id="{1F13CEC3-21A4-427C-BB98-EFFA102AFCF9}"/>
              </a:ext>
            </a:extLst>
          </p:cNvPr>
          <p:cNvSpPr>
            <a:spLocks noEditPoints="1"/>
          </p:cNvSpPr>
          <p:nvPr/>
        </p:nvSpPr>
        <p:spPr bwMode="auto">
          <a:xfrm>
            <a:off x="557936" y="1380744"/>
            <a:ext cx="362349" cy="362349"/>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rgbClr val="111C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a:defRPr/>
            </a:pPr>
            <a:endParaRPr lang="en-GB" sz="1782" dirty="0">
              <a:solidFill>
                <a:prstClr val="black"/>
              </a:solidFill>
              <a:latin typeface="Sakkal Majalla" panose="02000000000000000000" pitchFamily="2" charset="-78"/>
              <a:cs typeface="Sakkal Majalla" panose="02000000000000000000" pitchFamily="2" charset="-78"/>
            </a:endParaRPr>
          </a:p>
        </p:txBody>
      </p:sp>
      <p:sp>
        <p:nvSpPr>
          <p:cNvPr id="5" name="TextBox 4">
            <a:extLst>
              <a:ext uri="{FF2B5EF4-FFF2-40B4-BE49-F238E27FC236}">
                <a16:creationId xmlns:a16="http://schemas.microsoft.com/office/drawing/2014/main" id="{43DA5763-6154-4D4A-9B7B-711C67C628D9}"/>
              </a:ext>
            </a:extLst>
          </p:cNvPr>
          <p:cNvSpPr txBox="1"/>
          <p:nvPr/>
        </p:nvSpPr>
        <p:spPr bwMode="gray">
          <a:xfrm>
            <a:off x="4906666" y="349613"/>
            <a:ext cx="906812" cy="906812"/>
          </a:xfrm>
          <a:prstGeom prst="rect">
            <a:avLst/>
          </a:prstGeom>
        </p:spPr>
        <p:txBody>
          <a:bodyPr wrap="none" lIns="0" rIns="0" rtlCol="0" anchor="b" anchorCtr="0">
            <a:normAutofit/>
          </a:bodyPr>
          <a:lstStyle/>
          <a:p>
            <a:pPr>
              <a:lnSpc>
                <a:spcPts val="892"/>
              </a:lnSpc>
            </a:pPr>
            <a:endParaRPr lang="en-US" sz="1292" b="1" dirty="0"/>
          </a:p>
        </p:txBody>
      </p:sp>
      <p:sp>
        <p:nvSpPr>
          <p:cNvPr id="36" name="Triangle 28">
            <a:extLst>
              <a:ext uri="{FF2B5EF4-FFF2-40B4-BE49-F238E27FC236}">
                <a16:creationId xmlns:a16="http://schemas.microsoft.com/office/drawing/2014/main" id="{1F25EAE9-E0DF-4F54-81AA-0B92F081BF8E}"/>
              </a:ext>
            </a:extLst>
          </p:cNvPr>
          <p:cNvSpPr/>
          <p:nvPr/>
        </p:nvSpPr>
        <p:spPr>
          <a:xfrm rot="16200000">
            <a:off x="11053748" y="1371995"/>
            <a:ext cx="264966" cy="228419"/>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Sakkal Majalla" panose="02000000000000000000" pitchFamily="2" charset="-78"/>
              <a:cs typeface="Sakkal Majalla" panose="02000000000000000000" pitchFamily="2" charset="-78"/>
            </a:endParaRPr>
          </a:p>
        </p:txBody>
      </p:sp>
      <p:sp>
        <p:nvSpPr>
          <p:cNvPr id="39" name="Rectangle 38">
            <a:extLst>
              <a:ext uri="{FF2B5EF4-FFF2-40B4-BE49-F238E27FC236}">
                <a16:creationId xmlns:a16="http://schemas.microsoft.com/office/drawing/2014/main" id="{05F520DE-2731-45C8-B050-767010F80DD6}"/>
              </a:ext>
            </a:extLst>
          </p:cNvPr>
          <p:cNvSpPr/>
          <p:nvPr/>
        </p:nvSpPr>
        <p:spPr bwMode="gray">
          <a:xfrm>
            <a:off x="1" y="0"/>
            <a:ext cx="165462" cy="6858000"/>
          </a:xfrm>
          <a:prstGeom prst="rect">
            <a:avLst/>
          </a:prstGeom>
          <a:solidFill>
            <a:srgbClr val="7F7F7F"/>
          </a:solidFill>
          <a:ln w="19050" algn="ctr">
            <a:noFill/>
            <a:miter lim="800000"/>
            <a:headEnd/>
            <a:tailEnd/>
          </a:ln>
        </p:spPr>
        <p:txBody>
          <a:bodyPr wrap="square" lIns="88900" tIns="88900" rIns="88900" bIns="88900" rtlCol="0" anchor="b"/>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sp>
        <p:nvSpPr>
          <p:cNvPr id="6" name="Text Placeholder 12">
            <a:extLst>
              <a:ext uri="{FF2B5EF4-FFF2-40B4-BE49-F238E27FC236}">
                <a16:creationId xmlns:a16="http://schemas.microsoft.com/office/drawing/2014/main" id="{7F99FF6F-CD1A-FA15-8881-E29FE17D7A20}"/>
              </a:ext>
            </a:extLst>
          </p:cNvPr>
          <p:cNvSpPr txBox="1">
            <a:spLocks/>
          </p:cNvSpPr>
          <p:nvPr/>
        </p:nvSpPr>
        <p:spPr>
          <a:xfrm>
            <a:off x="1062500" y="1754771"/>
            <a:ext cx="9284506" cy="43713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2000" b="0" kern="1200">
                <a:solidFill>
                  <a:schemeClr val="tx2"/>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defTabSz="916686">
              <a:spcAft>
                <a:spcPts val="1003"/>
              </a:spcAft>
            </a:pPr>
            <a:r>
              <a:rPr lang="en-US" sz="1100" dirty="0">
                <a:solidFill>
                  <a:schemeClr val="tx1"/>
                </a:solidFill>
                <a:latin typeface="Calibri" panose="020F0502020204030204" pitchFamily="34" charset="0"/>
                <a:cs typeface="Calibri" panose="020F0502020204030204" pitchFamily="34" charset="0"/>
              </a:rPr>
              <a:t>Deloitte understands the stc Group and its subsidiaries, working with your organization across multiple engagements. We believe our insight gained from these past engagements can be leveraged to ensure successful project delivery. A selection of these engagements is set out below:</a:t>
            </a:r>
          </a:p>
        </p:txBody>
      </p:sp>
      <p:grpSp>
        <p:nvGrpSpPr>
          <p:cNvPr id="7" name="Group 6">
            <a:extLst>
              <a:ext uri="{FF2B5EF4-FFF2-40B4-BE49-F238E27FC236}">
                <a16:creationId xmlns:a16="http://schemas.microsoft.com/office/drawing/2014/main" id="{94221F40-30BC-D72C-7FC2-989291A3F084}"/>
              </a:ext>
            </a:extLst>
          </p:cNvPr>
          <p:cNvGrpSpPr/>
          <p:nvPr/>
        </p:nvGrpSpPr>
        <p:grpSpPr>
          <a:xfrm>
            <a:off x="422272" y="2200314"/>
            <a:ext cx="10694425" cy="4436624"/>
            <a:chOff x="-49528" y="1443840"/>
            <a:chExt cx="12241528" cy="5368312"/>
          </a:xfrm>
        </p:grpSpPr>
        <p:pic>
          <p:nvPicPr>
            <p:cNvPr id="14" name="Picture 13">
              <a:extLst>
                <a:ext uri="{FF2B5EF4-FFF2-40B4-BE49-F238E27FC236}">
                  <a16:creationId xmlns:a16="http://schemas.microsoft.com/office/drawing/2014/main" id="{F015A1CF-4516-9BB8-0E17-78F8E247EA59}"/>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a:off x="8681223" y="2818845"/>
              <a:ext cx="611842" cy="249392"/>
            </a:xfrm>
            <a:prstGeom prst="rect">
              <a:avLst/>
            </a:prstGeom>
            <a:ln w="25400">
              <a:solidFill>
                <a:sysClr val="window" lastClr="FFFFFF"/>
              </a:solidFill>
            </a:ln>
            <a:effectLst/>
          </p:spPr>
        </p:pic>
        <p:pic>
          <p:nvPicPr>
            <p:cNvPr id="15" name="Picture 14">
              <a:extLst>
                <a:ext uri="{FF2B5EF4-FFF2-40B4-BE49-F238E27FC236}">
                  <a16:creationId xmlns:a16="http://schemas.microsoft.com/office/drawing/2014/main" id="{6C41CC93-96AB-9916-3EAE-8F363B9BD99D}"/>
                </a:ext>
              </a:extLst>
            </p:cNvPr>
            <p:cNvPicPr>
              <a:picLocks noChangeAspect="1"/>
            </p:cNvPicPr>
            <p:nvPr/>
          </p:nvPicPr>
          <p:blipFill>
            <a:blip r:embed="rId4"/>
            <a:stretch>
              <a:fillRect/>
            </a:stretch>
          </p:blipFill>
          <p:spPr>
            <a:xfrm>
              <a:off x="302951" y="4260279"/>
              <a:ext cx="611842" cy="249992"/>
            </a:xfrm>
            <a:prstGeom prst="rect">
              <a:avLst/>
            </a:prstGeom>
          </p:spPr>
        </p:pic>
        <p:pic>
          <p:nvPicPr>
            <p:cNvPr id="20" name="Picture 19">
              <a:extLst>
                <a:ext uri="{FF2B5EF4-FFF2-40B4-BE49-F238E27FC236}">
                  <a16:creationId xmlns:a16="http://schemas.microsoft.com/office/drawing/2014/main" id="{B956DD23-B268-D61E-80FB-4031D8F2C990}"/>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10778241" y="2683477"/>
              <a:ext cx="1186394" cy="418486"/>
            </a:xfrm>
            <a:prstGeom prst="rect">
              <a:avLst/>
            </a:prstGeom>
          </p:spPr>
        </p:pic>
        <p:cxnSp>
          <p:nvCxnSpPr>
            <p:cNvPr id="23" name="Straight Connector 22">
              <a:extLst>
                <a:ext uri="{FF2B5EF4-FFF2-40B4-BE49-F238E27FC236}">
                  <a16:creationId xmlns:a16="http://schemas.microsoft.com/office/drawing/2014/main" id="{A099387D-2FC8-7F0D-251A-60DB9DFA7B4C}"/>
                </a:ext>
              </a:extLst>
            </p:cNvPr>
            <p:cNvCxnSpPr/>
            <p:nvPr/>
          </p:nvCxnSpPr>
          <p:spPr>
            <a:xfrm>
              <a:off x="-24050" y="3664769"/>
              <a:ext cx="12216050" cy="0"/>
            </a:xfrm>
            <a:prstGeom prst="line">
              <a:avLst/>
            </a:prstGeom>
            <a:noFill/>
            <a:ln w="25400" cap="flat" cmpd="sng" algn="ctr">
              <a:solidFill>
                <a:srgbClr val="B0B0B0"/>
              </a:solidFill>
              <a:prstDash val="solid"/>
            </a:ln>
            <a:effectLst/>
          </p:spPr>
        </p:cxnSp>
        <p:sp>
          <p:nvSpPr>
            <p:cNvPr id="24" name="TextBox 23">
              <a:extLst>
                <a:ext uri="{FF2B5EF4-FFF2-40B4-BE49-F238E27FC236}">
                  <a16:creationId xmlns:a16="http://schemas.microsoft.com/office/drawing/2014/main" id="{D80301D0-DFEE-8752-5C56-07F71365925D}"/>
                </a:ext>
              </a:extLst>
            </p:cNvPr>
            <p:cNvSpPr txBox="1"/>
            <p:nvPr/>
          </p:nvSpPr>
          <p:spPr>
            <a:xfrm>
              <a:off x="79734" y="4621301"/>
              <a:ext cx="1691068" cy="2011011"/>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Site Lease &amp; Acquisition </a:t>
              </a: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A 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Operations </a:t>
              </a: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A 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A Secondments </a:t>
              </a: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2022 (Ongoing)</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ssessment </a:t>
              </a: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amp; IA Plan Development</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1 (Ongoing)</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0</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Audit Services 2022</a:t>
              </a:r>
            </a:p>
          </p:txBody>
        </p:sp>
        <p:sp>
          <p:nvSpPr>
            <p:cNvPr id="25" name="Oval 24">
              <a:extLst>
                <a:ext uri="{FF2B5EF4-FFF2-40B4-BE49-F238E27FC236}">
                  <a16:creationId xmlns:a16="http://schemas.microsoft.com/office/drawing/2014/main" id="{98F75F6D-EC5F-785C-A7A3-E9158AD2B0CE}"/>
                </a:ext>
              </a:extLst>
            </p:cNvPr>
            <p:cNvSpPr/>
            <p:nvPr/>
          </p:nvSpPr>
          <p:spPr>
            <a:xfrm flipH="1">
              <a:off x="1530377" y="3565914"/>
              <a:ext cx="215577" cy="197710"/>
            </a:xfrm>
            <a:prstGeom prst="ellipse">
              <a:avLst/>
            </a:prstGeom>
            <a:solidFill>
              <a:srgbClr val="C4D600"/>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26" name="Oval 25">
              <a:extLst>
                <a:ext uri="{FF2B5EF4-FFF2-40B4-BE49-F238E27FC236}">
                  <a16:creationId xmlns:a16="http://schemas.microsoft.com/office/drawing/2014/main" id="{53B64887-BC08-05ED-1A63-2D2B65AC26D2}"/>
                </a:ext>
              </a:extLst>
            </p:cNvPr>
            <p:cNvSpPr/>
            <p:nvPr/>
          </p:nvSpPr>
          <p:spPr>
            <a:xfrm flipH="1">
              <a:off x="1440553" y="3483535"/>
              <a:ext cx="395225" cy="362468"/>
            </a:xfrm>
            <a:prstGeom prst="ellipse">
              <a:avLst/>
            </a:prstGeom>
            <a:noFill/>
            <a:ln w="25400" cap="flat" cmpd="sng" algn="ctr">
              <a:solidFill>
                <a:srgbClr val="C4D600"/>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27" name="Straight Connector 26">
              <a:extLst>
                <a:ext uri="{FF2B5EF4-FFF2-40B4-BE49-F238E27FC236}">
                  <a16:creationId xmlns:a16="http://schemas.microsoft.com/office/drawing/2014/main" id="{8B369108-0057-AD01-B069-06A6D61A27E2}"/>
                </a:ext>
              </a:extLst>
            </p:cNvPr>
            <p:cNvCxnSpPr/>
            <p:nvPr/>
          </p:nvCxnSpPr>
          <p:spPr>
            <a:xfrm flipH="1" flipV="1">
              <a:off x="1638165" y="3169208"/>
              <a:ext cx="0" cy="302020"/>
            </a:xfrm>
            <a:prstGeom prst="line">
              <a:avLst/>
            </a:prstGeom>
            <a:noFill/>
            <a:ln w="25400" cap="flat" cmpd="sng" algn="ctr">
              <a:solidFill>
                <a:srgbClr val="C4D600"/>
              </a:solidFill>
              <a:prstDash val="solid"/>
              <a:tailEnd type="oval"/>
            </a:ln>
            <a:effectLst/>
          </p:spPr>
        </p:cxnSp>
        <p:sp>
          <p:nvSpPr>
            <p:cNvPr id="28" name="TextBox 27">
              <a:extLst>
                <a:ext uri="{FF2B5EF4-FFF2-40B4-BE49-F238E27FC236}">
                  <a16:creationId xmlns:a16="http://schemas.microsoft.com/office/drawing/2014/main" id="{BD7422C5-9DDE-78CC-CDA7-25DC25FC932F}"/>
                </a:ext>
              </a:extLst>
            </p:cNvPr>
            <p:cNvSpPr txBox="1"/>
            <p:nvPr/>
          </p:nvSpPr>
          <p:spPr>
            <a:xfrm flipH="1">
              <a:off x="888788" y="3879103"/>
              <a:ext cx="1450641" cy="316548"/>
            </a:xfrm>
            <a:prstGeom prst="rect">
              <a:avLst/>
            </a:prstGeom>
            <a:noFill/>
          </p:spPr>
          <p:txBody>
            <a:bodyPr wrap="square" rtlCol="0">
              <a:spAutoFit/>
            </a:bodyPr>
            <a:lstStyle/>
            <a:p>
              <a:pPr algn="ctr">
                <a:defRPr/>
              </a:pPr>
              <a:r>
                <a:rPr lang="en-GB" sz="1100" b="1" kern="0" dirty="0">
                  <a:solidFill>
                    <a:srgbClr val="C4D600"/>
                  </a:solidFill>
                  <a:latin typeface="Calibri" panose="020F0502020204030204" pitchFamily="34" charset="0"/>
                  <a:ea typeface="Verdana" panose="020B0604030504040204" pitchFamily="34" charset="0"/>
                  <a:cs typeface="Calibri" panose="020F0502020204030204" pitchFamily="34" charset="0"/>
                </a:rPr>
                <a:t>CCC</a:t>
              </a:r>
            </a:p>
          </p:txBody>
        </p:sp>
        <p:sp>
          <p:nvSpPr>
            <p:cNvPr id="29" name="Oval 28">
              <a:extLst>
                <a:ext uri="{FF2B5EF4-FFF2-40B4-BE49-F238E27FC236}">
                  <a16:creationId xmlns:a16="http://schemas.microsoft.com/office/drawing/2014/main" id="{D6884413-E04C-3E20-D96A-E89BED8800BA}"/>
                </a:ext>
              </a:extLst>
            </p:cNvPr>
            <p:cNvSpPr/>
            <p:nvPr/>
          </p:nvSpPr>
          <p:spPr>
            <a:xfrm flipH="1" flipV="1">
              <a:off x="2589330" y="3565914"/>
              <a:ext cx="215577" cy="197710"/>
            </a:xfrm>
            <a:prstGeom prst="ellipse">
              <a:avLst/>
            </a:prstGeom>
            <a:solidFill>
              <a:srgbClr val="00A3E0"/>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30" name="Oval 29">
              <a:extLst>
                <a:ext uri="{FF2B5EF4-FFF2-40B4-BE49-F238E27FC236}">
                  <a16:creationId xmlns:a16="http://schemas.microsoft.com/office/drawing/2014/main" id="{4AC9A690-3595-D949-CF4A-0C0291D2FC33}"/>
                </a:ext>
              </a:extLst>
            </p:cNvPr>
            <p:cNvSpPr/>
            <p:nvPr/>
          </p:nvSpPr>
          <p:spPr>
            <a:xfrm flipH="1" flipV="1">
              <a:off x="2499507" y="3483535"/>
              <a:ext cx="395225" cy="362468"/>
            </a:xfrm>
            <a:prstGeom prst="ellipse">
              <a:avLst/>
            </a:prstGeom>
            <a:noFill/>
            <a:ln w="25400" cap="flat" cmpd="sng" algn="ctr">
              <a:solidFill>
                <a:srgbClr val="00A3E0"/>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31" name="Straight Connector 30">
              <a:extLst>
                <a:ext uri="{FF2B5EF4-FFF2-40B4-BE49-F238E27FC236}">
                  <a16:creationId xmlns:a16="http://schemas.microsoft.com/office/drawing/2014/main" id="{12D60261-0065-B674-2D6C-BBAAB9C0ADF8}"/>
                </a:ext>
              </a:extLst>
            </p:cNvPr>
            <p:cNvCxnSpPr>
              <a:cxnSpLocks/>
            </p:cNvCxnSpPr>
            <p:nvPr/>
          </p:nvCxnSpPr>
          <p:spPr>
            <a:xfrm flipH="1">
              <a:off x="2697119" y="3889815"/>
              <a:ext cx="0" cy="302021"/>
            </a:xfrm>
            <a:prstGeom prst="line">
              <a:avLst/>
            </a:prstGeom>
            <a:noFill/>
            <a:ln w="25400" cap="flat" cmpd="sng" algn="ctr">
              <a:solidFill>
                <a:srgbClr val="00A3E0"/>
              </a:solidFill>
              <a:prstDash val="solid"/>
              <a:tailEnd type="oval"/>
            </a:ln>
            <a:effectLst/>
          </p:spPr>
        </p:cxnSp>
        <p:sp>
          <p:nvSpPr>
            <p:cNvPr id="33" name="TextBox 32">
              <a:extLst>
                <a:ext uri="{FF2B5EF4-FFF2-40B4-BE49-F238E27FC236}">
                  <a16:creationId xmlns:a16="http://schemas.microsoft.com/office/drawing/2014/main" id="{7F9C1587-EF1A-9CB0-F145-702FFCCD8A76}"/>
                </a:ext>
              </a:extLst>
            </p:cNvPr>
            <p:cNvSpPr txBox="1"/>
            <p:nvPr/>
          </p:nvSpPr>
          <p:spPr>
            <a:xfrm flipH="1">
              <a:off x="1971798" y="3159938"/>
              <a:ext cx="1450641" cy="316548"/>
            </a:xfrm>
            <a:prstGeom prst="rect">
              <a:avLst/>
            </a:prstGeom>
            <a:noFill/>
          </p:spPr>
          <p:txBody>
            <a:bodyPr wrap="square" rtlCol="0">
              <a:spAutoFit/>
            </a:bodyPr>
            <a:lstStyle/>
            <a:p>
              <a:pPr algn="ctr">
                <a:defRPr/>
              </a:pPr>
              <a:r>
                <a:rPr lang="en-GB" sz="1100" b="1" kern="0" dirty="0">
                  <a:solidFill>
                    <a:srgbClr val="00A3E0"/>
                  </a:solidFill>
                  <a:latin typeface="Calibri" panose="020F0502020204030204" pitchFamily="34" charset="0"/>
                  <a:ea typeface="Verdana" panose="020B0604030504040204" pitchFamily="34" charset="0"/>
                  <a:cs typeface="Calibri" panose="020F0502020204030204" pitchFamily="34" charset="0"/>
                </a:rPr>
                <a:t>stc Parent</a:t>
              </a:r>
            </a:p>
          </p:txBody>
        </p:sp>
        <p:sp>
          <p:nvSpPr>
            <p:cNvPr id="34" name="Oval 33">
              <a:extLst>
                <a:ext uri="{FF2B5EF4-FFF2-40B4-BE49-F238E27FC236}">
                  <a16:creationId xmlns:a16="http://schemas.microsoft.com/office/drawing/2014/main" id="{315A854C-D2E5-2405-749B-9D8B08D33FAD}"/>
                </a:ext>
              </a:extLst>
            </p:cNvPr>
            <p:cNvSpPr/>
            <p:nvPr/>
          </p:nvSpPr>
          <p:spPr>
            <a:xfrm flipH="1">
              <a:off x="3741409" y="3565914"/>
              <a:ext cx="215577" cy="197710"/>
            </a:xfrm>
            <a:prstGeom prst="ellipse">
              <a:avLst/>
            </a:prstGeom>
            <a:solidFill>
              <a:srgbClr val="012169"/>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35" name="Oval 34">
              <a:extLst>
                <a:ext uri="{FF2B5EF4-FFF2-40B4-BE49-F238E27FC236}">
                  <a16:creationId xmlns:a16="http://schemas.microsoft.com/office/drawing/2014/main" id="{48F7382A-EAB2-DD1B-FD1A-CC7F9DDEFCBA}"/>
                </a:ext>
              </a:extLst>
            </p:cNvPr>
            <p:cNvSpPr/>
            <p:nvPr/>
          </p:nvSpPr>
          <p:spPr>
            <a:xfrm flipH="1">
              <a:off x="3651585" y="3483535"/>
              <a:ext cx="395225" cy="362468"/>
            </a:xfrm>
            <a:prstGeom prst="ellipse">
              <a:avLst/>
            </a:prstGeom>
            <a:noFill/>
            <a:ln w="25400" cap="flat" cmpd="sng" algn="ctr">
              <a:solidFill>
                <a:srgbClr val="012169"/>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37" name="Straight Connector 36">
              <a:extLst>
                <a:ext uri="{FF2B5EF4-FFF2-40B4-BE49-F238E27FC236}">
                  <a16:creationId xmlns:a16="http://schemas.microsoft.com/office/drawing/2014/main" id="{6AF5AE69-A6AD-C346-24C1-82CBDBFA631B}"/>
                </a:ext>
              </a:extLst>
            </p:cNvPr>
            <p:cNvCxnSpPr/>
            <p:nvPr/>
          </p:nvCxnSpPr>
          <p:spPr>
            <a:xfrm flipH="1" flipV="1">
              <a:off x="3849197" y="3169208"/>
              <a:ext cx="0" cy="302020"/>
            </a:xfrm>
            <a:prstGeom prst="line">
              <a:avLst/>
            </a:prstGeom>
            <a:noFill/>
            <a:ln w="25400" cap="flat" cmpd="sng" algn="ctr">
              <a:solidFill>
                <a:srgbClr val="012169"/>
              </a:solidFill>
              <a:prstDash val="solid"/>
              <a:tailEnd type="oval"/>
            </a:ln>
            <a:effectLst/>
          </p:spPr>
        </p:cxnSp>
        <p:sp>
          <p:nvSpPr>
            <p:cNvPr id="38" name="TextBox 37">
              <a:extLst>
                <a:ext uri="{FF2B5EF4-FFF2-40B4-BE49-F238E27FC236}">
                  <a16:creationId xmlns:a16="http://schemas.microsoft.com/office/drawing/2014/main" id="{8AB24ED6-953A-54CB-A236-11DBAB5238E5}"/>
                </a:ext>
              </a:extLst>
            </p:cNvPr>
            <p:cNvSpPr txBox="1"/>
            <p:nvPr/>
          </p:nvSpPr>
          <p:spPr>
            <a:xfrm flipH="1">
              <a:off x="3123874" y="3925380"/>
              <a:ext cx="1450641" cy="316548"/>
            </a:xfrm>
            <a:prstGeom prst="rect">
              <a:avLst/>
            </a:prstGeom>
            <a:noFill/>
          </p:spPr>
          <p:txBody>
            <a:bodyPr wrap="square" rtlCol="0">
              <a:spAutoFit/>
            </a:bodyPr>
            <a:lstStyle/>
            <a:p>
              <a:pPr algn="ctr">
                <a:defRPr/>
              </a:pPr>
              <a:r>
                <a:rPr lang="en-GB" sz="1100" b="1" kern="0" dirty="0">
                  <a:solidFill>
                    <a:srgbClr val="012169"/>
                  </a:solidFill>
                  <a:latin typeface="Calibri" panose="020F0502020204030204" pitchFamily="34" charset="0"/>
                  <a:ea typeface="Verdana" panose="020B0604030504040204" pitchFamily="34" charset="0"/>
                  <a:cs typeface="Calibri" panose="020F0502020204030204" pitchFamily="34" charset="0"/>
                </a:rPr>
                <a:t>AQALAT</a:t>
              </a:r>
            </a:p>
          </p:txBody>
        </p:sp>
        <p:sp>
          <p:nvSpPr>
            <p:cNvPr id="40" name="Oval 39">
              <a:extLst>
                <a:ext uri="{FF2B5EF4-FFF2-40B4-BE49-F238E27FC236}">
                  <a16:creationId xmlns:a16="http://schemas.microsoft.com/office/drawing/2014/main" id="{32BD7BCE-0191-E627-180E-CC2A8BD3DC1F}"/>
                </a:ext>
              </a:extLst>
            </p:cNvPr>
            <p:cNvSpPr/>
            <p:nvPr/>
          </p:nvSpPr>
          <p:spPr>
            <a:xfrm flipH="1">
              <a:off x="6367699" y="3572499"/>
              <a:ext cx="215577" cy="197710"/>
            </a:xfrm>
            <a:prstGeom prst="ellipse">
              <a:avLst/>
            </a:prstGeom>
            <a:solidFill>
              <a:srgbClr val="26890D"/>
            </a:solid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41" name="Oval 40">
              <a:extLst>
                <a:ext uri="{FF2B5EF4-FFF2-40B4-BE49-F238E27FC236}">
                  <a16:creationId xmlns:a16="http://schemas.microsoft.com/office/drawing/2014/main" id="{54E9BC12-E23C-66B4-80C4-D261E5F76F7F}"/>
                </a:ext>
              </a:extLst>
            </p:cNvPr>
            <p:cNvSpPr/>
            <p:nvPr/>
          </p:nvSpPr>
          <p:spPr>
            <a:xfrm flipH="1">
              <a:off x="6277875" y="3490120"/>
              <a:ext cx="395225" cy="362468"/>
            </a:xfrm>
            <a:prstGeom prst="ellipse">
              <a:avLst/>
            </a:prstGeom>
            <a:no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42" name="Straight Connector 41">
              <a:extLst>
                <a:ext uri="{FF2B5EF4-FFF2-40B4-BE49-F238E27FC236}">
                  <a16:creationId xmlns:a16="http://schemas.microsoft.com/office/drawing/2014/main" id="{D47335AC-31D4-9DBE-F882-CF2BF1680300}"/>
                </a:ext>
              </a:extLst>
            </p:cNvPr>
            <p:cNvCxnSpPr/>
            <p:nvPr/>
          </p:nvCxnSpPr>
          <p:spPr>
            <a:xfrm flipH="1" flipV="1">
              <a:off x="6475487" y="3176393"/>
              <a:ext cx="0" cy="302020"/>
            </a:xfrm>
            <a:prstGeom prst="line">
              <a:avLst/>
            </a:prstGeom>
            <a:noFill/>
            <a:ln w="25400" cap="flat" cmpd="sng" algn="ctr">
              <a:solidFill>
                <a:srgbClr val="26890D"/>
              </a:solidFill>
              <a:prstDash val="solid"/>
              <a:tailEnd type="oval"/>
            </a:ln>
            <a:effectLst/>
          </p:spPr>
        </p:cxnSp>
        <p:sp>
          <p:nvSpPr>
            <p:cNvPr id="43" name="TextBox 42">
              <a:extLst>
                <a:ext uri="{FF2B5EF4-FFF2-40B4-BE49-F238E27FC236}">
                  <a16:creationId xmlns:a16="http://schemas.microsoft.com/office/drawing/2014/main" id="{D9CAEA21-CD4F-703C-C214-3A1CB33147CB}"/>
                </a:ext>
              </a:extLst>
            </p:cNvPr>
            <p:cNvSpPr txBox="1"/>
            <p:nvPr/>
          </p:nvSpPr>
          <p:spPr>
            <a:xfrm flipH="1">
              <a:off x="5764875" y="3931966"/>
              <a:ext cx="1450641" cy="316548"/>
            </a:xfrm>
            <a:prstGeom prst="rect">
              <a:avLst/>
            </a:prstGeom>
            <a:noFill/>
          </p:spPr>
          <p:txBody>
            <a:bodyPr wrap="square" rtlCol="0">
              <a:spAutoFit/>
            </a:bodyPr>
            <a:lstStyle/>
            <a:p>
              <a:pPr algn="ctr">
                <a:defRPr/>
              </a:pPr>
              <a:r>
                <a:rPr lang="en-GB" sz="1100" b="1" kern="0" dirty="0">
                  <a:solidFill>
                    <a:srgbClr val="26890D"/>
                  </a:solidFill>
                  <a:latin typeface="Calibri" panose="020F0502020204030204" pitchFamily="34" charset="0"/>
                  <a:ea typeface="Verdana" panose="020B0604030504040204" pitchFamily="34" charset="0"/>
                  <a:cs typeface="Calibri" panose="020F0502020204030204" pitchFamily="34" charset="0"/>
                </a:rPr>
                <a:t>Specialized by stc</a:t>
              </a:r>
            </a:p>
          </p:txBody>
        </p:sp>
        <p:sp>
          <p:nvSpPr>
            <p:cNvPr id="44" name="Oval 43">
              <a:extLst>
                <a:ext uri="{FF2B5EF4-FFF2-40B4-BE49-F238E27FC236}">
                  <a16:creationId xmlns:a16="http://schemas.microsoft.com/office/drawing/2014/main" id="{1FE4CE13-BFDC-3C4E-9894-4B59051D06B3}"/>
                </a:ext>
              </a:extLst>
            </p:cNvPr>
            <p:cNvSpPr/>
            <p:nvPr/>
          </p:nvSpPr>
          <p:spPr>
            <a:xfrm flipH="1" flipV="1">
              <a:off x="4941709" y="3565914"/>
              <a:ext cx="215577" cy="197710"/>
            </a:xfrm>
            <a:prstGeom prst="ellipse">
              <a:avLst/>
            </a:prstGeom>
            <a:solidFill>
              <a:srgbClr val="6FC2B4"/>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45" name="Oval 44">
              <a:extLst>
                <a:ext uri="{FF2B5EF4-FFF2-40B4-BE49-F238E27FC236}">
                  <a16:creationId xmlns:a16="http://schemas.microsoft.com/office/drawing/2014/main" id="{4E359F6B-255B-2917-4956-16F673EDA0F9}"/>
                </a:ext>
              </a:extLst>
            </p:cNvPr>
            <p:cNvSpPr/>
            <p:nvPr/>
          </p:nvSpPr>
          <p:spPr>
            <a:xfrm flipH="1" flipV="1">
              <a:off x="4851886" y="3483535"/>
              <a:ext cx="395225" cy="362468"/>
            </a:xfrm>
            <a:prstGeom prst="ellipse">
              <a:avLst/>
            </a:prstGeom>
            <a:noFill/>
            <a:ln w="25400" cap="flat" cmpd="sng" algn="ctr">
              <a:solidFill>
                <a:srgbClr val="6FC2B4"/>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46" name="Straight Connector 45">
              <a:extLst>
                <a:ext uri="{FF2B5EF4-FFF2-40B4-BE49-F238E27FC236}">
                  <a16:creationId xmlns:a16="http://schemas.microsoft.com/office/drawing/2014/main" id="{F1241F9B-BBDE-6C85-F1F3-CB68D2FFB32A}"/>
                </a:ext>
              </a:extLst>
            </p:cNvPr>
            <p:cNvCxnSpPr/>
            <p:nvPr/>
          </p:nvCxnSpPr>
          <p:spPr>
            <a:xfrm flipH="1">
              <a:off x="5049498" y="3889815"/>
              <a:ext cx="0" cy="302021"/>
            </a:xfrm>
            <a:prstGeom prst="line">
              <a:avLst/>
            </a:prstGeom>
            <a:noFill/>
            <a:ln w="25400" cap="flat" cmpd="sng" algn="ctr">
              <a:solidFill>
                <a:srgbClr val="6FC2B4"/>
              </a:solidFill>
              <a:prstDash val="solid"/>
              <a:tailEnd type="oval"/>
            </a:ln>
            <a:effectLst/>
          </p:spPr>
        </p:cxnSp>
        <p:sp>
          <p:nvSpPr>
            <p:cNvPr id="47" name="TextBox 46">
              <a:extLst>
                <a:ext uri="{FF2B5EF4-FFF2-40B4-BE49-F238E27FC236}">
                  <a16:creationId xmlns:a16="http://schemas.microsoft.com/office/drawing/2014/main" id="{E345BA0B-CF19-4B40-A60D-AA43437E93C7}"/>
                </a:ext>
              </a:extLst>
            </p:cNvPr>
            <p:cNvSpPr txBox="1"/>
            <p:nvPr/>
          </p:nvSpPr>
          <p:spPr>
            <a:xfrm flipH="1">
              <a:off x="4322522" y="3159938"/>
              <a:ext cx="1450641" cy="316548"/>
            </a:xfrm>
            <a:prstGeom prst="rect">
              <a:avLst/>
            </a:prstGeom>
            <a:noFill/>
          </p:spPr>
          <p:txBody>
            <a:bodyPr wrap="square" rtlCol="0">
              <a:spAutoFit/>
            </a:bodyPr>
            <a:lstStyle/>
            <a:p>
              <a:pPr algn="ctr">
                <a:defRPr/>
              </a:pPr>
              <a:r>
                <a:rPr lang="en-GB" sz="1100" b="1" kern="0" dirty="0">
                  <a:solidFill>
                    <a:srgbClr val="6FC2B4"/>
                  </a:solidFill>
                  <a:latin typeface="Calibri" panose="020F0502020204030204" pitchFamily="34" charset="0"/>
                  <a:ea typeface="Verdana" panose="020B0604030504040204" pitchFamily="34" charset="0"/>
                  <a:cs typeface="Calibri" panose="020F0502020204030204" pitchFamily="34" charset="0"/>
                </a:rPr>
                <a:t>Solutions by stc</a:t>
              </a:r>
            </a:p>
          </p:txBody>
        </p:sp>
        <p:sp>
          <p:nvSpPr>
            <p:cNvPr id="48" name="Oval 47">
              <a:extLst>
                <a:ext uri="{FF2B5EF4-FFF2-40B4-BE49-F238E27FC236}">
                  <a16:creationId xmlns:a16="http://schemas.microsoft.com/office/drawing/2014/main" id="{D91AAFE2-2A0A-7BD0-CCC9-7021146C9165}"/>
                </a:ext>
              </a:extLst>
            </p:cNvPr>
            <p:cNvSpPr/>
            <p:nvPr/>
          </p:nvSpPr>
          <p:spPr>
            <a:xfrm flipH="1" flipV="1">
              <a:off x="7675108" y="3565914"/>
              <a:ext cx="215577" cy="197710"/>
            </a:xfrm>
            <a:prstGeom prst="ellipse">
              <a:avLst/>
            </a:prstGeom>
            <a:solidFill>
              <a:srgbClr val="9D9D99"/>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49" name="Oval 48">
              <a:extLst>
                <a:ext uri="{FF2B5EF4-FFF2-40B4-BE49-F238E27FC236}">
                  <a16:creationId xmlns:a16="http://schemas.microsoft.com/office/drawing/2014/main" id="{35935223-00E5-509D-20EE-1660F5C035A9}"/>
                </a:ext>
              </a:extLst>
            </p:cNvPr>
            <p:cNvSpPr/>
            <p:nvPr/>
          </p:nvSpPr>
          <p:spPr>
            <a:xfrm flipH="1" flipV="1">
              <a:off x="7585284" y="3483535"/>
              <a:ext cx="395225" cy="362468"/>
            </a:xfrm>
            <a:prstGeom prst="ellipse">
              <a:avLst/>
            </a:prstGeom>
            <a:noFill/>
            <a:ln w="25400" cap="flat" cmpd="sng" algn="ctr">
              <a:solidFill>
                <a:srgbClr val="9D9D99"/>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50" name="Straight Connector 49">
              <a:extLst>
                <a:ext uri="{FF2B5EF4-FFF2-40B4-BE49-F238E27FC236}">
                  <a16:creationId xmlns:a16="http://schemas.microsoft.com/office/drawing/2014/main" id="{50AB81D7-34DF-DEE2-F42D-551C0D0159C1}"/>
                </a:ext>
              </a:extLst>
            </p:cNvPr>
            <p:cNvCxnSpPr/>
            <p:nvPr/>
          </p:nvCxnSpPr>
          <p:spPr>
            <a:xfrm flipH="1">
              <a:off x="7782896" y="3889815"/>
              <a:ext cx="0" cy="302021"/>
            </a:xfrm>
            <a:prstGeom prst="line">
              <a:avLst/>
            </a:prstGeom>
            <a:noFill/>
            <a:ln w="25400" cap="flat" cmpd="sng" algn="ctr">
              <a:solidFill>
                <a:srgbClr val="9D9D99"/>
              </a:solidFill>
              <a:prstDash val="solid"/>
              <a:tailEnd type="oval"/>
            </a:ln>
            <a:effectLst/>
          </p:spPr>
        </p:cxnSp>
        <p:sp>
          <p:nvSpPr>
            <p:cNvPr id="51" name="TextBox 50">
              <a:extLst>
                <a:ext uri="{FF2B5EF4-FFF2-40B4-BE49-F238E27FC236}">
                  <a16:creationId xmlns:a16="http://schemas.microsoft.com/office/drawing/2014/main" id="{A784D308-A86F-CA19-D53E-5FBBB7F23F31}"/>
                </a:ext>
              </a:extLst>
            </p:cNvPr>
            <p:cNvSpPr txBox="1"/>
            <p:nvPr/>
          </p:nvSpPr>
          <p:spPr>
            <a:xfrm flipH="1">
              <a:off x="7056537" y="3159938"/>
              <a:ext cx="1450641" cy="316548"/>
            </a:xfrm>
            <a:prstGeom prst="rect">
              <a:avLst/>
            </a:prstGeom>
            <a:noFill/>
          </p:spPr>
          <p:txBody>
            <a:bodyPr wrap="square" rtlCol="0">
              <a:spAutoFit/>
            </a:bodyPr>
            <a:lstStyle/>
            <a:p>
              <a:pPr algn="ctr">
                <a:defRPr/>
              </a:pPr>
              <a:r>
                <a:rPr lang="en-GB" sz="1100" b="1" kern="0" dirty="0">
                  <a:solidFill>
                    <a:srgbClr val="9D9D99"/>
                  </a:solidFill>
                  <a:latin typeface="Calibri" panose="020F0502020204030204" pitchFamily="34" charset="0"/>
                  <a:ea typeface="Verdana" panose="020B0604030504040204" pitchFamily="34" charset="0"/>
                  <a:cs typeface="Calibri" panose="020F0502020204030204" pitchFamily="34" charset="0"/>
                </a:rPr>
                <a:t>Channels by stc</a:t>
              </a:r>
            </a:p>
          </p:txBody>
        </p:sp>
        <p:sp>
          <p:nvSpPr>
            <p:cNvPr id="52" name="TextBox 51">
              <a:extLst>
                <a:ext uri="{FF2B5EF4-FFF2-40B4-BE49-F238E27FC236}">
                  <a16:creationId xmlns:a16="http://schemas.microsoft.com/office/drawing/2014/main" id="{949A7498-A6F7-0C47-6FF4-2E6976055834}"/>
                </a:ext>
              </a:extLst>
            </p:cNvPr>
            <p:cNvSpPr txBox="1"/>
            <p:nvPr/>
          </p:nvSpPr>
          <p:spPr>
            <a:xfrm>
              <a:off x="3231664" y="1731977"/>
              <a:ext cx="1450641" cy="1005506"/>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1 (Ongoing)</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ssessment </a:t>
              </a: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amp; IA Plan Development</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0</a:t>
              </a:r>
            </a:p>
          </p:txBody>
        </p:sp>
        <p:sp>
          <p:nvSpPr>
            <p:cNvPr id="53" name="TextBox 52">
              <a:extLst>
                <a:ext uri="{FF2B5EF4-FFF2-40B4-BE49-F238E27FC236}">
                  <a16:creationId xmlns:a16="http://schemas.microsoft.com/office/drawing/2014/main" id="{441A016E-851A-63D7-8EC6-A795B0FD483A}"/>
                </a:ext>
              </a:extLst>
            </p:cNvPr>
            <p:cNvSpPr txBox="1"/>
            <p:nvPr/>
          </p:nvSpPr>
          <p:spPr>
            <a:xfrm>
              <a:off x="1854290" y="4601593"/>
              <a:ext cx="2225114" cy="2178595"/>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RM &amp; BCM Subsidiaries maturity assessment</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Cybersecurity Resilience Program</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2 (Ongoing)</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Risk Management Program 2021-2022 (Ongoing).</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1</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Compliance Management Maturity Assessment &amp; IA 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Technology Strategy &amp; Architecture Audit</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5G Readiness Review</a:t>
              </a:r>
            </a:p>
          </p:txBody>
        </p:sp>
        <p:sp>
          <p:nvSpPr>
            <p:cNvPr id="54" name="TextBox 53">
              <a:extLst>
                <a:ext uri="{FF2B5EF4-FFF2-40B4-BE49-F238E27FC236}">
                  <a16:creationId xmlns:a16="http://schemas.microsoft.com/office/drawing/2014/main" id="{8885DFC0-72EA-1F89-833D-D1B3CF4137F1}"/>
                </a:ext>
              </a:extLst>
            </p:cNvPr>
            <p:cNvSpPr txBox="1"/>
            <p:nvPr/>
          </p:nvSpPr>
          <p:spPr>
            <a:xfrm>
              <a:off x="4177666" y="4633557"/>
              <a:ext cx="2330415" cy="2178595"/>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US"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Enterprise Architecture Audit (Ongoing)</a:t>
              </a:r>
            </a:p>
            <a:p>
              <a:pPr marL="118872" indent="-118872" algn="just" defTabSz="801929">
                <a:buClr>
                  <a:srgbClr val="002060"/>
                </a:buClr>
                <a:buFont typeface="Arial" panose="020B0604020202020204" pitchFamily="34" charset="0"/>
                <a:buChar char="•"/>
                <a:defRPr/>
              </a:pPr>
              <a:r>
                <a:rPr lang="en-US"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Enterprise Risk Assessment </a:t>
              </a: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amp; Compliance Management</a:t>
              </a:r>
            </a:p>
            <a:p>
              <a:pPr marL="118872" indent="-118872" algn="just" defTabSz="801929">
                <a:buClr>
                  <a:srgbClr val="002060"/>
                </a:buClr>
                <a:buFont typeface="Arial" panose="020B0604020202020204" pitchFamily="34" charset="0"/>
                <a:buChar char="•"/>
                <a:defRPr/>
              </a:pPr>
              <a:r>
                <a:rPr lang="en-US"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Business Continuity Management</a:t>
              </a:r>
            </a:p>
            <a:p>
              <a:pPr marL="118872" indent="-118872" algn="just" defTabSz="801929">
                <a:buClr>
                  <a:srgbClr val="002060"/>
                </a:buClr>
                <a:buFont typeface="Arial" panose="020B0604020202020204" pitchFamily="34" charset="0"/>
                <a:buChar char="•"/>
                <a:defRPr/>
              </a:pPr>
              <a:r>
                <a:rPr lang="en-US"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ppetite Development</a:t>
              </a:r>
            </a:p>
            <a:p>
              <a:pPr marL="118872" indent="-118872" algn="just" defTabSz="801929">
                <a:buClr>
                  <a:srgbClr val="002060"/>
                </a:buClr>
                <a:buFont typeface="Arial" panose="020B0604020202020204" pitchFamily="34" charset="0"/>
                <a:buChar char="•"/>
                <a:defRPr/>
              </a:pPr>
              <a:r>
                <a:rPr lang="en-US"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ssessment </a:t>
              </a: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amp; IA Plan</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evenue &amp; Cost of Revenue</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Connectivity Services &amp; Telecom Technical</a:t>
              </a:r>
            </a:p>
            <a:p>
              <a:pPr marL="118872" indent="-118872" algn="just" defTabSz="801929">
                <a:buClr>
                  <a:srgbClr val="002060"/>
                </a:buClr>
                <a:buFont typeface="Arial" panose="020B0604020202020204" pitchFamily="34" charset="0"/>
                <a:buChar char="•"/>
                <a:defRPr/>
              </a:pPr>
              <a:r>
                <a:rPr lang="en-US"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GRC Function Assessment </a:t>
              </a: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cluding Cyber Security</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Product Development Life Cycle</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Alliances and Partnership</a:t>
              </a:r>
            </a:p>
          </p:txBody>
        </p:sp>
        <p:sp>
          <p:nvSpPr>
            <p:cNvPr id="55" name="TextBox 54">
              <a:extLst>
                <a:ext uri="{FF2B5EF4-FFF2-40B4-BE49-F238E27FC236}">
                  <a16:creationId xmlns:a16="http://schemas.microsoft.com/office/drawing/2014/main" id="{2B7B9081-D0EA-1DED-6C34-3C386D0DCCF0}"/>
                </a:ext>
              </a:extLst>
            </p:cNvPr>
            <p:cNvSpPr txBox="1"/>
            <p:nvPr/>
          </p:nvSpPr>
          <p:spPr>
            <a:xfrm>
              <a:off x="6968200" y="4621301"/>
              <a:ext cx="1844969" cy="2178595"/>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Business Continuity Management</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Governance, Risk &amp; Compliance Engagements (Ongoing)</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Quality, Risk &amp; Compliance Consultancy Program</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Risk Assessment </a:t>
              </a: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amp; Development of IA Plan</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Governance, Risk and Compliance Secondment (ongoing)</a:t>
              </a:r>
            </a:p>
          </p:txBody>
        </p:sp>
        <p:sp>
          <p:nvSpPr>
            <p:cNvPr id="56" name="TextBox 55">
              <a:extLst>
                <a:ext uri="{FF2B5EF4-FFF2-40B4-BE49-F238E27FC236}">
                  <a16:creationId xmlns:a16="http://schemas.microsoft.com/office/drawing/2014/main" id="{09ECBDDB-4EEA-5086-DAD6-85E6E9C1F3FF}"/>
                </a:ext>
              </a:extLst>
            </p:cNvPr>
            <p:cNvSpPr txBox="1"/>
            <p:nvPr/>
          </p:nvSpPr>
          <p:spPr>
            <a:xfrm>
              <a:off x="5804403" y="1443840"/>
              <a:ext cx="2507319" cy="1340674"/>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Order to Cash</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ecord to Report</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Procurement</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Human Resources</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Procurement Focused Contract (Forensic)</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Lead to Market 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Cyber Security 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T Governance</a:t>
              </a:r>
            </a:p>
          </p:txBody>
        </p:sp>
        <p:pic>
          <p:nvPicPr>
            <p:cNvPr id="57" name="Picture 56">
              <a:extLst>
                <a:ext uri="{FF2B5EF4-FFF2-40B4-BE49-F238E27FC236}">
                  <a16:creationId xmlns:a16="http://schemas.microsoft.com/office/drawing/2014/main" id="{54BDA418-A737-31FF-4536-6C97293ECC72}"/>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a:off x="2391198" y="4301360"/>
              <a:ext cx="611842" cy="249392"/>
            </a:xfrm>
            <a:prstGeom prst="rect">
              <a:avLst/>
            </a:prstGeom>
            <a:ln w="25400">
              <a:solidFill>
                <a:sysClr val="window" lastClr="FFFFFF"/>
              </a:solidFill>
            </a:ln>
            <a:effectLst/>
          </p:spPr>
        </p:pic>
        <p:pic>
          <p:nvPicPr>
            <p:cNvPr id="58" name="Picture 57">
              <a:extLst>
                <a:ext uri="{FF2B5EF4-FFF2-40B4-BE49-F238E27FC236}">
                  <a16:creationId xmlns:a16="http://schemas.microsoft.com/office/drawing/2014/main" id="{98B86C35-B517-BB44-75B2-FB3741D4762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28787" y="2807477"/>
              <a:ext cx="640819" cy="272127"/>
            </a:xfrm>
            <a:prstGeom prst="rect">
              <a:avLst/>
            </a:prstGeom>
            <a:effectLst/>
          </p:spPr>
        </p:pic>
        <p:pic>
          <p:nvPicPr>
            <p:cNvPr id="59" name="Picture 58">
              <a:extLst>
                <a:ext uri="{FF2B5EF4-FFF2-40B4-BE49-F238E27FC236}">
                  <a16:creationId xmlns:a16="http://schemas.microsoft.com/office/drawing/2014/main" id="{D06015EE-4E55-9835-853C-0CCE311D8B03}"/>
                </a:ext>
              </a:extLst>
            </p:cNvPr>
            <p:cNvPicPr>
              <a:picLocks/>
            </p:cNvPicPr>
            <p:nvPr/>
          </p:nvPicPr>
          <p:blipFill>
            <a:blip r:embed="rId7" cstate="print">
              <a:extLst>
                <a:ext uri="{28A0092B-C50C-407E-A947-70E740481C1C}">
                  <a14:useLocalDpi xmlns:a14="http://schemas.microsoft.com/office/drawing/2010/main"/>
                </a:ext>
              </a:extLst>
            </a:blip>
            <a:stretch>
              <a:fillRect/>
            </a:stretch>
          </p:blipFill>
          <p:spPr>
            <a:xfrm>
              <a:off x="4647336" y="4288868"/>
              <a:ext cx="811297" cy="295000"/>
            </a:xfrm>
            <a:prstGeom prst="rect">
              <a:avLst/>
            </a:prstGeom>
            <a:ln w="25400">
              <a:solidFill>
                <a:sysClr val="window" lastClr="FFFFFF"/>
              </a:solidFill>
            </a:ln>
            <a:effectLst/>
          </p:spPr>
        </p:pic>
        <p:pic>
          <p:nvPicPr>
            <p:cNvPr id="60" name="Picture 59">
              <a:extLst>
                <a:ext uri="{FF2B5EF4-FFF2-40B4-BE49-F238E27FC236}">
                  <a16:creationId xmlns:a16="http://schemas.microsoft.com/office/drawing/2014/main" id="{73BE947D-9F53-4147-5EC2-F93FEEDE372E}"/>
                </a:ext>
              </a:extLst>
            </p:cNvPr>
            <p:cNvPicPr>
              <a:picLocks/>
            </p:cNvPicPr>
            <p:nvPr/>
          </p:nvPicPr>
          <p:blipFill rotWithShape="1">
            <a:blip r:embed="rId8" cstate="print">
              <a:extLst>
                <a:ext uri="{28A0092B-C50C-407E-A947-70E740481C1C}">
                  <a14:useLocalDpi xmlns:a14="http://schemas.microsoft.com/office/drawing/2010/main"/>
                </a:ext>
              </a:extLst>
            </a:blip>
            <a:srcRect/>
            <a:stretch/>
          </p:blipFill>
          <p:spPr>
            <a:xfrm>
              <a:off x="6050944" y="2807477"/>
              <a:ext cx="849087" cy="239346"/>
            </a:xfrm>
            <a:prstGeom prst="rect">
              <a:avLst/>
            </a:prstGeom>
            <a:ln w="25400">
              <a:solidFill>
                <a:sysClr val="window" lastClr="FFFFFF"/>
              </a:solidFill>
            </a:ln>
            <a:effectLst/>
          </p:spPr>
        </p:pic>
        <p:pic>
          <p:nvPicPr>
            <p:cNvPr id="61" name="Picture 60">
              <a:extLst>
                <a:ext uri="{FF2B5EF4-FFF2-40B4-BE49-F238E27FC236}">
                  <a16:creationId xmlns:a16="http://schemas.microsoft.com/office/drawing/2014/main" id="{D5B50BE9-51CE-4B26-433F-500184E1493F}"/>
                </a:ext>
              </a:extLst>
            </p:cNvPr>
            <p:cNvPicPr>
              <a:picLocks/>
            </p:cNvPicPr>
            <p:nvPr/>
          </p:nvPicPr>
          <p:blipFill>
            <a:blip r:embed="rId9" cstate="print">
              <a:extLst>
                <a:ext uri="{28A0092B-C50C-407E-A947-70E740481C1C}">
                  <a14:useLocalDpi xmlns:a14="http://schemas.microsoft.com/office/drawing/2010/main"/>
                </a:ext>
              </a:extLst>
            </a:blip>
            <a:stretch>
              <a:fillRect/>
            </a:stretch>
          </p:blipFill>
          <p:spPr>
            <a:xfrm>
              <a:off x="7476975" y="4301360"/>
              <a:ext cx="611842" cy="249392"/>
            </a:xfrm>
            <a:prstGeom prst="rect">
              <a:avLst/>
            </a:prstGeom>
            <a:ln w="25400">
              <a:solidFill>
                <a:sysClr val="window" lastClr="FFFFFF"/>
              </a:solidFill>
            </a:ln>
            <a:effectLst/>
          </p:spPr>
        </p:pic>
        <p:sp>
          <p:nvSpPr>
            <p:cNvPr id="62" name="Oval 61">
              <a:extLst>
                <a:ext uri="{FF2B5EF4-FFF2-40B4-BE49-F238E27FC236}">
                  <a16:creationId xmlns:a16="http://schemas.microsoft.com/office/drawing/2014/main" id="{3C883D2A-DEAE-D285-AD88-D7731D09C95B}"/>
                </a:ext>
              </a:extLst>
            </p:cNvPr>
            <p:cNvSpPr/>
            <p:nvPr/>
          </p:nvSpPr>
          <p:spPr>
            <a:xfrm flipH="1">
              <a:off x="8866568" y="3565314"/>
              <a:ext cx="215577" cy="197710"/>
            </a:xfrm>
            <a:prstGeom prst="ellipse">
              <a:avLst/>
            </a:prstGeom>
            <a:solidFill>
              <a:srgbClr val="26890D"/>
            </a:solid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63" name="Oval 62">
              <a:extLst>
                <a:ext uri="{FF2B5EF4-FFF2-40B4-BE49-F238E27FC236}">
                  <a16:creationId xmlns:a16="http://schemas.microsoft.com/office/drawing/2014/main" id="{C55E57F5-EC60-EE7C-8302-B614D4F32AAC}"/>
                </a:ext>
              </a:extLst>
            </p:cNvPr>
            <p:cNvSpPr/>
            <p:nvPr/>
          </p:nvSpPr>
          <p:spPr>
            <a:xfrm flipH="1">
              <a:off x="8776744" y="3482935"/>
              <a:ext cx="395225" cy="362468"/>
            </a:xfrm>
            <a:prstGeom prst="ellipse">
              <a:avLst/>
            </a:prstGeom>
            <a:no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64" name="Straight Connector 63">
              <a:extLst>
                <a:ext uri="{FF2B5EF4-FFF2-40B4-BE49-F238E27FC236}">
                  <a16:creationId xmlns:a16="http://schemas.microsoft.com/office/drawing/2014/main" id="{D84C1D0F-0E6E-8B0E-82C4-6A384961E8BC}"/>
                </a:ext>
              </a:extLst>
            </p:cNvPr>
            <p:cNvCxnSpPr/>
            <p:nvPr/>
          </p:nvCxnSpPr>
          <p:spPr>
            <a:xfrm flipH="1" flipV="1">
              <a:off x="8974356" y="3169208"/>
              <a:ext cx="0" cy="302020"/>
            </a:xfrm>
            <a:prstGeom prst="line">
              <a:avLst/>
            </a:prstGeom>
            <a:noFill/>
            <a:ln w="25400" cap="flat" cmpd="sng" algn="ctr">
              <a:solidFill>
                <a:srgbClr val="26890D"/>
              </a:solidFill>
              <a:prstDash val="solid"/>
              <a:tailEnd type="oval"/>
            </a:ln>
            <a:effectLst/>
          </p:spPr>
        </p:cxnSp>
        <p:sp>
          <p:nvSpPr>
            <p:cNvPr id="65" name="TextBox 64">
              <a:extLst>
                <a:ext uri="{FF2B5EF4-FFF2-40B4-BE49-F238E27FC236}">
                  <a16:creationId xmlns:a16="http://schemas.microsoft.com/office/drawing/2014/main" id="{7315DC34-DB35-7084-4548-FA20C3F9A62D}"/>
                </a:ext>
              </a:extLst>
            </p:cNvPr>
            <p:cNvSpPr txBox="1"/>
            <p:nvPr/>
          </p:nvSpPr>
          <p:spPr>
            <a:xfrm flipH="1">
              <a:off x="8261823" y="3924781"/>
              <a:ext cx="1450641" cy="316548"/>
            </a:xfrm>
            <a:prstGeom prst="rect">
              <a:avLst/>
            </a:prstGeom>
            <a:noFill/>
          </p:spPr>
          <p:txBody>
            <a:bodyPr wrap="square" rtlCol="0">
              <a:spAutoFit/>
            </a:bodyPr>
            <a:lstStyle/>
            <a:p>
              <a:pPr algn="ctr">
                <a:defRPr/>
              </a:pPr>
              <a:r>
                <a:rPr lang="en-GB" sz="1100" b="1" kern="0" dirty="0">
                  <a:solidFill>
                    <a:srgbClr val="26890D"/>
                  </a:solidFill>
                  <a:latin typeface="Calibri" panose="020F0502020204030204" pitchFamily="34" charset="0"/>
                  <a:ea typeface="Verdana" panose="020B0604030504040204" pitchFamily="34" charset="0"/>
                  <a:cs typeface="Calibri" panose="020F0502020204030204" pitchFamily="34" charset="0"/>
                </a:rPr>
                <a:t>STC Kuwait</a:t>
              </a:r>
            </a:p>
          </p:txBody>
        </p:sp>
        <p:sp>
          <p:nvSpPr>
            <p:cNvPr id="66" name="Oval 65">
              <a:extLst>
                <a:ext uri="{FF2B5EF4-FFF2-40B4-BE49-F238E27FC236}">
                  <a16:creationId xmlns:a16="http://schemas.microsoft.com/office/drawing/2014/main" id="{362CC507-A086-73FF-F089-DCF46964A945}"/>
                </a:ext>
              </a:extLst>
            </p:cNvPr>
            <p:cNvSpPr/>
            <p:nvPr/>
          </p:nvSpPr>
          <p:spPr>
            <a:xfrm flipH="1">
              <a:off x="11198654" y="3565314"/>
              <a:ext cx="215577" cy="197710"/>
            </a:xfrm>
            <a:prstGeom prst="ellipse">
              <a:avLst/>
            </a:prstGeom>
            <a:solidFill>
              <a:srgbClr val="26890D"/>
            </a:solid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67" name="Oval 66">
              <a:extLst>
                <a:ext uri="{FF2B5EF4-FFF2-40B4-BE49-F238E27FC236}">
                  <a16:creationId xmlns:a16="http://schemas.microsoft.com/office/drawing/2014/main" id="{808C6732-3C54-2CE6-B8CD-D55A88C6D21F}"/>
                </a:ext>
              </a:extLst>
            </p:cNvPr>
            <p:cNvSpPr/>
            <p:nvPr/>
          </p:nvSpPr>
          <p:spPr>
            <a:xfrm flipH="1">
              <a:off x="11108831" y="3482935"/>
              <a:ext cx="395225" cy="362468"/>
            </a:xfrm>
            <a:prstGeom prst="ellipse">
              <a:avLst/>
            </a:prstGeom>
            <a:noFill/>
            <a:ln w="25400" cap="flat" cmpd="sng" algn="ctr">
              <a:solidFill>
                <a:srgbClr val="26890D"/>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68" name="Straight Connector 67">
              <a:extLst>
                <a:ext uri="{FF2B5EF4-FFF2-40B4-BE49-F238E27FC236}">
                  <a16:creationId xmlns:a16="http://schemas.microsoft.com/office/drawing/2014/main" id="{ED3E86EF-4F58-73A6-018B-FB372CBCEBCD}"/>
                </a:ext>
              </a:extLst>
            </p:cNvPr>
            <p:cNvCxnSpPr/>
            <p:nvPr/>
          </p:nvCxnSpPr>
          <p:spPr>
            <a:xfrm flipH="1" flipV="1">
              <a:off x="11306443" y="3169208"/>
              <a:ext cx="0" cy="302020"/>
            </a:xfrm>
            <a:prstGeom prst="line">
              <a:avLst/>
            </a:prstGeom>
            <a:noFill/>
            <a:ln w="25400" cap="flat" cmpd="sng" algn="ctr">
              <a:solidFill>
                <a:srgbClr val="26890D"/>
              </a:solidFill>
              <a:prstDash val="solid"/>
              <a:tailEnd type="oval"/>
            </a:ln>
            <a:effectLst/>
          </p:spPr>
        </p:cxnSp>
        <p:sp>
          <p:nvSpPr>
            <p:cNvPr id="69" name="TextBox 68">
              <a:extLst>
                <a:ext uri="{FF2B5EF4-FFF2-40B4-BE49-F238E27FC236}">
                  <a16:creationId xmlns:a16="http://schemas.microsoft.com/office/drawing/2014/main" id="{D9789B2F-D6DE-47E5-5C02-F3F3854FD6D2}"/>
                </a:ext>
              </a:extLst>
            </p:cNvPr>
            <p:cNvSpPr txBox="1"/>
            <p:nvPr/>
          </p:nvSpPr>
          <p:spPr>
            <a:xfrm flipH="1">
              <a:off x="10632335" y="3924781"/>
              <a:ext cx="1450641" cy="316548"/>
            </a:xfrm>
            <a:prstGeom prst="rect">
              <a:avLst/>
            </a:prstGeom>
            <a:noFill/>
          </p:spPr>
          <p:txBody>
            <a:bodyPr wrap="square" rtlCol="0">
              <a:spAutoFit/>
            </a:bodyPr>
            <a:lstStyle/>
            <a:p>
              <a:pPr algn="ctr">
                <a:defRPr/>
              </a:pPr>
              <a:r>
                <a:rPr lang="en-GB" sz="1100" b="1" kern="0" dirty="0">
                  <a:solidFill>
                    <a:srgbClr val="26890D"/>
                  </a:solidFill>
                  <a:latin typeface="Calibri" panose="020F0502020204030204" pitchFamily="34" charset="0"/>
                  <a:ea typeface="Verdana" panose="020B0604030504040204" pitchFamily="34" charset="0"/>
                  <a:cs typeface="Calibri" panose="020F0502020204030204" pitchFamily="34" charset="0"/>
                </a:rPr>
                <a:t>Intigral</a:t>
              </a:r>
            </a:p>
          </p:txBody>
        </p:sp>
        <p:sp>
          <p:nvSpPr>
            <p:cNvPr id="70" name="Oval 69">
              <a:extLst>
                <a:ext uri="{FF2B5EF4-FFF2-40B4-BE49-F238E27FC236}">
                  <a16:creationId xmlns:a16="http://schemas.microsoft.com/office/drawing/2014/main" id="{0D476B21-BC7A-F124-3788-992D76E7FBFA}"/>
                </a:ext>
              </a:extLst>
            </p:cNvPr>
            <p:cNvSpPr/>
            <p:nvPr/>
          </p:nvSpPr>
          <p:spPr>
            <a:xfrm flipH="1" flipV="1">
              <a:off x="10146874" y="3552401"/>
              <a:ext cx="215577" cy="197710"/>
            </a:xfrm>
            <a:prstGeom prst="ellipse">
              <a:avLst/>
            </a:prstGeom>
            <a:solidFill>
              <a:srgbClr val="9D9D99"/>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71" name="Oval 70">
              <a:extLst>
                <a:ext uri="{FF2B5EF4-FFF2-40B4-BE49-F238E27FC236}">
                  <a16:creationId xmlns:a16="http://schemas.microsoft.com/office/drawing/2014/main" id="{3779B3E8-2E70-C4C7-E019-5D6A209EEEB3}"/>
                </a:ext>
              </a:extLst>
            </p:cNvPr>
            <p:cNvSpPr/>
            <p:nvPr/>
          </p:nvSpPr>
          <p:spPr>
            <a:xfrm flipH="1" flipV="1">
              <a:off x="10057050" y="3470022"/>
              <a:ext cx="395225" cy="362468"/>
            </a:xfrm>
            <a:prstGeom prst="ellipse">
              <a:avLst/>
            </a:prstGeom>
            <a:noFill/>
            <a:ln w="25400" cap="flat" cmpd="sng" algn="ctr">
              <a:solidFill>
                <a:srgbClr val="9D9D99"/>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72" name="Straight Connector 71">
              <a:extLst>
                <a:ext uri="{FF2B5EF4-FFF2-40B4-BE49-F238E27FC236}">
                  <a16:creationId xmlns:a16="http://schemas.microsoft.com/office/drawing/2014/main" id="{866272AD-B644-E5E3-2529-E72C9B71AFA4}"/>
                </a:ext>
              </a:extLst>
            </p:cNvPr>
            <p:cNvCxnSpPr/>
            <p:nvPr/>
          </p:nvCxnSpPr>
          <p:spPr>
            <a:xfrm flipH="1">
              <a:off x="10254662" y="3876302"/>
              <a:ext cx="0" cy="302021"/>
            </a:xfrm>
            <a:prstGeom prst="line">
              <a:avLst/>
            </a:prstGeom>
            <a:noFill/>
            <a:ln w="25400" cap="flat" cmpd="sng" algn="ctr">
              <a:solidFill>
                <a:srgbClr val="9D9D99"/>
              </a:solidFill>
              <a:prstDash val="solid"/>
              <a:tailEnd type="oval"/>
            </a:ln>
            <a:effectLst/>
          </p:spPr>
        </p:cxnSp>
        <p:sp>
          <p:nvSpPr>
            <p:cNvPr id="73" name="TextBox 72">
              <a:extLst>
                <a:ext uri="{FF2B5EF4-FFF2-40B4-BE49-F238E27FC236}">
                  <a16:creationId xmlns:a16="http://schemas.microsoft.com/office/drawing/2014/main" id="{3E822B44-0E85-C689-8A2C-33A9D5DF2943}"/>
                </a:ext>
              </a:extLst>
            </p:cNvPr>
            <p:cNvSpPr txBox="1"/>
            <p:nvPr/>
          </p:nvSpPr>
          <p:spPr>
            <a:xfrm flipH="1">
              <a:off x="9497305" y="3146425"/>
              <a:ext cx="1450641" cy="316548"/>
            </a:xfrm>
            <a:prstGeom prst="rect">
              <a:avLst/>
            </a:prstGeom>
            <a:noFill/>
          </p:spPr>
          <p:txBody>
            <a:bodyPr wrap="square" rtlCol="0">
              <a:spAutoFit/>
            </a:bodyPr>
            <a:lstStyle/>
            <a:p>
              <a:pPr algn="ctr">
                <a:defRPr/>
              </a:pPr>
              <a:r>
                <a:rPr lang="en-GB" sz="1100" b="1" kern="0" dirty="0">
                  <a:solidFill>
                    <a:srgbClr val="9D9D99"/>
                  </a:solidFill>
                  <a:latin typeface="Calibri" panose="020F0502020204030204" pitchFamily="34" charset="0"/>
                  <a:ea typeface="Verdana" panose="020B0604030504040204" pitchFamily="34" charset="0"/>
                  <a:cs typeface="Calibri" panose="020F0502020204030204" pitchFamily="34" charset="0"/>
                </a:rPr>
                <a:t>stc pay</a:t>
              </a:r>
            </a:p>
          </p:txBody>
        </p:sp>
        <p:pic>
          <p:nvPicPr>
            <p:cNvPr id="74" name="Picture 73">
              <a:extLst>
                <a:ext uri="{FF2B5EF4-FFF2-40B4-BE49-F238E27FC236}">
                  <a16:creationId xmlns:a16="http://schemas.microsoft.com/office/drawing/2014/main" id="{7BD15428-3760-6E72-851A-852DB0D0D15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48427" y="4301055"/>
              <a:ext cx="611841" cy="248194"/>
            </a:xfrm>
            <a:prstGeom prst="rect">
              <a:avLst/>
            </a:prstGeom>
          </p:spPr>
        </p:pic>
        <p:sp>
          <p:nvSpPr>
            <p:cNvPr id="75" name="TextBox 74">
              <a:extLst>
                <a:ext uri="{FF2B5EF4-FFF2-40B4-BE49-F238E27FC236}">
                  <a16:creationId xmlns:a16="http://schemas.microsoft.com/office/drawing/2014/main" id="{45D02CEC-F204-F969-7A86-BABE93B16A70}"/>
                </a:ext>
              </a:extLst>
            </p:cNvPr>
            <p:cNvSpPr txBox="1"/>
            <p:nvPr/>
          </p:nvSpPr>
          <p:spPr>
            <a:xfrm>
              <a:off x="8323071" y="1879825"/>
              <a:ext cx="1518148" cy="837921"/>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Enterprise Risk Management Roll-Out / Implementation</a:t>
              </a:r>
            </a:p>
            <a:p>
              <a:pPr marL="118872" indent="-118872" algn="just" defTabSz="801929">
                <a:buClr>
                  <a:srgbClr val="002060"/>
                </a:buClr>
                <a:buFont typeface="Arial" panose="020B0604020202020204" pitchFamily="34" charset="0"/>
                <a:buChar char="•"/>
                <a:defRPr/>
              </a:pPr>
              <a:r>
                <a:rPr lang="sv-SE"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Strategic KRIs &amp; KRI Framework</a:t>
              </a:r>
              <a:endPar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endParaRPr>
            </a:p>
          </p:txBody>
        </p:sp>
        <p:sp>
          <p:nvSpPr>
            <p:cNvPr id="76" name="TextBox 75">
              <a:extLst>
                <a:ext uri="{FF2B5EF4-FFF2-40B4-BE49-F238E27FC236}">
                  <a16:creationId xmlns:a16="http://schemas.microsoft.com/office/drawing/2014/main" id="{1AAFED62-1DD0-17B6-291B-B757922C229C}"/>
                </a:ext>
              </a:extLst>
            </p:cNvPr>
            <p:cNvSpPr txBox="1"/>
            <p:nvPr/>
          </p:nvSpPr>
          <p:spPr>
            <a:xfrm>
              <a:off x="10690332" y="1997351"/>
              <a:ext cx="1371390" cy="670338"/>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Enterprise Risk Management</a:t>
              </a:r>
            </a:p>
            <a:p>
              <a:pPr marL="118872" indent="-118872" algn="just" defTabSz="801929">
                <a:buClr>
                  <a:srgbClr val="002060"/>
                </a:buClr>
                <a:buFont typeface="Arial" panose="020B0604020202020204" pitchFamily="34" charset="0"/>
                <a:buChar char="•"/>
                <a:defRPr/>
              </a:pP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a:t>
              </a:r>
            </a:p>
          </p:txBody>
        </p:sp>
        <p:sp>
          <p:nvSpPr>
            <p:cNvPr id="77" name="TextBox 76">
              <a:extLst>
                <a:ext uri="{FF2B5EF4-FFF2-40B4-BE49-F238E27FC236}">
                  <a16:creationId xmlns:a16="http://schemas.microsoft.com/office/drawing/2014/main" id="{D2F016F1-4996-51B4-0756-CCC5D47329CB}"/>
                </a:ext>
              </a:extLst>
            </p:cNvPr>
            <p:cNvSpPr txBox="1"/>
            <p:nvPr/>
          </p:nvSpPr>
          <p:spPr>
            <a:xfrm>
              <a:off x="9469278" y="4613860"/>
              <a:ext cx="1388636" cy="1675843"/>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BCM &amp; DRP Development &amp; Enhancement</a:t>
              </a:r>
            </a:p>
            <a:p>
              <a:pPr marL="118872" indent="-118872" algn="just" defTabSz="801929">
                <a:buClr>
                  <a:srgbClr val="002060"/>
                </a:buClr>
                <a:buFont typeface="Arial" panose="020B0604020202020204" pitchFamily="34" charset="0"/>
                <a:buChar char="•"/>
                <a:defRPr/>
              </a:pPr>
              <a:r>
                <a:rPr lang="en-US"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Third Party Assessment (Ongoing)</a:t>
              </a: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Setup of </a:t>
              </a:r>
              <a:r>
                <a:rPr lang="en-US"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Enterprise Risk Framework</a:t>
              </a:r>
              <a:endPar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endParaRPr>
            </a:p>
            <a:p>
              <a:pPr marL="118872" indent="-118872" algn="just" defTabSz="801929">
                <a:buClr>
                  <a:srgbClr val="002060"/>
                </a:buClr>
                <a:buFont typeface="Arial" panose="020B0604020202020204" pitchFamily="34" charset="0"/>
                <a:buChar char="•"/>
                <a:defRPr/>
              </a:pPr>
              <a:r>
                <a:rPr lang="en-US"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Development &amp; Enhancement of Policies</a:t>
              </a:r>
            </a:p>
          </p:txBody>
        </p:sp>
        <p:sp>
          <p:nvSpPr>
            <p:cNvPr id="78" name="Oval 77">
              <a:extLst>
                <a:ext uri="{FF2B5EF4-FFF2-40B4-BE49-F238E27FC236}">
                  <a16:creationId xmlns:a16="http://schemas.microsoft.com/office/drawing/2014/main" id="{2A23AD52-2802-B12A-69E6-1739D3C8083E}"/>
                </a:ext>
              </a:extLst>
            </p:cNvPr>
            <p:cNvSpPr/>
            <p:nvPr/>
          </p:nvSpPr>
          <p:spPr>
            <a:xfrm flipH="1" flipV="1">
              <a:off x="568005" y="3568756"/>
              <a:ext cx="215577" cy="197710"/>
            </a:xfrm>
            <a:prstGeom prst="ellipse">
              <a:avLst/>
            </a:prstGeom>
            <a:solidFill>
              <a:srgbClr val="6FC2B4"/>
            </a:solidFill>
            <a:ln w="25400" cap="flat" cmpd="sng" algn="ctr">
              <a:no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sp>
          <p:nvSpPr>
            <p:cNvPr id="79" name="Oval 78">
              <a:extLst>
                <a:ext uri="{FF2B5EF4-FFF2-40B4-BE49-F238E27FC236}">
                  <a16:creationId xmlns:a16="http://schemas.microsoft.com/office/drawing/2014/main" id="{E7BF7320-2071-E684-B0F8-AB18C9F93F4E}"/>
                </a:ext>
              </a:extLst>
            </p:cNvPr>
            <p:cNvSpPr/>
            <p:nvPr/>
          </p:nvSpPr>
          <p:spPr>
            <a:xfrm flipH="1" flipV="1">
              <a:off x="478181" y="3486377"/>
              <a:ext cx="395225" cy="362468"/>
            </a:xfrm>
            <a:prstGeom prst="ellipse">
              <a:avLst/>
            </a:prstGeom>
            <a:noFill/>
            <a:ln w="25400" cap="flat" cmpd="sng" algn="ctr">
              <a:solidFill>
                <a:srgbClr val="6FC2B4"/>
              </a:solidFill>
              <a:prstDash val="solid"/>
            </a:ln>
            <a:effectLst/>
          </p:spPr>
          <p:txBody>
            <a:bodyPr rtlCol="0" anchor="ctr"/>
            <a:lstStyle/>
            <a:p>
              <a:pPr algn="ctr">
                <a:defRPr/>
              </a:pPr>
              <a:endParaRPr lang="en-GB" sz="1600" kern="0" dirty="0">
                <a:solidFill>
                  <a:prstClr val="white"/>
                </a:solidFill>
                <a:latin typeface="Calibri" panose="020F0502020204030204" pitchFamily="34" charset="0"/>
                <a:cs typeface="Calibri" panose="020F0502020204030204" pitchFamily="34" charset="0"/>
              </a:endParaRPr>
            </a:p>
          </p:txBody>
        </p:sp>
        <p:cxnSp>
          <p:nvCxnSpPr>
            <p:cNvPr id="80" name="Straight Connector 79">
              <a:extLst>
                <a:ext uri="{FF2B5EF4-FFF2-40B4-BE49-F238E27FC236}">
                  <a16:creationId xmlns:a16="http://schemas.microsoft.com/office/drawing/2014/main" id="{B26DA111-FC82-76F2-113C-7FA610E61B5F}"/>
                </a:ext>
              </a:extLst>
            </p:cNvPr>
            <p:cNvCxnSpPr/>
            <p:nvPr/>
          </p:nvCxnSpPr>
          <p:spPr>
            <a:xfrm flipH="1">
              <a:off x="675794" y="3892657"/>
              <a:ext cx="0" cy="302021"/>
            </a:xfrm>
            <a:prstGeom prst="line">
              <a:avLst/>
            </a:prstGeom>
            <a:noFill/>
            <a:ln w="25400" cap="flat" cmpd="sng" algn="ctr">
              <a:solidFill>
                <a:srgbClr val="6FC2B4"/>
              </a:solidFill>
              <a:prstDash val="solid"/>
              <a:tailEnd type="oval"/>
            </a:ln>
            <a:effectLst/>
          </p:spPr>
        </p:cxnSp>
        <p:sp>
          <p:nvSpPr>
            <p:cNvPr id="81" name="TextBox 80">
              <a:extLst>
                <a:ext uri="{FF2B5EF4-FFF2-40B4-BE49-F238E27FC236}">
                  <a16:creationId xmlns:a16="http://schemas.microsoft.com/office/drawing/2014/main" id="{BB25A164-8CBB-59D0-C658-2075CA536490}"/>
                </a:ext>
              </a:extLst>
            </p:cNvPr>
            <p:cNvSpPr txBox="1"/>
            <p:nvPr/>
          </p:nvSpPr>
          <p:spPr>
            <a:xfrm flipH="1">
              <a:off x="-49528" y="3256623"/>
              <a:ext cx="1450641" cy="316548"/>
            </a:xfrm>
            <a:prstGeom prst="rect">
              <a:avLst/>
            </a:prstGeom>
            <a:noFill/>
          </p:spPr>
          <p:txBody>
            <a:bodyPr wrap="square" rtlCol="0">
              <a:spAutoFit/>
            </a:bodyPr>
            <a:lstStyle/>
            <a:p>
              <a:pPr algn="ctr">
                <a:defRPr/>
              </a:pPr>
              <a:r>
                <a:rPr lang="en-GB" sz="1100" b="1" kern="0" dirty="0">
                  <a:solidFill>
                    <a:srgbClr val="6FC2B4"/>
                  </a:solidFill>
                  <a:latin typeface="Calibri" panose="020F0502020204030204" pitchFamily="34" charset="0"/>
                  <a:ea typeface="Verdana" panose="020B0604030504040204" pitchFamily="34" charset="0"/>
                  <a:cs typeface="Calibri" panose="020F0502020204030204" pitchFamily="34" charset="0"/>
                </a:rPr>
                <a:t>TAWAL</a:t>
              </a:r>
            </a:p>
          </p:txBody>
        </p:sp>
        <p:sp>
          <p:nvSpPr>
            <p:cNvPr id="82" name="TextBox 81">
              <a:extLst>
                <a:ext uri="{FF2B5EF4-FFF2-40B4-BE49-F238E27FC236}">
                  <a16:creationId xmlns:a16="http://schemas.microsoft.com/office/drawing/2014/main" id="{48DDB63A-F4C2-446A-5E2B-05EC71D5B758}"/>
                </a:ext>
              </a:extLst>
            </p:cNvPr>
            <p:cNvSpPr txBox="1"/>
            <p:nvPr/>
          </p:nvSpPr>
          <p:spPr>
            <a:xfrm>
              <a:off x="1224598" y="1917329"/>
              <a:ext cx="1450641" cy="837921"/>
            </a:xfrm>
            <a:prstGeom prst="rect">
              <a:avLst/>
            </a:prstGeom>
            <a:noFill/>
          </p:spPr>
          <p:txBody>
            <a:bodyPr wrap="square" lIns="0" tIns="0" rIns="0" bIns="0" rtlCol="0">
              <a:spAutoFit/>
            </a:bodyPr>
            <a:lstStyle/>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Cybersecurity 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Services Development </a:t>
              </a:r>
              <a:r>
                <a:rPr lang="en-GB" sz="900" kern="0" dirty="0">
                  <a:solidFill>
                    <a:prstClr val="black"/>
                  </a:solidFill>
                  <a:latin typeface="Calibri" panose="020F0502020204030204" pitchFamily="34" charset="0"/>
                  <a:ea typeface="Verdana" panose="020B0604030504040204" pitchFamily="34" charset="0"/>
                  <a:cs typeface="Calibri" panose="020F0502020204030204" pitchFamily="34" charset="0"/>
                </a:rPr>
                <a:t>Review</a:t>
              </a:r>
            </a:p>
            <a:p>
              <a:pPr marL="118872" indent="-118872" algn="just" defTabSz="801929">
                <a:buClr>
                  <a:srgbClr val="002060"/>
                </a:buClr>
                <a:buFont typeface="Arial" panose="020B0604020202020204" pitchFamily="34" charset="0"/>
                <a:buChar char="•"/>
                <a:defRPr/>
              </a:pPr>
              <a:r>
                <a:rPr lang="en-GB" sz="900" b="1" kern="0" dirty="0">
                  <a:solidFill>
                    <a:prstClr val="black"/>
                  </a:solidFill>
                  <a:latin typeface="Calibri" panose="020F0502020204030204" pitchFamily="34" charset="0"/>
                  <a:ea typeface="Verdana" panose="020B0604030504040204" pitchFamily="34" charset="0"/>
                  <a:cs typeface="Calibri" panose="020F0502020204030204" pitchFamily="34" charset="0"/>
                </a:rPr>
                <a:t>Internal Controls Review 2021</a:t>
              </a:r>
            </a:p>
          </p:txBody>
        </p:sp>
        <p:pic>
          <p:nvPicPr>
            <p:cNvPr id="83" name="Picture 82" descr="image013">
              <a:extLst>
                <a:ext uri="{FF2B5EF4-FFF2-40B4-BE49-F238E27FC236}">
                  <a16:creationId xmlns:a16="http://schemas.microsoft.com/office/drawing/2014/main" id="{D574D2C0-B1F1-23BE-0229-6A324F8E0FC4}"/>
                </a:ext>
              </a:extLst>
            </p:cNvPr>
            <p:cNvPicPr/>
            <p:nvPr/>
          </p:nvPicPr>
          <p:blipFill>
            <a:blip r:embed="rId11">
              <a:extLst>
                <a:ext uri="{28A0092B-C50C-407E-A947-70E740481C1C}">
                  <a14:useLocalDpi xmlns:a14="http://schemas.microsoft.com/office/drawing/2010/main" val="0"/>
                </a:ext>
              </a:extLst>
            </a:blip>
            <a:srcRect/>
            <a:stretch>
              <a:fillRect/>
            </a:stretch>
          </p:blipFill>
          <p:spPr bwMode="auto">
            <a:xfrm>
              <a:off x="1371500" y="2806897"/>
              <a:ext cx="582070" cy="277624"/>
            </a:xfrm>
            <a:prstGeom prst="rect">
              <a:avLst/>
            </a:prstGeom>
            <a:ln w="25400">
              <a:solidFill>
                <a:sysClr val="window" lastClr="FFFFFF"/>
              </a:solidFill>
            </a:ln>
            <a:effectLst/>
            <a:extLst>
              <a:ext uri="{909E8E84-426E-40DD-AFC4-6F175D3DCCD1}">
                <a14:hiddenFill xmlns:a14="http://schemas.microsoft.com/office/drawing/2010/main">
                  <a:solidFill>
                    <a:srgbClr val="FFFFFF"/>
                  </a:solidFill>
                </a14:hiddenFill>
              </a:ext>
            </a:extLst>
          </p:spPr>
        </p:pic>
        <p:pic>
          <p:nvPicPr>
            <p:cNvPr id="84" name="Picture 83">
              <a:extLst>
                <a:ext uri="{FF2B5EF4-FFF2-40B4-BE49-F238E27FC236}">
                  <a16:creationId xmlns:a16="http://schemas.microsoft.com/office/drawing/2014/main" id="{EFC6AD6B-99C5-968A-E551-D27F1AC6EC3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48248" y="4301360"/>
              <a:ext cx="611841" cy="248194"/>
            </a:xfrm>
            <a:prstGeom prst="rect">
              <a:avLst/>
            </a:prstGeom>
          </p:spPr>
        </p:pic>
        <p:pic>
          <p:nvPicPr>
            <p:cNvPr id="85" name="Picture 84" descr="image013">
              <a:extLst>
                <a:ext uri="{FF2B5EF4-FFF2-40B4-BE49-F238E27FC236}">
                  <a16:creationId xmlns:a16="http://schemas.microsoft.com/office/drawing/2014/main" id="{2137E1F6-07CE-9C0C-CCFB-174A7F2D8C20}"/>
                </a:ext>
              </a:extLst>
            </p:cNvPr>
            <p:cNvPicPr/>
            <p:nvPr/>
          </p:nvPicPr>
          <p:blipFill>
            <a:blip r:embed="rId11">
              <a:extLst>
                <a:ext uri="{28A0092B-C50C-407E-A947-70E740481C1C}">
                  <a14:useLocalDpi xmlns:a14="http://schemas.microsoft.com/office/drawing/2010/main" val="0"/>
                </a:ext>
              </a:extLst>
            </a:blip>
            <a:srcRect/>
            <a:stretch>
              <a:fillRect/>
            </a:stretch>
          </p:blipFill>
          <p:spPr bwMode="auto">
            <a:xfrm>
              <a:off x="1371321" y="2807202"/>
              <a:ext cx="582070" cy="277624"/>
            </a:xfrm>
            <a:prstGeom prst="rect">
              <a:avLst/>
            </a:prstGeom>
            <a:ln w="25400">
              <a:solidFill>
                <a:sysClr val="window" lastClr="FFFFFF"/>
              </a:solidFill>
            </a:ln>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22920924"/>
      </p:ext>
    </p:extLst>
  </p:cSld>
  <p:clrMapOvr>
    <a:masterClrMapping/>
  </p:clrMapOvr>
  <p:transition spd="med">
    <p:pull/>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p:cNvPicPr>
          <p:nvPr/>
        </p:nvPicPr>
        <p:blipFill>
          <a:blip r:embed="rId2">
            <a:extLst>
              <a:ext uri="{28A0092B-C50C-407E-A947-70E740481C1C}">
                <a14:useLocalDpi xmlns:a14="http://schemas.microsoft.com/office/drawing/2010/main" val="0"/>
              </a:ext>
            </a:extLst>
          </a:blip>
          <a:stretch>
            <a:fillRect/>
          </a:stretch>
        </p:blipFill>
        <p:spPr>
          <a:xfrm>
            <a:off x="-1" y="-1460"/>
            <a:ext cx="11316831" cy="6851203"/>
          </a:xfrm>
          <a:prstGeom prst="rect">
            <a:avLst/>
          </a:prstGeom>
        </p:spPr>
      </p:pic>
      <p:grpSp>
        <p:nvGrpSpPr>
          <p:cNvPr id="6" name="Group 5">
            <a:extLst>
              <a:ext uri="{FF2B5EF4-FFF2-40B4-BE49-F238E27FC236}">
                <a16:creationId xmlns:a16="http://schemas.microsoft.com/office/drawing/2014/main" id="{B0BFBE09-3C6A-44C7-9D03-289EB3B4D0A7}"/>
              </a:ext>
            </a:extLst>
          </p:cNvPr>
          <p:cNvGrpSpPr/>
          <p:nvPr/>
        </p:nvGrpSpPr>
        <p:grpSpPr>
          <a:xfrm>
            <a:off x="10791565" y="6425836"/>
            <a:ext cx="364450" cy="364450"/>
            <a:chOff x="2624423" y="132075"/>
            <a:chExt cx="864729" cy="864729"/>
          </a:xfrm>
        </p:grpSpPr>
        <p:sp>
          <p:nvSpPr>
            <p:cNvPr id="9" name="Oval 8">
              <a:extLst>
                <a:ext uri="{FF2B5EF4-FFF2-40B4-BE49-F238E27FC236}">
                  <a16:creationId xmlns:a16="http://schemas.microsoft.com/office/drawing/2014/main" id="{55483B00-835E-4566-9353-F7D981928BD8}"/>
                </a:ext>
              </a:extLst>
            </p:cNvPr>
            <p:cNvSpPr/>
            <p:nvPr userDrawn="1"/>
          </p:nvSpPr>
          <p:spPr bwMode="gray">
            <a:xfrm>
              <a:off x="2624423" y="132075"/>
              <a:ext cx="864729" cy="864729"/>
            </a:xfrm>
            <a:prstGeom prst="ellipse">
              <a:avLst/>
            </a:prstGeom>
            <a:solidFill>
              <a:srgbClr val="343434"/>
            </a:solidFill>
            <a:ln w="19050" algn="ctr">
              <a:noFill/>
              <a:miter lim="800000"/>
              <a:headEnd/>
              <a:tailEnd/>
            </a:ln>
          </p:spPr>
          <p:txBody>
            <a:bodyPr wrap="none" lIns="0" tIns="0" rIns="0" bIns="0" rtlCol="0" anchor="ctr"/>
            <a:lstStyle/>
            <a:p>
              <a:pPr algn="ctr" defTabSz="1208241">
                <a:lnSpc>
                  <a:spcPct val="106000"/>
                </a:lnSpc>
                <a:defRPr/>
              </a:pPr>
              <a:endParaRPr lang="en-US" sz="2382" b="1" dirty="0">
                <a:solidFill>
                  <a:prstClr val="white"/>
                </a:solidFill>
                <a:latin typeface="Calibri" panose="020F0502020204030204" pitchFamily="34" charset="0"/>
              </a:endParaRPr>
            </a:p>
          </p:txBody>
        </p:sp>
        <p:grpSp>
          <p:nvGrpSpPr>
            <p:cNvPr id="12" name="Group 22">
              <a:extLst>
                <a:ext uri="{FF2B5EF4-FFF2-40B4-BE49-F238E27FC236}">
                  <a16:creationId xmlns:a16="http://schemas.microsoft.com/office/drawing/2014/main" id="{A0C95259-4342-46A6-B68D-4CF9DEC6145C}"/>
                </a:ext>
              </a:extLst>
            </p:cNvPr>
            <p:cNvGrpSpPr>
              <a:grpSpLocks noChangeAspect="1"/>
            </p:cNvGrpSpPr>
            <p:nvPr userDrawn="1"/>
          </p:nvGrpSpPr>
          <p:grpSpPr bwMode="auto">
            <a:xfrm>
              <a:off x="2678782" y="201682"/>
              <a:ext cx="757994" cy="757994"/>
              <a:chOff x="3448" y="418"/>
              <a:chExt cx="1517" cy="1517"/>
            </a:xfrm>
            <a:solidFill>
              <a:srgbClr val="343434"/>
            </a:solidFill>
          </p:grpSpPr>
          <p:sp>
            <p:nvSpPr>
              <p:cNvPr id="13" name="Freeform 23">
                <a:extLst>
                  <a:ext uri="{FF2B5EF4-FFF2-40B4-BE49-F238E27FC236}">
                    <a16:creationId xmlns:a16="http://schemas.microsoft.com/office/drawing/2014/main" id="{E6E79448-B6DB-4A98-9563-02D545B944F3}"/>
                  </a:ext>
                </a:extLst>
              </p:cNvPr>
              <p:cNvSpPr>
                <a:spLocks noEditPoints="1"/>
              </p:cNvSpPr>
              <p:nvPr/>
            </p:nvSpPr>
            <p:spPr bwMode="auto">
              <a:xfrm>
                <a:off x="3731" y="700"/>
                <a:ext cx="954" cy="888"/>
              </a:xfrm>
              <a:custGeom>
                <a:avLst/>
                <a:gdLst>
                  <a:gd name="T0" fmla="*/ 241 w 402"/>
                  <a:gd name="T1" fmla="*/ 347 h 374"/>
                  <a:gd name="T2" fmla="*/ 334 w 402"/>
                  <a:gd name="T3" fmla="*/ 347 h 374"/>
                  <a:gd name="T4" fmla="*/ 334 w 402"/>
                  <a:gd name="T5" fmla="*/ 174 h 374"/>
                  <a:gd name="T6" fmla="*/ 347 w 402"/>
                  <a:gd name="T7" fmla="*/ 161 h 374"/>
                  <a:gd name="T8" fmla="*/ 351 w 402"/>
                  <a:gd name="T9" fmla="*/ 161 h 374"/>
                  <a:gd name="T10" fmla="*/ 201 w 402"/>
                  <a:gd name="T11" fmla="*/ 32 h 374"/>
                  <a:gd name="T12" fmla="*/ 51 w 402"/>
                  <a:gd name="T13" fmla="*/ 161 h 374"/>
                  <a:gd name="T14" fmla="*/ 55 w 402"/>
                  <a:gd name="T15" fmla="*/ 161 h 374"/>
                  <a:gd name="T16" fmla="*/ 68 w 402"/>
                  <a:gd name="T17" fmla="*/ 174 h 374"/>
                  <a:gd name="T18" fmla="*/ 68 w 402"/>
                  <a:gd name="T19" fmla="*/ 347 h 374"/>
                  <a:gd name="T20" fmla="*/ 161 w 402"/>
                  <a:gd name="T21" fmla="*/ 347 h 374"/>
                  <a:gd name="T22" fmla="*/ 161 w 402"/>
                  <a:gd name="T23" fmla="*/ 280 h 374"/>
                  <a:gd name="T24" fmla="*/ 174 w 402"/>
                  <a:gd name="T25" fmla="*/ 267 h 374"/>
                  <a:gd name="T26" fmla="*/ 228 w 402"/>
                  <a:gd name="T27" fmla="*/ 267 h 374"/>
                  <a:gd name="T28" fmla="*/ 241 w 402"/>
                  <a:gd name="T29" fmla="*/ 280 h 374"/>
                  <a:gd name="T30" fmla="*/ 241 w 402"/>
                  <a:gd name="T31" fmla="*/ 347 h 374"/>
                  <a:gd name="T32" fmla="*/ 347 w 402"/>
                  <a:gd name="T33" fmla="*/ 374 h 374"/>
                  <a:gd name="T34" fmla="*/ 228 w 402"/>
                  <a:gd name="T35" fmla="*/ 374 h 374"/>
                  <a:gd name="T36" fmla="*/ 214 w 402"/>
                  <a:gd name="T37" fmla="*/ 360 h 374"/>
                  <a:gd name="T38" fmla="*/ 214 w 402"/>
                  <a:gd name="T39" fmla="*/ 294 h 374"/>
                  <a:gd name="T40" fmla="*/ 188 w 402"/>
                  <a:gd name="T41" fmla="*/ 294 h 374"/>
                  <a:gd name="T42" fmla="*/ 188 w 402"/>
                  <a:gd name="T43" fmla="*/ 360 h 374"/>
                  <a:gd name="T44" fmla="*/ 174 w 402"/>
                  <a:gd name="T45" fmla="*/ 374 h 374"/>
                  <a:gd name="T46" fmla="*/ 55 w 402"/>
                  <a:gd name="T47" fmla="*/ 374 h 374"/>
                  <a:gd name="T48" fmla="*/ 41 w 402"/>
                  <a:gd name="T49" fmla="*/ 360 h 374"/>
                  <a:gd name="T50" fmla="*/ 41 w 402"/>
                  <a:gd name="T51" fmla="*/ 187 h 374"/>
                  <a:gd name="T52" fmla="*/ 15 w 402"/>
                  <a:gd name="T53" fmla="*/ 187 h 374"/>
                  <a:gd name="T54" fmla="*/ 2 w 402"/>
                  <a:gd name="T55" fmla="*/ 179 h 374"/>
                  <a:gd name="T56" fmla="*/ 6 w 402"/>
                  <a:gd name="T57" fmla="*/ 164 h 374"/>
                  <a:gd name="T58" fmla="*/ 192 w 402"/>
                  <a:gd name="T59" fmla="*/ 4 h 374"/>
                  <a:gd name="T60" fmla="*/ 210 w 402"/>
                  <a:gd name="T61" fmla="*/ 4 h 374"/>
                  <a:gd name="T62" fmla="*/ 396 w 402"/>
                  <a:gd name="T63" fmla="*/ 164 h 374"/>
                  <a:gd name="T64" fmla="*/ 400 w 402"/>
                  <a:gd name="T65" fmla="*/ 179 h 374"/>
                  <a:gd name="T66" fmla="*/ 387 w 402"/>
                  <a:gd name="T67" fmla="*/ 187 h 374"/>
                  <a:gd name="T68" fmla="*/ 361 w 402"/>
                  <a:gd name="T69" fmla="*/ 187 h 374"/>
                  <a:gd name="T70" fmla="*/ 361 w 402"/>
                  <a:gd name="T71" fmla="*/ 360 h 374"/>
                  <a:gd name="T72" fmla="*/ 347 w 402"/>
                  <a:gd name="T7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2" h="374">
                    <a:moveTo>
                      <a:pt x="241" y="347"/>
                    </a:moveTo>
                    <a:cubicBezTo>
                      <a:pt x="334" y="347"/>
                      <a:pt x="334" y="347"/>
                      <a:pt x="334" y="347"/>
                    </a:cubicBezTo>
                    <a:cubicBezTo>
                      <a:pt x="334" y="174"/>
                      <a:pt x="334" y="174"/>
                      <a:pt x="334" y="174"/>
                    </a:cubicBezTo>
                    <a:cubicBezTo>
                      <a:pt x="334" y="167"/>
                      <a:pt x="340" y="161"/>
                      <a:pt x="347" y="161"/>
                    </a:cubicBezTo>
                    <a:cubicBezTo>
                      <a:pt x="351" y="161"/>
                      <a:pt x="351" y="161"/>
                      <a:pt x="351" y="161"/>
                    </a:cubicBezTo>
                    <a:cubicBezTo>
                      <a:pt x="201" y="32"/>
                      <a:pt x="201" y="32"/>
                      <a:pt x="201" y="32"/>
                    </a:cubicBezTo>
                    <a:cubicBezTo>
                      <a:pt x="51" y="161"/>
                      <a:pt x="51" y="161"/>
                      <a:pt x="51" y="161"/>
                    </a:cubicBezTo>
                    <a:cubicBezTo>
                      <a:pt x="55" y="161"/>
                      <a:pt x="55" y="161"/>
                      <a:pt x="55" y="161"/>
                    </a:cubicBezTo>
                    <a:cubicBezTo>
                      <a:pt x="62" y="161"/>
                      <a:pt x="68" y="167"/>
                      <a:pt x="68" y="174"/>
                    </a:cubicBezTo>
                    <a:cubicBezTo>
                      <a:pt x="68" y="347"/>
                      <a:pt x="68" y="347"/>
                      <a:pt x="68" y="347"/>
                    </a:cubicBezTo>
                    <a:cubicBezTo>
                      <a:pt x="161" y="347"/>
                      <a:pt x="161" y="347"/>
                      <a:pt x="161" y="347"/>
                    </a:cubicBezTo>
                    <a:cubicBezTo>
                      <a:pt x="161" y="280"/>
                      <a:pt x="161" y="280"/>
                      <a:pt x="161" y="280"/>
                    </a:cubicBezTo>
                    <a:cubicBezTo>
                      <a:pt x="161" y="273"/>
                      <a:pt x="167" y="267"/>
                      <a:pt x="174" y="267"/>
                    </a:cubicBezTo>
                    <a:cubicBezTo>
                      <a:pt x="228" y="267"/>
                      <a:pt x="228" y="267"/>
                      <a:pt x="228" y="267"/>
                    </a:cubicBezTo>
                    <a:cubicBezTo>
                      <a:pt x="235" y="267"/>
                      <a:pt x="241" y="273"/>
                      <a:pt x="241" y="280"/>
                    </a:cubicBezTo>
                    <a:cubicBezTo>
                      <a:pt x="241" y="347"/>
                      <a:pt x="241" y="347"/>
                      <a:pt x="241" y="347"/>
                    </a:cubicBezTo>
                    <a:close/>
                    <a:moveTo>
                      <a:pt x="347" y="374"/>
                    </a:moveTo>
                    <a:cubicBezTo>
                      <a:pt x="228" y="374"/>
                      <a:pt x="228" y="374"/>
                      <a:pt x="228" y="374"/>
                    </a:cubicBezTo>
                    <a:cubicBezTo>
                      <a:pt x="220" y="374"/>
                      <a:pt x="214" y="368"/>
                      <a:pt x="214" y="360"/>
                    </a:cubicBezTo>
                    <a:cubicBezTo>
                      <a:pt x="214" y="294"/>
                      <a:pt x="214" y="294"/>
                      <a:pt x="214" y="294"/>
                    </a:cubicBezTo>
                    <a:cubicBezTo>
                      <a:pt x="188" y="294"/>
                      <a:pt x="188" y="294"/>
                      <a:pt x="188" y="294"/>
                    </a:cubicBezTo>
                    <a:cubicBezTo>
                      <a:pt x="188" y="360"/>
                      <a:pt x="188" y="360"/>
                      <a:pt x="188" y="360"/>
                    </a:cubicBezTo>
                    <a:cubicBezTo>
                      <a:pt x="188" y="368"/>
                      <a:pt x="182" y="374"/>
                      <a:pt x="174" y="374"/>
                    </a:cubicBezTo>
                    <a:cubicBezTo>
                      <a:pt x="55" y="374"/>
                      <a:pt x="55" y="374"/>
                      <a:pt x="55" y="374"/>
                    </a:cubicBezTo>
                    <a:cubicBezTo>
                      <a:pt x="47" y="374"/>
                      <a:pt x="41" y="368"/>
                      <a:pt x="41" y="360"/>
                    </a:cubicBezTo>
                    <a:cubicBezTo>
                      <a:pt x="41" y="187"/>
                      <a:pt x="41" y="187"/>
                      <a:pt x="41" y="187"/>
                    </a:cubicBezTo>
                    <a:cubicBezTo>
                      <a:pt x="15" y="187"/>
                      <a:pt x="15" y="187"/>
                      <a:pt x="15" y="187"/>
                    </a:cubicBezTo>
                    <a:cubicBezTo>
                      <a:pt x="9" y="187"/>
                      <a:pt x="4" y="184"/>
                      <a:pt x="2" y="179"/>
                    </a:cubicBezTo>
                    <a:cubicBezTo>
                      <a:pt x="0" y="173"/>
                      <a:pt x="2" y="167"/>
                      <a:pt x="6" y="164"/>
                    </a:cubicBezTo>
                    <a:cubicBezTo>
                      <a:pt x="192" y="4"/>
                      <a:pt x="192" y="4"/>
                      <a:pt x="192" y="4"/>
                    </a:cubicBezTo>
                    <a:cubicBezTo>
                      <a:pt x="197" y="0"/>
                      <a:pt x="205" y="0"/>
                      <a:pt x="210" y="4"/>
                    </a:cubicBezTo>
                    <a:cubicBezTo>
                      <a:pt x="396" y="164"/>
                      <a:pt x="396" y="164"/>
                      <a:pt x="396" y="164"/>
                    </a:cubicBezTo>
                    <a:cubicBezTo>
                      <a:pt x="400" y="167"/>
                      <a:pt x="402" y="173"/>
                      <a:pt x="400" y="179"/>
                    </a:cubicBezTo>
                    <a:cubicBezTo>
                      <a:pt x="398" y="184"/>
                      <a:pt x="393" y="187"/>
                      <a:pt x="387" y="187"/>
                    </a:cubicBezTo>
                    <a:cubicBezTo>
                      <a:pt x="361" y="187"/>
                      <a:pt x="361" y="187"/>
                      <a:pt x="361" y="187"/>
                    </a:cubicBezTo>
                    <a:cubicBezTo>
                      <a:pt x="361" y="360"/>
                      <a:pt x="361" y="360"/>
                      <a:pt x="361" y="360"/>
                    </a:cubicBezTo>
                    <a:cubicBezTo>
                      <a:pt x="361" y="368"/>
                      <a:pt x="355" y="374"/>
                      <a:pt x="347" y="3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US" sz="2382" dirty="0">
                  <a:solidFill>
                    <a:prstClr val="black"/>
                  </a:solidFill>
                  <a:latin typeface="Calibri" panose="020F0502020204030204" pitchFamily="34" charset="0"/>
                </a:endParaRPr>
              </a:p>
            </p:txBody>
          </p:sp>
          <p:sp>
            <p:nvSpPr>
              <p:cNvPr id="14" name="Freeform 24">
                <a:extLst>
                  <a:ext uri="{FF2B5EF4-FFF2-40B4-BE49-F238E27FC236}">
                    <a16:creationId xmlns:a16="http://schemas.microsoft.com/office/drawing/2014/main" id="{939E9201-1847-488F-940F-2E436A00A10B}"/>
                  </a:ext>
                </a:extLst>
              </p:cNvPr>
              <p:cNvSpPr>
                <a:spLocks noEditPoints="1"/>
              </p:cNvSpPr>
              <p:nvPr/>
            </p:nvSpPr>
            <p:spPr bwMode="auto">
              <a:xfrm>
                <a:off x="3448" y="418"/>
                <a:ext cx="1517" cy="1517"/>
              </a:xfrm>
              <a:custGeom>
                <a:avLst/>
                <a:gdLst>
                  <a:gd name="T0" fmla="*/ 320 w 639"/>
                  <a:gd name="T1" fmla="*/ 0 h 639"/>
                  <a:gd name="T2" fmla="*/ 0 w 639"/>
                  <a:gd name="T3" fmla="*/ 320 h 639"/>
                  <a:gd name="T4" fmla="*/ 320 w 639"/>
                  <a:gd name="T5" fmla="*/ 639 h 639"/>
                  <a:gd name="T6" fmla="*/ 639 w 639"/>
                  <a:gd name="T7" fmla="*/ 320 h 639"/>
                  <a:gd name="T8" fmla="*/ 320 w 639"/>
                  <a:gd name="T9" fmla="*/ 0 h 639"/>
                  <a:gd name="T10" fmla="*/ 320 w 639"/>
                  <a:gd name="T11" fmla="*/ 0 h 639"/>
                  <a:gd name="T12" fmla="*/ 320 w 639"/>
                  <a:gd name="T13" fmla="*/ 27 h 639"/>
                  <a:gd name="T14" fmla="*/ 613 w 639"/>
                  <a:gd name="T15" fmla="*/ 320 h 639"/>
                  <a:gd name="T16" fmla="*/ 320 w 639"/>
                  <a:gd name="T17" fmla="*/ 612 h 639"/>
                  <a:gd name="T18" fmla="*/ 27 w 639"/>
                  <a:gd name="T19" fmla="*/ 320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4" y="0"/>
                      <a:pt x="0" y="143"/>
                      <a:pt x="0" y="320"/>
                    </a:cubicBezTo>
                    <a:cubicBezTo>
                      <a:pt x="0" y="496"/>
                      <a:pt x="144" y="639"/>
                      <a:pt x="320" y="639"/>
                    </a:cubicBezTo>
                    <a:cubicBezTo>
                      <a:pt x="496" y="639"/>
                      <a:pt x="639" y="496"/>
                      <a:pt x="639" y="320"/>
                    </a:cubicBezTo>
                    <a:cubicBezTo>
                      <a:pt x="639" y="143"/>
                      <a:pt x="496" y="0"/>
                      <a:pt x="320" y="0"/>
                    </a:cubicBezTo>
                    <a:cubicBezTo>
                      <a:pt x="320" y="0"/>
                      <a:pt x="320" y="0"/>
                      <a:pt x="320" y="0"/>
                    </a:cubicBezTo>
                    <a:close/>
                    <a:moveTo>
                      <a:pt x="320" y="27"/>
                    </a:moveTo>
                    <a:cubicBezTo>
                      <a:pt x="481" y="27"/>
                      <a:pt x="613" y="158"/>
                      <a:pt x="613" y="320"/>
                    </a:cubicBezTo>
                    <a:cubicBezTo>
                      <a:pt x="613" y="481"/>
                      <a:pt x="481" y="612"/>
                      <a:pt x="320" y="612"/>
                    </a:cubicBezTo>
                    <a:cubicBezTo>
                      <a:pt x="158" y="612"/>
                      <a:pt x="27" y="481"/>
                      <a:pt x="27" y="320"/>
                    </a:cubicBezTo>
                    <a:cubicBezTo>
                      <a:pt x="27" y="158"/>
                      <a:pt x="158" y="27"/>
                      <a:pt x="32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587" tIns="45295" rIns="90587" bIns="45295" numCol="1" anchor="t" anchorCtr="0" compatLnSpc="1">
                <a:prstTxWarp prst="textNoShape">
                  <a:avLst/>
                </a:prstTxWarp>
              </a:bodyPr>
              <a:lstStyle/>
              <a:p>
                <a:pPr defTabSz="1208241">
                  <a:defRPr/>
                </a:pPr>
                <a:endParaRPr lang="en-US" sz="2382" dirty="0">
                  <a:solidFill>
                    <a:prstClr val="black"/>
                  </a:solidFill>
                  <a:latin typeface="Calibri" panose="020F0502020204030204" pitchFamily="34" charset="0"/>
                </a:endParaRPr>
              </a:p>
            </p:txBody>
          </p:sp>
        </p:grpSp>
      </p:grpSp>
      <p:sp>
        <p:nvSpPr>
          <p:cNvPr id="15" name="Oval 14">
            <a:hlinkClick r:id="rId3" action="ppaction://hlinksldjump"/>
            <a:extLst>
              <a:ext uri="{FF2B5EF4-FFF2-40B4-BE49-F238E27FC236}">
                <a16:creationId xmlns:a16="http://schemas.microsoft.com/office/drawing/2014/main" id="{B201DE4F-2986-47A1-A1B4-FD9A0B785BBF}"/>
              </a:ext>
            </a:extLst>
          </p:cNvPr>
          <p:cNvSpPr/>
          <p:nvPr/>
        </p:nvSpPr>
        <p:spPr bwMode="gray">
          <a:xfrm>
            <a:off x="10751701" y="6426652"/>
            <a:ext cx="423091" cy="423091"/>
          </a:xfrm>
          <a:prstGeom prst="ellipse">
            <a:avLst/>
          </a:prstGeom>
          <a:solidFill>
            <a:srgbClr val="62B5E5">
              <a:alpha val="0"/>
            </a:srgbClr>
          </a:solidFill>
          <a:ln w="19050" algn="ctr">
            <a:noFill/>
            <a:miter lim="800000"/>
            <a:headEnd/>
            <a:tailEnd/>
          </a:ln>
        </p:spPr>
        <p:txBody>
          <a:bodyPr wrap="square" lIns="88071" tIns="88071" rIns="88071" bIns="88071" rtlCol="0" anchor="ctr"/>
          <a:lstStyle/>
          <a:p>
            <a:pPr algn="ctr" defTabSz="1208241">
              <a:lnSpc>
                <a:spcPct val="106000"/>
              </a:lnSpc>
              <a:defRPr/>
            </a:pPr>
            <a:endParaRPr lang="en-US" sz="1582" b="1" dirty="0">
              <a:solidFill>
                <a:prstClr val="white"/>
              </a:solidFill>
              <a:latin typeface="Calibri" panose="020F0502020204030204" pitchFamily="34" charset="0"/>
            </a:endParaRPr>
          </a:p>
        </p:txBody>
      </p:sp>
      <p:sp>
        <p:nvSpPr>
          <p:cNvPr id="16" name="Triangle 28">
            <a:extLst>
              <a:ext uri="{FF2B5EF4-FFF2-40B4-BE49-F238E27FC236}">
                <a16:creationId xmlns:a16="http://schemas.microsoft.com/office/drawing/2014/main" id="{E9125C52-DBD0-4018-BB14-AABC5D45DC34}"/>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19" name="Rectangle 18">
            <a:extLst>
              <a:ext uri="{FF2B5EF4-FFF2-40B4-BE49-F238E27FC236}">
                <a16:creationId xmlns:a16="http://schemas.microsoft.com/office/drawing/2014/main" id="{FD564A15-A158-4EC1-A8A9-45427C006F16}"/>
              </a:ext>
            </a:extLst>
          </p:cNvPr>
          <p:cNvSpPr/>
          <p:nvPr/>
        </p:nvSpPr>
        <p:spPr bwMode="gray">
          <a:xfrm>
            <a:off x="0" y="-19402"/>
            <a:ext cx="11308616" cy="6877401"/>
          </a:xfrm>
          <a:prstGeom prst="rect">
            <a:avLst/>
          </a:prstGeom>
          <a:solidFill>
            <a:schemeClr val="tx1">
              <a:alpha val="48000"/>
            </a:schemeClr>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1582" b="1" dirty="0">
              <a:solidFill>
                <a:schemeClr val="bg1"/>
              </a:solidFill>
              <a:latin typeface="Calibri" panose="020F0502020204030204" pitchFamily="34" charset="0"/>
            </a:endParaRPr>
          </a:p>
        </p:txBody>
      </p:sp>
      <p:sp>
        <p:nvSpPr>
          <p:cNvPr id="10" name="Title 1">
            <a:extLst>
              <a:ext uri="{FF2B5EF4-FFF2-40B4-BE49-F238E27FC236}">
                <a16:creationId xmlns:a16="http://schemas.microsoft.com/office/drawing/2014/main" id="{EC016919-2EDD-472D-8BFC-124E277AD105}"/>
              </a:ext>
            </a:extLst>
          </p:cNvPr>
          <p:cNvSpPr>
            <a:spLocks noGrp="1"/>
          </p:cNvSpPr>
          <p:nvPr>
            <p:ph type="title"/>
          </p:nvPr>
        </p:nvSpPr>
        <p:spPr bwMode="gray">
          <a:xfrm>
            <a:off x="522376" y="460105"/>
            <a:ext cx="10321069" cy="157755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b="0" dirty="0">
                <a:latin typeface="Calibri" panose="020F0502020204030204" pitchFamily="34" charset="0"/>
              </a:rPr>
              <a:t>Appendices</a:t>
            </a:r>
          </a:p>
        </p:txBody>
      </p:sp>
      <p:sp>
        <p:nvSpPr>
          <p:cNvPr id="11" name="Text Placeholder 2">
            <a:extLst>
              <a:ext uri="{FF2B5EF4-FFF2-40B4-BE49-F238E27FC236}">
                <a16:creationId xmlns:a16="http://schemas.microsoft.com/office/drawing/2014/main" id="{6DD4D66A-D889-4ED3-9DF1-AF716327167B}"/>
              </a:ext>
            </a:extLst>
          </p:cNvPr>
          <p:cNvSpPr txBox="1">
            <a:spLocks/>
          </p:cNvSpPr>
          <p:nvPr/>
        </p:nvSpPr>
        <p:spPr bwMode="gray">
          <a:xfrm>
            <a:off x="522376" y="2167362"/>
            <a:ext cx="10321069" cy="155192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pPr lvl="0"/>
            <a:endParaRPr lang="en-US" sz="1982" dirty="0">
              <a:solidFill>
                <a:prstClr val="white"/>
              </a:solidFill>
              <a:latin typeface="Calibri" panose="020F0502020204030204" pitchFamily="34" charset="0"/>
            </a:endParaRPr>
          </a:p>
        </p:txBody>
      </p:sp>
      <p:sp>
        <p:nvSpPr>
          <p:cNvPr id="18" name="Text Placeholder 2">
            <a:extLst>
              <a:ext uri="{FF2B5EF4-FFF2-40B4-BE49-F238E27FC236}">
                <a16:creationId xmlns:a16="http://schemas.microsoft.com/office/drawing/2014/main" id="{6DD4D66A-D889-4ED3-9DF1-AF716327167B}"/>
              </a:ext>
            </a:extLst>
          </p:cNvPr>
          <p:cNvSpPr txBox="1">
            <a:spLocks/>
          </p:cNvSpPr>
          <p:nvPr/>
        </p:nvSpPr>
        <p:spPr bwMode="gray">
          <a:xfrm>
            <a:off x="553007" y="2297070"/>
            <a:ext cx="10321069" cy="155192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bg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pPr marL="339825" indent="-339825">
              <a:buFontTx/>
              <a:buChar char="-"/>
            </a:pPr>
            <a:r>
              <a:rPr lang="en-US" sz="1982" dirty="0">
                <a:latin typeface="Calibri" panose="020F0502020204030204" pitchFamily="34" charset="0"/>
                <a:ea typeface="Verdana" panose="020B0604030504040204" pitchFamily="34" charset="0"/>
                <a:cs typeface="Calibri" panose="020F0502020204030204" pitchFamily="34" charset="0"/>
              </a:rPr>
              <a:t>Why Deloitte?</a:t>
            </a:r>
          </a:p>
          <a:p>
            <a:pPr marL="339825" indent="-339825">
              <a:buFontTx/>
              <a:buChar char="-"/>
            </a:pPr>
            <a:r>
              <a:rPr lang="en-US" sz="1982" dirty="0">
                <a:latin typeface="Calibri" panose="020F0502020204030204" pitchFamily="34" charset="0"/>
                <a:ea typeface="Verdana" panose="020B0604030504040204" pitchFamily="34" charset="0"/>
                <a:cs typeface="Calibri" panose="020F0502020204030204" pitchFamily="34" charset="0"/>
              </a:rPr>
              <a:t>Our Credentials</a:t>
            </a:r>
          </a:p>
          <a:p>
            <a:pPr marL="339825" indent="-339825">
              <a:buFontTx/>
              <a:buChar char="-"/>
            </a:pPr>
            <a:r>
              <a:rPr lang="en-US" sz="1982" dirty="0">
                <a:latin typeface="Calibri" panose="020F0502020204030204" pitchFamily="34" charset="0"/>
                <a:ea typeface="Verdana" panose="020B0604030504040204" pitchFamily="34" charset="0"/>
                <a:cs typeface="Calibri" panose="020F0502020204030204" pitchFamily="34" charset="0"/>
              </a:rPr>
              <a:t>Deloitte’s Official Documents</a:t>
            </a:r>
          </a:p>
          <a:p>
            <a:pPr marL="339825" indent="-339825">
              <a:buFontTx/>
              <a:buChar char="-"/>
            </a:pPr>
            <a:r>
              <a:rPr lang="en-US" sz="1982" dirty="0">
                <a:latin typeface="Calibri" panose="020F0502020204030204" pitchFamily="34" charset="0"/>
                <a:ea typeface="Verdana" panose="020B0604030504040204" pitchFamily="34" charset="0"/>
                <a:cs typeface="Calibri" panose="020F0502020204030204" pitchFamily="34" charset="0"/>
              </a:rPr>
              <a:t>General Business Terms</a:t>
            </a:r>
          </a:p>
          <a:p>
            <a:endParaRPr lang="en-US" sz="1982" dirty="0">
              <a:latin typeface="Calibri" panose="020F0502020204030204" pitchFamily="34" charset="0"/>
              <a:ea typeface="Verdana" panose="020B0604030504040204" pitchFamily="34" charset="0"/>
              <a:cs typeface="Calibri" panose="020F0502020204030204" pitchFamily="34" charset="0"/>
            </a:endParaRPr>
          </a:p>
          <a:p>
            <a:pPr marL="339825" indent="-339825">
              <a:buFontTx/>
              <a:buChar char="-"/>
            </a:pPr>
            <a:endParaRPr lang="en-US" sz="1982" dirty="0">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2157915575"/>
      </p:ext>
    </p:extLst>
  </p:cSld>
  <p:clrMapOvr>
    <a:masterClrMapping/>
  </p:clrMapOvr>
  <p:transition spd="med">
    <p:pull/>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401263-F330-42D5-A856-CCCEBE4586C4}"/>
              </a:ext>
            </a:extLst>
          </p:cNvPr>
          <p:cNvSpPr/>
          <p:nvPr/>
        </p:nvSpPr>
        <p:spPr bwMode="gray">
          <a:xfrm>
            <a:off x="56858" y="31982"/>
            <a:ext cx="163919" cy="6794041"/>
          </a:xfrm>
          <a:prstGeom prst="rect">
            <a:avLst/>
          </a:prstGeom>
          <a:solidFill>
            <a:srgbClr val="343434"/>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791"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EC016919-2EDD-472D-8BFC-124E277AD105}"/>
              </a:ext>
            </a:extLst>
          </p:cNvPr>
          <p:cNvSpPr>
            <a:spLocks noGrp="1"/>
          </p:cNvSpPr>
          <p:nvPr>
            <p:ph type="title"/>
          </p:nvPr>
        </p:nvSpPr>
        <p:spPr bwMode="gray">
          <a:xfrm>
            <a:off x="522376" y="460105"/>
            <a:ext cx="10321069" cy="157755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b="0" dirty="0">
                <a:latin typeface="Calibri" panose="020F0502020204030204" pitchFamily="34" charset="0"/>
              </a:rPr>
              <a:t>Why Deloitte?</a:t>
            </a:r>
          </a:p>
        </p:txBody>
      </p:sp>
    </p:spTree>
    <p:extLst>
      <p:ext uri="{BB962C8B-B14F-4D97-AF65-F5344CB8AC3E}">
        <p14:creationId xmlns:p14="http://schemas.microsoft.com/office/powerpoint/2010/main" val="3325787596"/>
      </p:ext>
    </p:extLst>
  </p:cSld>
  <p:clrMapOvr>
    <a:masterClrMapping/>
  </p:clrMapOvr>
  <p:transition spd="med">
    <p:pull/>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6F94503-D0A3-4D59-B031-E66EEF59E9E1}"/>
              </a:ext>
            </a:extLst>
          </p:cNvPr>
          <p:cNvSpPr txBox="1">
            <a:spLocks/>
          </p:cNvSpPr>
          <p:nvPr/>
        </p:nvSpPr>
        <p:spPr bwMode="gray">
          <a:xfrm>
            <a:off x="501304" y="419978"/>
            <a:ext cx="11147258" cy="330986"/>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382" dirty="0">
                <a:latin typeface="Calibri" panose="020F0502020204030204" pitchFamily="34" charset="0"/>
              </a:rPr>
              <a:t>About Deloitte – Deloitte 175</a:t>
            </a:r>
          </a:p>
        </p:txBody>
      </p:sp>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8" name="Rectangle 7">
            <a:extLst>
              <a:ext uri="{FF2B5EF4-FFF2-40B4-BE49-F238E27FC236}">
                <a16:creationId xmlns:a16="http://schemas.microsoft.com/office/drawing/2014/main" id="{707133E8-E3D1-4806-90A6-1E291B7F98FF}"/>
              </a:ext>
            </a:extLst>
          </p:cNvPr>
          <p:cNvSpPr/>
          <p:nvPr/>
        </p:nvSpPr>
        <p:spPr>
          <a:xfrm>
            <a:off x="6183817" y="2527157"/>
            <a:ext cx="4963644" cy="3200876"/>
          </a:xfrm>
          <a:prstGeom prst="rect">
            <a:avLst/>
          </a:prstGeom>
          <a:noFill/>
          <a:ln>
            <a:noFill/>
          </a:ln>
        </p:spPr>
        <p:txBody>
          <a:bodyPr wrap="square">
            <a:spAutoFit/>
          </a:bodyPr>
          <a:lstStyle/>
          <a:p>
            <a:pPr defTabSz="1219170">
              <a:defRPr/>
            </a:pPr>
            <a:r>
              <a:rPr lang="en-US" sz="1400" dirty="0">
                <a:solidFill>
                  <a:prstClr val="black"/>
                </a:solidFill>
                <a:latin typeface="Calibri" panose="020F0502020204030204" pitchFamily="34" charset="0"/>
                <a:cs typeface="Calibri" panose="020F0502020204030204" pitchFamily="34" charset="0"/>
              </a:rPr>
              <a:t>It is an enduring story that began in 1845 with William Welch Deloitte. An individual with an ideal, integrity and incentive to build something that would last. </a:t>
            </a:r>
          </a:p>
          <a:p>
            <a:pPr defTabSz="1219170">
              <a:defRPr/>
            </a:pPr>
            <a:endParaRPr lang="en-US" sz="1400" dirty="0">
              <a:solidFill>
                <a:prstClr val="black"/>
              </a:solidFill>
              <a:latin typeface="Calibri" panose="020F0502020204030204" pitchFamily="34" charset="0"/>
              <a:cs typeface="Calibri" panose="020F0502020204030204" pitchFamily="34" charset="0"/>
            </a:endParaRPr>
          </a:p>
          <a:p>
            <a:pPr defTabSz="1219170">
              <a:defRPr/>
            </a:pPr>
            <a:r>
              <a:rPr lang="en-US" sz="1400" dirty="0">
                <a:solidFill>
                  <a:prstClr val="black"/>
                </a:solidFill>
                <a:latin typeface="Calibri" panose="020F0502020204030204" pitchFamily="34" charset="0"/>
                <a:cs typeface="Calibri" panose="020F0502020204030204" pitchFamily="34" charset="0"/>
              </a:rPr>
              <a:t>He was someone who understood the power of connection as a way to grow. It was the start of a thriving global organization, which has grown to more than 300,000 people proudly carrying forth a legacy of connection and collaboration. </a:t>
            </a:r>
          </a:p>
          <a:p>
            <a:pPr defTabSz="1219170">
              <a:defRPr/>
            </a:pPr>
            <a:endParaRPr lang="en-US" sz="1400" dirty="0">
              <a:solidFill>
                <a:prstClr val="black"/>
              </a:solidFill>
              <a:latin typeface="Calibri" panose="020F0502020204030204" pitchFamily="34" charset="0"/>
              <a:cs typeface="Calibri" panose="020F0502020204030204" pitchFamily="34" charset="0"/>
            </a:endParaRPr>
          </a:p>
          <a:p>
            <a:pPr defTabSz="1219170">
              <a:defRPr/>
            </a:pPr>
            <a:r>
              <a:rPr lang="en-US" sz="1400" dirty="0">
                <a:solidFill>
                  <a:prstClr val="black"/>
                </a:solidFill>
                <a:latin typeface="Calibri" panose="020F0502020204030204" pitchFamily="34" charset="0"/>
                <a:cs typeface="Calibri" panose="020F0502020204030204" pitchFamily="34" charset="0"/>
              </a:rPr>
              <a:t>Ideals that remain the bedrock of today’s Deloitte—an organization with the multidimensional perspectives necessary to solve the world’s greatest challenges— in business and society.</a:t>
            </a:r>
          </a:p>
          <a:p>
            <a:pPr defTabSz="1219170">
              <a:defRPr/>
            </a:pPr>
            <a:endParaRPr lang="en-US" sz="1400" dirty="0">
              <a:solidFill>
                <a:prstClr val="black"/>
              </a:solidFill>
              <a:latin typeface="Calibri" panose="020F0502020204030204" pitchFamily="34" charset="0"/>
              <a:cs typeface="Calibri" panose="020F0502020204030204" pitchFamily="34" charset="0"/>
            </a:endParaRPr>
          </a:p>
          <a:p>
            <a:pPr defTabSz="1219170">
              <a:defRPr/>
            </a:pPr>
            <a:r>
              <a:rPr lang="en-US" sz="2000" b="1" dirty="0">
                <a:solidFill>
                  <a:srgbClr val="86BC25"/>
                </a:solidFill>
                <a:latin typeface="Calibri" panose="020F0502020204030204" pitchFamily="34" charset="0"/>
                <a:cs typeface="Calibri" panose="020F0502020204030204" pitchFamily="34" charset="0"/>
              </a:rPr>
              <a:t>It’s in our DNA.</a:t>
            </a:r>
          </a:p>
        </p:txBody>
      </p:sp>
      <p:grpSp>
        <p:nvGrpSpPr>
          <p:cNvPr id="11" name="Group 10">
            <a:extLst>
              <a:ext uri="{FF2B5EF4-FFF2-40B4-BE49-F238E27FC236}">
                <a16:creationId xmlns:a16="http://schemas.microsoft.com/office/drawing/2014/main" id="{2F62F1A5-4A76-4C31-B88C-F7A2D6435889}"/>
              </a:ext>
            </a:extLst>
          </p:cNvPr>
          <p:cNvGrpSpPr/>
          <p:nvPr/>
        </p:nvGrpSpPr>
        <p:grpSpPr>
          <a:xfrm>
            <a:off x="451399" y="2589108"/>
            <a:ext cx="5446481" cy="3128177"/>
            <a:chOff x="451399" y="2415372"/>
            <a:chExt cx="5446481" cy="3128177"/>
          </a:xfrm>
        </p:grpSpPr>
        <p:pic>
          <p:nvPicPr>
            <p:cNvPr id="12" name="Picture 11">
              <a:extLst>
                <a:ext uri="{FF2B5EF4-FFF2-40B4-BE49-F238E27FC236}">
                  <a16:creationId xmlns:a16="http://schemas.microsoft.com/office/drawing/2014/main" id="{A2BBF157-747D-4631-AB76-7A1DD995F89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
            <a:stretch/>
          </p:blipFill>
          <p:spPr>
            <a:xfrm>
              <a:off x="498819" y="2435006"/>
              <a:ext cx="5399061" cy="3108543"/>
            </a:xfrm>
            <a:prstGeom prst="rect">
              <a:avLst/>
            </a:prstGeom>
            <a:ln w="38100">
              <a:solidFill>
                <a:srgbClr val="86BC25"/>
              </a:solidFill>
            </a:ln>
          </p:spPr>
        </p:pic>
        <p:sp>
          <p:nvSpPr>
            <p:cNvPr id="13" name="Rectangle 12">
              <a:extLst>
                <a:ext uri="{FF2B5EF4-FFF2-40B4-BE49-F238E27FC236}">
                  <a16:creationId xmlns:a16="http://schemas.microsoft.com/office/drawing/2014/main" id="{A0D47E35-4F4C-4D78-9B7E-3FF5BAC3A770}"/>
                </a:ext>
              </a:extLst>
            </p:cNvPr>
            <p:cNvSpPr/>
            <p:nvPr/>
          </p:nvSpPr>
          <p:spPr bwMode="gray">
            <a:xfrm>
              <a:off x="451399" y="2415372"/>
              <a:ext cx="5446481" cy="3128177"/>
            </a:xfrm>
            <a:prstGeom prst="rect">
              <a:avLst/>
            </a:prstGeom>
            <a:solidFill>
              <a:srgbClr val="86BC25">
                <a:alpha val="50000"/>
              </a:srgbClr>
            </a:solidFill>
            <a:ln w="19050" algn="ctr">
              <a:noFill/>
              <a:miter lim="800000"/>
              <a:headEnd/>
              <a:tailEnd/>
            </a:ln>
          </p:spPr>
          <p:txBody>
            <a:bodyPr wrap="square" lIns="88900" tIns="88900" rIns="88900" bIns="88900" rtlCol="0" anchor="b"/>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grpSp>
      <p:sp>
        <p:nvSpPr>
          <p:cNvPr id="14" name="Text Placeholder 3">
            <a:extLst>
              <a:ext uri="{FF2B5EF4-FFF2-40B4-BE49-F238E27FC236}">
                <a16:creationId xmlns:a16="http://schemas.microsoft.com/office/drawing/2014/main" id="{AC77C67E-19C0-42F4-B919-95A2226177C9}"/>
              </a:ext>
            </a:extLst>
          </p:cNvPr>
          <p:cNvSpPr txBox="1">
            <a:spLocks/>
          </p:cNvSpPr>
          <p:nvPr/>
        </p:nvSpPr>
        <p:spPr>
          <a:xfrm>
            <a:off x="498819" y="1712679"/>
            <a:ext cx="10783336" cy="399094"/>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chemeClr val="accent5"/>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1600" b="1" dirty="0">
                <a:solidFill>
                  <a:prstClr val="black"/>
                </a:solidFill>
                <a:latin typeface="Calibri" panose="020F0502020204030204" pitchFamily="34" charset="0"/>
                <a:cs typeface="Calibri" panose="020F0502020204030204" pitchFamily="34" charset="0"/>
              </a:rPr>
              <a:t>2020 marked </a:t>
            </a:r>
            <a:r>
              <a:rPr lang="en-US" b="1" dirty="0">
                <a:solidFill>
                  <a:srgbClr val="86BC25"/>
                </a:solidFill>
                <a:latin typeface="Calibri" panose="020F0502020204030204" pitchFamily="34" charset="0"/>
                <a:cs typeface="Calibri" panose="020F0502020204030204" pitchFamily="34" charset="0"/>
              </a:rPr>
              <a:t>175</a:t>
            </a:r>
            <a:r>
              <a:rPr lang="en-US" sz="1600" b="1" dirty="0">
                <a:solidFill>
                  <a:prstClr val="black"/>
                </a:solidFill>
                <a:latin typeface="Calibri" panose="020F0502020204030204" pitchFamily="34" charset="0"/>
                <a:cs typeface="Calibri" panose="020F0502020204030204" pitchFamily="34" charset="0"/>
              </a:rPr>
              <a:t> years of Deloitte people making an impact that matters.</a:t>
            </a:r>
            <a:endParaRPr lang="en-GB" sz="1050" b="1"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17540231"/>
      </p:ext>
    </p:extLst>
  </p:cSld>
  <p:clrMapOvr>
    <a:masterClrMapping/>
  </p:clrMapOvr>
  <p:transition spd="med">
    <p:pull/>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15" name="Title 2">
            <a:extLst>
              <a:ext uri="{FF2B5EF4-FFF2-40B4-BE49-F238E27FC236}">
                <a16:creationId xmlns:a16="http://schemas.microsoft.com/office/drawing/2014/main" id="{6396D4A1-7D32-4F81-BC5A-A6CBE231F74B}"/>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16" name="Text Placeholder 1">
            <a:extLst>
              <a:ext uri="{FF2B5EF4-FFF2-40B4-BE49-F238E27FC236}">
                <a16:creationId xmlns:a16="http://schemas.microsoft.com/office/drawing/2014/main" id="{DF7CD27B-0552-4C60-94FB-1DE378ABAF35}"/>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A multi-billion-dollar company</a:t>
            </a:r>
          </a:p>
        </p:txBody>
      </p:sp>
      <p:grpSp>
        <p:nvGrpSpPr>
          <p:cNvPr id="17" name="Group 16">
            <a:extLst>
              <a:ext uri="{FF2B5EF4-FFF2-40B4-BE49-F238E27FC236}">
                <a16:creationId xmlns:a16="http://schemas.microsoft.com/office/drawing/2014/main" id="{805B4BF0-C4E4-432C-9BCE-99C4B0AA32FB}"/>
              </a:ext>
            </a:extLst>
          </p:cNvPr>
          <p:cNvGrpSpPr/>
          <p:nvPr/>
        </p:nvGrpSpPr>
        <p:grpSpPr>
          <a:xfrm>
            <a:off x="551008" y="2067823"/>
            <a:ext cx="9322458" cy="4236725"/>
            <a:chOff x="551007" y="2214127"/>
            <a:chExt cx="10062843" cy="4573204"/>
          </a:xfrm>
        </p:grpSpPr>
        <p:pic>
          <p:nvPicPr>
            <p:cNvPr id="18" name="Picture 17">
              <a:extLst>
                <a:ext uri="{FF2B5EF4-FFF2-40B4-BE49-F238E27FC236}">
                  <a16:creationId xmlns:a16="http://schemas.microsoft.com/office/drawing/2014/main" id="{9F3DA165-F98B-47FC-8243-87E78308C0B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51007" y="2214127"/>
              <a:ext cx="5279378" cy="3620732"/>
            </a:xfrm>
            <a:prstGeom prst="rect">
              <a:avLst/>
            </a:prstGeom>
            <a:effectLst>
              <a:outerShdw blurRad="76200" dir="18900000" sy="23000" kx="-1200000" algn="bl" rotWithShape="0">
                <a:prstClr val="black">
                  <a:alpha val="20000"/>
                </a:prstClr>
              </a:outerShdw>
            </a:effectLst>
          </p:spPr>
        </p:pic>
        <p:pic>
          <p:nvPicPr>
            <p:cNvPr id="19" name="Picture 18">
              <a:extLst>
                <a:ext uri="{FF2B5EF4-FFF2-40B4-BE49-F238E27FC236}">
                  <a16:creationId xmlns:a16="http://schemas.microsoft.com/office/drawing/2014/main" id="{4749FAD8-F62B-46BF-988B-E2CEAE744C1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472" y="3166599"/>
              <a:ext cx="5279378" cy="3620732"/>
            </a:xfrm>
            <a:prstGeom prst="rect">
              <a:avLst/>
            </a:prstGeom>
            <a:effectLst>
              <a:outerShdw blurRad="76200" dir="18900000" sy="23000" kx="-1200000" algn="bl" rotWithShape="0">
                <a:prstClr val="black">
                  <a:alpha val="20000"/>
                </a:prstClr>
              </a:outerShdw>
            </a:effectLst>
          </p:spPr>
        </p:pic>
        <p:sp>
          <p:nvSpPr>
            <p:cNvPr id="20" name="Rectangle 19">
              <a:extLst>
                <a:ext uri="{FF2B5EF4-FFF2-40B4-BE49-F238E27FC236}">
                  <a16:creationId xmlns:a16="http://schemas.microsoft.com/office/drawing/2014/main" id="{D8A24FEE-3FAA-408F-9D21-49C3DA783921}"/>
                </a:ext>
              </a:extLst>
            </p:cNvPr>
            <p:cNvSpPr/>
            <p:nvPr/>
          </p:nvSpPr>
          <p:spPr bwMode="gray">
            <a:xfrm>
              <a:off x="1917106" y="2728687"/>
              <a:ext cx="2845934" cy="548385"/>
            </a:xfrm>
            <a:prstGeom prst="rect">
              <a:avLst/>
            </a:prstGeom>
            <a:no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0" cap="none" spc="0" normalizeH="0" baseline="0" noProof="0" dirty="0">
                  <a:ln>
                    <a:noFill/>
                  </a:ln>
                  <a:solidFill>
                    <a:srgbClr val="3F3D56"/>
                  </a:solidFill>
                  <a:effectLst/>
                  <a:uLnTx/>
                  <a:uFillTx/>
                  <a:latin typeface="Calibri" panose="020F0502020204030204" pitchFamily="34" charset="0"/>
                  <a:cs typeface="Calibri" panose="020F0502020204030204" pitchFamily="34" charset="0"/>
                </a:rPr>
                <a:t>Revenue </a:t>
              </a:r>
              <a:r>
                <a:rPr kumimoji="0" lang="en-US" sz="2000" b="1" i="0" u="none" strike="noStrike" kern="0" cap="none" spc="0" normalizeH="0" baseline="0" noProof="0" dirty="0">
                  <a:ln>
                    <a:noFill/>
                  </a:ln>
                  <a:solidFill>
                    <a:srgbClr val="86BC25"/>
                  </a:solidFill>
                  <a:effectLst/>
                  <a:uLnTx/>
                  <a:uFillTx/>
                  <a:latin typeface="Calibri" panose="020F0502020204030204" pitchFamily="34" charset="0"/>
                  <a:cs typeface="Calibri" panose="020F0502020204030204" pitchFamily="34" charset="0"/>
                </a:rPr>
                <a:t>US$59.3B</a:t>
              </a:r>
            </a:p>
          </p:txBody>
        </p:sp>
        <p:sp>
          <p:nvSpPr>
            <p:cNvPr id="21" name="Rectangle 20">
              <a:extLst>
                <a:ext uri="{FF2B5EF4-FFF2-40B4-BE49-F238E27FC236}">
                  <a16:creationId xmlns:a16="http://schemas.microsoft.com/office/drawing/2014/main" id="{B3336C9F-7C67-4303-82DC-5D8783E37285}"/>
                </a:ext>
              </a:extLst>
            </p:cNvPr>
            <p:cNvSpPr/>
            <p:nvPr/>
          </p:nvSpPr>
          <p:spPr bwMode="gray">
            <a:xfrm>
              <a:off x="1804372" y="3528787"/>
              <a:ext cx="3183375" cy="548385"/>
            </a:xfrm>
            <a:prstGeom prst="rect">
              <a:avLst/>
            </a:prstGeom>
            <a:no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0" cap="none" spc="0" normalizeH="0" baseline="0" noProof="0" dirty="0">
                  <a:ln>
                    <a:noFill/>
                  </a:ln>
                  <a:solidFill>
                    <a:srgbClr val="3F3D56"/>
                  </a:solidFill>
                  <a:effectLst/>
                  <a:uLnTx/>
                  <a:uFillTx/>
                  <a:latin typeface="Calibri" panose="020F0502020204030204" pitchFamily="34" charset="0"/>
                  <a:cs typeface="Calibri" panose="020F0502020204030204" pitchFamily="34" charset="0"/>
                </a:rPr>
                <a:t>Headcount </a:t>
              </a:r>
              <a:r>
                <a:rPr kumimoji="0" lang="en-US" sz="2000" b="1" i="0" u="none" strike="noStrike" kern="0" cap="none" spc="0" normalizeH="0" baseline="0" noProof="0" dirty="0">
                  <a:ln>
                    <a:noFill/>
                  </a:ln>
                  <a:solidFill>
                    <a:srgbClr val="046A38"/>
                  </a:solidFill>
                  <a:effectLst/>
                  <a:uLnTx/>
                  <a:uFillTx/>
                  <a:latin typeface="Calibri" panose="020F0502020204030204" pitchFamily="34" charset="0"/>
                  <a:cs typeface="Calibri" panose="020F0502020204030204" pitchFamily="34" charset="0"/>
                </a:rPr>
                <a:t>411,951</a:t>
              </a:r>
            </a:p>
          </p:txBody>
        </p:sp>
        <p:sp>
          <p:nvSpPr>
            <p:cNvPr id="22" name="Rectangle 21">
              <a:extLst>
                <a:ext uri="{FF2B5EF4-FFF2-40B4-BE49-F238E27FC236}">
                  <a16:creationId xmlns:a16="http://schemas.microsoft.com/office/drawing/2014/main" id="{B58360EC-EC65-4107-A543-ED4027A96A37}"/>
                </a:ext>
              </a:extLst>
            </p:cNvPr>
            <p:cNvSpPr/>
            <p:nvPr/>
          </p:nvSpPr>
          <p:spPr bwMode="gray">
            <a:xfrm>
              <a:off x="1867872" y="4279215"/>
              <a:ext cx="2845934" cy="548385"/>
            </a:xfrm>
            <a:prstGeom prst="rect">
              <a:avLst/>
            </a:prstGeom>
            <a:no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3F3D56"/>
                  </a:solidFill>
                  <a:effectLst/>
                  <a:uLnTx/>
                  <a:uFillTx/>
                  <a:latin typeface="Calibri" panose="020F0502020204030204" pitchFamily="34" charset="0"/>
                  <a:cs typeface="Calibri" panose="020F0502020204030204" pitchFamily="34" charset="0"/>
                </a:rPr>
                <a:t>New hires </a:t>
              </a:r>
              <a:r>
                <a:rPr kumimoji="0" lang="en-US" sz="2000" b="1" i="0" u="none" strike="noStrike" kern="0" cap="none" spc="0" normalizeH="0" baseline="0" noProof="0" dirty="0">
                  <a:ln>
                    <a:noFill/>
                  </a:ln>
                  <a:solidFill>
                    <a:srgbClr val="62B5E5"/>
                  </a:solidFill>
                  <a:effectLst/>
                  <a:uLnTx/>
                  <a:uFillTx/>
                  <a:latin typeface="Calibri" panose="020F0502020204030204" pitchFamily="34" charset="0"/>
                  <a:cs typeface="Calibri" panose="020F0502020204030204" pitchFamily="34" charset="0"/>
                </a:rPr>
                <a:t>156,430</a:t>
              </a:r>
            </a:p>
          </p:txBody>
        </p:sp>
        <p:sp>
          <p:nvSpPr>
            <p:cNvPr id="23" name="Rectangle 22">
              <a:extLst>
                <a:ext uri="{FF2B5EF4-FFF2-40B4-BE49-F238E27FC236}">
                  <a16:creationId xmlns:a16="http://schemas.microsoft.com/office/drawing/2014/main" id="{5814B00A-F238-4664-A0A7-CA2AC740510C}"/>
                </a:ext>
              </a:extLst>
            </p:cNvPr>
            <p:cNvSpPr/>
            <p:nvPr/>
          </p:nvSpPr>
          <p:spPr bwMode="gray">
            <a:xfrm>
              <a:off x="6682815" y="3513265"/>
              <a:ext cx="2845934" cy="548385"/>
            </a:xfrm>
            <a:prstGeom prst="rect">
              <a:avLst/>
            </a:prstGeom>
            <a:no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3F3D56"/>
                  </a:solidFill>
                  <a:effectLst/>
                  <a:uLnTx/>
                  <a:uFillTx/>
                  <a:latin typeface="Calibri" panose="020F0502020204030204" pitchFamily="34" charset="0"/>
                  <a:cs typeface="Calibri" panose="020F0502020204030204" pitchFamily="34" charset="0"/>
                </a:rPr>
                <a:t>Countries &amp; territories</a:t>
              </a:r>
            </a:p>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86BC25"/>
                  </a:solidFill>
                  <a:effectLst/>
                  <a:uLnTx/>
                  <a:uFillTx/>
                  <a:latin typeface="Calibri" panose="020F0502020204030204" pitchFamily="34" charset="0"/>
                  <a:cs typeface="Calibri" panose="020F0502020204030204" pitchFamily="34" charset="0"/>
                </a:rPr>
                <a:t>More than 150</a:t>
              </a:r>
            </a:p>
          </p:txBody>
        </p:sp>
        <p:sp>
          <p:nvSpPr>
            <p:cNvPr id="24" name="Rectangle 23">
              <a:extLst>
                <a:ext uri="{FF2B5EF4-FFF2-40B4-BE49-F238E27FC236}">
                  <a16:creationId xmlns:a16="http://schemas.microsoft.com/office/drawing/2014/main" id="{EED4FD08-BEDD-469F-9F9E-9A278AE21AF7}"/>
                </a:ext>
              </a:extLst>
            </p:cNvPr>
            <p:cNvSpPr/>
            <p:nvPr/>
          </p:nvSpPr>
          <p:spPr bwMode="gray">
            <a:xfrm>
              <a:off x="6501851" y="4380099"/>
              <a:ext cx="3019661" cy="548385"/>
            </a:xfrm>
            <a:prstGeom prst="rect">
              <a:avLst/>
            </a:prstGeom>
            <a:no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3F3D56"/>
                  </a:solidFill>
                  <a:effectLst/>
                  <a:uLnTx/>
                  <a:uFillTx/>
                  <a:latin typeface="Calibri" panose="020F0502020204030204" pitchFamily="34" charset="0"/>
                  <a:cs typeface="Calibri" panose="020F0502020204030204" pitchFamily="34" charset="0"/>
                </a:rPr>
                <a:t>Societal investment </a:t>
              </a:r>
              <a:r>
                <a:rPr kumimoji="0" lang="en-US" sz="2000" b="1" i="0" u="none" strike="noStrike" kern="0" cap="none" spc="0" normalizeH="0" baseline="0" noProof="0" dirty="0">
                  <a:ln>
                    <a:noFill/>
                  </a:ln>
                  <a:solidFill>
                    <a:srgbClr val="046A38"/>
                  </a:solidFill>
                  <a:effectLst/>
                  <a:uLnTx/>
                  <a:uFillTx/>
                  <a:latin typeface="Calibri" panose="020F0502020204030204" pitchFamily="34" charset="0"/>
                  <a:cs typeface="Calibri" panose="020F0502020204030204" pitchFamily="34" charset="0"/>
                </a:rPr>
                <a:t>US$284M</a:t>
              </a:r>
            </a:p>
          </p:txBody>
        </p:sp>
        <p:sp>
          <p:nvSpPr>
            <p:cNvPr id="25" name="Oval 24">
              <a:extLst>
                <a:ext uri="{FF2B5EF4-FFF2-40B4-BE49-F238E27FC236}">
                  <a16:creationId xmlns:a16="http://schemas.microsoft.com/office/drawing/2014/main" id="{151C786C-C5DF-4E8E-BAE1-A339E4860FCD}"/>
                </a:ext>
              </a:extLst>
            </p:cNvPr>
            <p:cNvSpPr/>
            <p:nvPr/>
          </p:nvSpPr>
          <p:spPr bwMode="gray">
            <a:xfrm>
              <a:off x="1053350" y="2926227"/>
              <a:ext cx="640080" cy="64008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6" name="Oval 25">
              <a:extLst>
                <a:ext uri="{FF2B5EF4-FFF2-40B4-BE49-F238E27FC236}">
                  <a16:creationId xmlns:a16="http://schemas.microsoft.com/office/drawing/2014/main" id="{A0FBDE56-2A47-4A13-A39F-E801346099DA}"/>
                </a:ext>
              </a:extLst>
            </p:cNvPr>
            <p:cNvSpPr/>
            <p:nvPr/>
          </p:nvSpPr>
          <p:spPr bwMode="gray">
            <a:xfrm>
              <a:off x="1053350" y="3726327"/>
              <a:ext cx="640080" cy="640080"/>
            </a:xfrm>
            <a:prstGeom prst="ellipse">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7" name="Oval 26">
              <a:extLst>
                <a:ext uri="{FF2B5EF4-FFF2-40B4-BE49-F238E27FC236}">
                  <a16:creationId xmlns:a16="http://schemas.microsoft.com/office/drawing/2014/main" id="{DC43D1AD-AEF2-4017-892C-AFDABA8CD745}"/>
                </a:ext>
              </a:extLst>
            </p:cNvPr>
            <p:cNvSpPr/>
            <p:nvPr/>
          </p:nvSpPr>
          <p:spPr bwMode="gray">
            <a:xfrm>
              <a:off x="1066050" y="4513727"/>
              <a:ext cx="640080" cy="640080"/>
            </a:xfrm>
            <a:prstGeom prst="ellipse">
              <a:avLst/>
            </a:prstGeom>
            <a:solidFill>
              <a:srgbClr val="62B5E5"/>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8" name="Oval 27">
              <a:extLst>
                <a:ext uri="{FF2B5EF4-FFF2-40B4-BE49-F238E27FC236}">
                  <a16:creationId xmlns:a16="http://schemas.microsoft.com/office/drawing/2014/main" id="{37BE5A07-006A-4C25-A034-83E096A22709}"/>
                </a:ext>
              </a:extLst>
            </p:cNvPr>
            <p:cNvSpPr/>
            <p:nvPr/>
          </p:nvSpPr>
          <p:spPr bwMode="gray">
            <a:xfrm>
              <a:off x="5841312" y="3913327"/>
              <a:ext cx="640080" cy="64008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9" name="Oval 28">
              <a:extLst>
                <a:ext uri="{FF2B5EF4-FFF2-40B4-BE49-F238E27FC236}">
                  <a16:creationId xmlns:a16="http://schemas.microsoft.com/office/drawing/2014/main" id="{C8DD96EA-7938-4519-9E3B-3506BB3AAEFF}"/>
                </a:ext>
              </a:extLst>
            </p:cNvPr>
            <p:cNvSpPr/>
            <p:nvPr/>
          </p:nvSpPr>
          <p:spPr bwMode="gray">
            <a:xfrm>
              <a:off x="5836732" y="4703368"/>
              <a:ext cx="640080" cy="640080"/>
            </a:xfrm>
            <a:prstGeom prst="ellipse">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30" name="Freeform 915">
              <a:extLst>
                <a:ext uri="{FF2B5EF4-FFF2-40B4-BE49-F238E27FC236}">
                  <a16:creationId xmlns:a16="http://schemas.microsoft.com/office/drawing/2014/main" id="{2878C83E-DFE6-4CF4-9B3D-9D85A236B93C}"/>
                </a:ext>
              </a:extLst>
            </p:cNvPr>
            <p:cNvSpPr>
              <a:spLocks noEditPoints="1"/>
            </p:cNvSpPr>
            <p:nvPr/>
          </p:nvSpPr>
          <p:spPr bwMode="auto">
            <a:xfrm>
              <a:off x="1196683" y="2993357"/>
              <a:ext cx="365760" cy="45720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ysClr val="window" lastClr="FFFFFF"/>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C8A2E"/>
                </a:solidFill>
                <a:effectLst/>
                <a:uLnTx/>
                <a:uFillTx/>
                <a:latin typeface="Calibri" panose="020F0502020204030204" pitchFamily="34" charset="0"/>
                <a:cs typeface="Calibri" panose="020F0502020204030204" pitchFamily="34" charset="0"/>
              </a:endParaRPr>
            </a:p>
          </p:txBody>
        </p:sp>
        <p:grpSp>
          <p:nvGrpSpPr>
            <p:cNvPr id="31" name="Group 828">
              <a:extLst>
                <a:ext uri="{FF2B5EF4-FFF2-40B4-BE49-F238E27FC236}">
                  <a16:creationId xmlns:a16="http://schemas.microsoft.com/office/drawing/2014/main" id="{1A7A2F26-F2DA-4864-91D8-88670EE26B8F}"/>
                </a:ext>
              </a:extLst>
            </p:cNvPr>
            <p:cNvGrpSpPr>
              <a:grpSpLocks noChangeAspect="1"/>
            </p:cNvGrpSpPr>
            <p:nvPr/>
          </p:nvGrpSpPr>
          <p:grpSpPr bwMode="auto">
            <a:xfrm>
              <a:off x="1209956" y="3860007"/>
              <a:ext cx="324622" cy="365760"/>
              <a:chOff x="5127" y="3083"/>
              <a:chExt cx="171" cy="212"/>
            </a:xfrm>
            <a:solidFill>
              <a:sysClr val="window" lastClr="FFFFFF"/>
            </a:solidFill>
          </p:grpSpPr>
          <p:sp>
            <p:nvSpPr>
              <p:cNvPr id="42" name="Freeform 829">
                <a:extLst>
                  <a:ext uri="{FF2B5EF4-FFF2-40B4-BE49-F238E27FC236}">
                    <a16:creationId xmlns:a16="http://schemas.microsoft.com/office/drawing/2014/main" id="{59F70DAD-55F0-43F5-9030-26F8EE3E4EF4}"/>
                  </a:ext>
                </a:extLst>
              </p:cNvPr>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43" name="Freeform 830">
                <a:extLst>
                  <a:ext uri="{FF2B5EF4-FFF2-40B4-BE49-F238E27FC236}">
                    <a16:creationId xmlns:a16="http://schemas.microsoft.com/office/drawing/2014/main" id="{71A30301-A8B9-4AD1-BD47-8BBBB9FD31E2}"/>
                  </a:ext>
                </a:extLst>
              </p:cNvPr>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44" name="Freeform 831">
                <a:extLst>
                  <a:ext uri="{FF2B5EF4-FFF2-40B4-BE49-F238E27FC236}">
                    <a16:creationId xmlns:a16="http://schemas.microsoft.com/office/drawing/2014/main" id="{B96F0763-26E1-4B6A-B751-56A7D8EC95B9}"/>
                  </a:ext>
                </a:extLst>
              </p:cNvPr>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45" name="Freeform 832">
                <a:extLst>
                  <a:ext uri="{FF2B5EF4-FFF2-40B4-BE49-F238E27FC236}">
                    <a16:creationId xmlns:a16="http://schemas.microsoft.com/office/drawing/2014/main" id="{F55DC075-8FE8-4238-8E8E-ECDEDF27A7A4}"/>
                  </a:ext>
                </a:extLst>
              </p:cNvPr>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grpSp>
        <p:grpSp>
          <p:nvGrpSpPr>
            <p:cNvPr id="32" name="Group 555">
              <a:extLst>
                <a:ext uri="{FF2B5EF4-FFF2-40B4-BE49-F238E27FC236}">
                  <a16:creationId xmlns:a16="http://schemas.microsoft.com/office/drawing/2014/main" id="{5C5E0AA7-91FD-4FC5-9288-2BF61FABC892}"/>
                </a:ext>
              </a:extLst>
            </p:cNvPr>
            <p:cNvGrpSpPr>
              <a:grpSpLocks noChangeAspect="1"/>
            </p:cNvGrpSpPr>
            <p:nvPr/>
          </p:nvGrpSpPr>
          <p:grpSpPr bwMode="auto">
            <a:xfrm>
              <a:off x="1183875" y="4689109"/>
              <a:ext cx="422335" cy="274317"/>
              <a:chOff x="1193" y="2051"/>
              <a:chExt cx="214" cy="139"/>
            </a:xfrm>
            <a:solidFill>
              <a:sysClr val="window" lastClr="FFFFFF"/>
            </a:solidFill>
          </p:grpSpPr>
          <p:sp>
            <p:nvSpPr>
              <p:cNvPr id="38" name="Freeform 557">
                <a:extLst>
                  <a:ext uri="{FF2B5EF4-FFF2-40B4-BE49-F238E27FC236}">
                    <a16:creationId xmlns:a16="http://schemas.microsoft.com/office/drawing/2014/main" id="{2AA12339-6C10-4808-834F-D697C07C8B90}"/>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39" name="Freeform 558">
                <a:extLst>
                  <a:ext uri="{FF2B5EF4-FFF2-40B4-BE49-F238E27FC236}">
                    <a16:creationId xmlns:a16="http://schemas.microsoft.com/office/drawing/2014/main" id="{B3F01AB0-AF98-4BA9-B5C5-46694DE327E7}"/>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40" name="Freeform 559">
                <a:extLst>
                  <a:ext uri="{FF2B5EF4-FFF2-40B4-BE49-F238E27FC236}">
                    <a16:creationId xmlns:a16="http://schemas.microsoft.com/office/drawing/2014/main" id="{7F0DE7FC-B992-4B3F-B42C-1981DE94AC8B}"/>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41" name="Freeform 560">
                <a:extLst>
                  <a:ext uri="{FF2B5EF4-FFF2-40B4-BE49-F238E27FC236}">
                    <a16:creationId xmlns:a16="http://schemas.microsoft.com/office/drawing/2014/main" id="{56381574-1F9A-4E90-AD98-F3752B4E88F7}"/>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grpSp>
        <p:sp>
          <p:nvSpPr>
            <p:cNvPr id="33" name="Freeform 863">
              <a:extLst>
                <a:ext uri="{FF2B5EF4-FFF2-40B4-BE49-F238E27FC236}">
                  <a16:creationId xmlns:a16="http://schemas.microsoft.com/office/drawing/2014/main" id="{F5B74F0E-510C-4771-A695-49AC544D7BB4}"/>
                </a:ext>
              </a:extLst>
            </p:cNvPr>
            <p:cNvSpPr>
              <a:spLocks noEditPoints="1"/>
            </p:cNvSpPr>
            <p:nvPr/>
          </p:nvSpPr>
          <p:spPr bwMode="auto">
            <a:xfrm>
              <a:off x="6027947" y="4025216"/>
              <a:ext cx="274320" cy="365760"/>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solidFill>
              <a:sysClr val="window" lastClr="FFFFFF"/>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grpSp>
          <p:nvGrpSpPr>
            <p:cNvPr id="34" name="Group 99">
              <a:extLst>
                <a:ext uri="{FF2B5EF4-FFF2-40B4-BE49-F238E27FC236}">
                  <a16:creationId xmlns:a16="http://schemas.microsoft.com/office/drawing/2014/main" id="{C9757B6A-5AAF-42C6-A3A7-09CFABF1075E}"/>
                </a:ext>
              </a:extLst>
            </p:cNvPr>
            <p:cNvGrpSpPr>
              <a:grpSpLocks noChangeAspect="1"/>
            </p:cNvGrpSpPr>
            <p:nvPr/>
          </p:nvGrpSpPr>
          <p:grpSpPr bwMode="auto">
            <a:xfrm>
              <a:off x="6001099" y="4822668"/>
              <a:ext cx="310227" cy="365760"/>
              <a:chOff x="468" y="431"/>
              <a:chExt cx="162" cy="191"/>
            </a:xfrm>
            <a:solidFill>
              <a:sysClr val="window" lastClr="FFFFFF"/>
            </a:solidFill>
          </p:grpSpPr>
          <p:sp>
            <p:nvSpPr>
              <p:cNvPr id="36" name="Freeform 101">
                <a:extLst>
                  <a:ext uri="{FF2B5EF4-FFF2-40B4-BE49-F238E27FC236}">
                    <a16:creationId xmlns:a16="http://schemas.microsoft.com/office/drawing/2014/main" id="{4E8F6EA3-08D6-4375-8C86-1C6C6EF0BB17}"/>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37" name="Freeform 102">
                <a:extLst>
                  <a:ext uri="{FF2B5EF4-FFF2-40B4-BE49-F238E27FC236}">
                    <a16:creationId xmlns:a16="http://schemas.microsoft.com/office/drawing/2014/main" id="{D87C57E8-2EAD-43DE-97BE-73A414389C5D}"/>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grpSp>
        <p:sp>
          <p:nvSpPr>
            <p:cNvPr id="35" name="Rectangle 34">
              <a:extLst>
                <a:ext uri="{FF2B5EF4-FFF2-40B4-BE49-F238E27FC236}">
                  <a16:creationId xmlns:a16="http://schemas.microsoft.com/office/drawing/2014/main" id="{4CD8E022-BC18-4186-89BB-F3AE6D218754}"/>
                </a:ext>
              </a:extLst>
            </p:cNvPr>
            <p:cNvSpPr/>
            <p:nvPr/>
          </p:nvSpPr>
          <p:spPr bwMode="gray">
            <a:xfrm>
              <a:off x="5783795" y="5381548"/>
              <a:ext cx="4322055" cy="969385"/>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grpSp>
      <p:sp>
        <p:nvSpPr>
          <p:cNvPr id="46" name="TextBox 45">
            <a:extLst>
              <a:ext uri="{FF2B5EF4-FFF2-40B4-BE49-F238E27FC236}">
                <a16:creationId xmlns:a16="http://schemas.microsoft.com/office/drawing/2014/main" id="{D1A733D2-D61D-4BD8-AF74-FE786ECD5E8B}"/>
              </a:ext>
            </a:extLst>
          </p:cNvPr>
          <p:cNvSpPr txBox="1"/>
          <p:nvPr/>
        </p:nvSpPr>
        <p:spPr>
          <a:xfrm>
            <a:off x="498819" y="1694391"/>
            <a:ext cx="1652337" cy="430887"/>
          </a:xfrm>
          <a:prstGeom prst="rect">
            <a:avLst/>
          </a:prstGeom>
        </p:spPr>
        <p:txBody>
          <a:bodyPr wrap="square" lIns="0" tIns="0" rIns="0" bIns="0" rtlCol="0">
            <a:spAutoFit/>
          </a:bodyPr>
          <a:lstStyle/>
          <a:p>
            <a:pPr defTabSz="1219170">
              <a:defRPr/>
            </a:pPr>
            <a:r>
              <a:rPr lang="en-US" sz="2800" b="1" dirty="0">
                <a:solidFill>
                  <a:srgbClr val="86BC25"/>
                </a:solidFill>
                <a:latin typeface="Calibri" panose="020F0502020204030204" pitchFamily="34" charset="0"/>
                <a:cs typeface="Calibri" panose="020F0502020204030204" pitchFamily="34" charset="0"/>
              </a:rPr>
              <a:t>2022</a:t>
            </a:r>
          </a:p>
        </p:txBody>
      </p:sp>
    </p:spTree>
    <p:extLst>
      <p:ext uri="{BB962C8B-B14F-4D97-AF65-F5344CB8AC3E}">
        <p14:creationId xmlns:p14="http://schemas.microsoft.com/office/powerpoint/2010/main" val="169170285"/>
      </p:ext>
    </p:extLst>
  </p:cSld>
  <p:clrMapOvr>
    <a:masterClrMapping/>
  </p:clrMapOvr>
  <p:transition spd="med">
    <p:pull/>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5" name="Title 2">
            <a:extLst>
              <a:ext uri="{FF2B5EF4-FFF2-40B4-BE49-F238E27FC236}">
                <a16:creationId xmlns:a16="http://schemas.microsoft.com/office/drawing/2014/main" id="{1EB53CE3-11FC-499F-A017-454539799576}"/>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8" name="Text Placeholder 1">
            <a:extLst>
              <a:ext uri="{FF2B5EF4-FFF2-40B4-BE49-F238E27FC236}">
                <a16:creationId xmlns:a16="http://schemas.microsoft.com/office/drawing/2014/main" id="{F3FAD2CF-68B5-4F38-B352-5BE0A5D75EF4}"/>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The Largest Professional Services Firm Globally</a:t>
            </a:r>
          </a:p>
        </p:txBody>
      </p:sp>
      <p:pic>
        <p:nvPicPr>
          <p:cNvPr id="9" name="Picture 8">
            <a:extLst>
              <a:ext uri="{FF2B5EF4-FFF2-40B4-BE49-F238E27FC236}">
                <a16:creationId xmlns:a16="http://schemas.microsoft.com/office/drawing/2014/main" id="{ACB5AE57-0985-4079-B134-CA7190B9399A}"/>
              </a:ext>
            </a:extLst>
          </p:cNvPr>
          <p:cNvPicPr>
            <a:picLocks noChangeAspect="1"/>
          </p:cNvPicPr>
          <p:nvPr/>
        </p:nvPicPr>
        <p:blipFill>
          <a:blip r:embed="rId2"/>
          <a:stretch>
            <a:fillRect/>
          </a:stretch>
        </p:blipFill>
        <p:spPr>
          <a:xfrm>
            <a:off x="685871" y="1681591"/>
            <a:ext cx="10076033" cy="3993829"/>
          </a:xfrm>
          <a:prstGeom prst="rect">
            <a:avLst/>
          </a:prstGeom>
        </p:spPr>
      </p:pic>
    </p:spTree>
    <p:extLst>
      <p:ext uri="{BB962C8B-B14F-4D97-AF65-F5344CB8AC3E}">
        <p14:creationId xmlns:p14="http://schemas.microsoft.com/office/powerpoint/2010/main" val="2698041747"/>
      </p:ext>
    </p:extLst>
  </p:cSld>
  <p:clrMapOvr>
    <a:masterClrMapping/>
  </p:clrMapOvr>
  <p:transition spd="med">
    <p:pull/>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5" name="Title 2">
            <a:extLst>
              <a:ext uri="{FF2B5EF4-FFF2-40B4-BE49-F238E27FC236}">
                <a16:creationId xmlns:a16="http://schemas.microsoft.com/office/drawing/2014/main" id="{C7812BA9-C613-41F5-B2D1-7A7B798E5DCD}"/>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8" name="Text Placeholder 1">
            <a:extLst>
              <a:ext uri="{FF2B5EF4-FFF2-40B4-BE49-F238E27FC236}">
                <a16:creationId xmlns:a16="http://schemas.microsoft.com/office/drawing/2014/main" id="{06806CE3-A0E3-4C13-8588-AACFFA25B51B}"/>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Deloitte Middle East</a:t>
            </a:r>
          </a:p>
        </p:txBody>
      </p:sp>
      <p:pic>
        <p:nvPicPr>
          <p:cNvPr id="9" name="Picture 8">
            <a:extLst>
              <a:ext uri="{FF2B5EF4-FFF2-40B4-BE49-F238E27FC236}">
                <a16:creationId xmlns:a16="http://schemas.microsoft.com/office/drawing/2014/main" id="{84D50E9D-CF2B-421A-B1AB-93E395E0FBD3}"/>
              </a:ext>
            </a:extLst>
          </p:cNvPr>
          <p:cNvPicPr>
            <a:picLocks noChangeAspect="1"/>
          </p:cNvPicPr>
          <p:nvPr/>
        </p:nvPicPr>
        <p:blipFill>
          <a:blip r:embed="rId2" cstate="email">
            <a:duotone>
              <a:srgbClr val="86BC25">
                <a:shade val="45000"/>
                <a:satMod val="135000"/>
              </a:srgbClr>
              <a:prstClr val="white"/>
            </a:duotone>
            <a:extLst>
              <a:ext uri="{28A0092B-C50C-407E-A947-70E740481C1C}">
                <a14:useLocalDpi xmlns:a14="http://schemas.microsoft.com/office/drawing/2010/main"/>
              </a:ext>
            </a:extLst>
          </a:blip>
          <a:stretch>
            <a:fillRect/>
          </a:stretch>
        </p:blipFill>
        <p:spPr>
          <a:xfrm>
            <a:off x="3557453" y="3172968"/>
            <a:ext cx="5239177" cy="3245379"/>
          </a:xfrm>
          <a:prstGeom prst="rect">
            <a:avLst/>
          </a:prstGeom>
        </p:spPr>
      </p:pic>
      <p:sp>
        <p:nvSpPr>
          <p:cNvPr id="11" name="TextBox 10">
            <a:extLst>
              <a:ext uri="{FF2B5EF4-FFF2-40B4-BE49-F238E27FC236}">
                <a16:creationId xmlns:a16="http://schemas.microsoft.com/office/drawing/2014/main" id="{A7242425-DC6F-4EA6-890B-2B4D7A071786}"/>
              </a:ext>
            </a:extLst>
          </p:cNvPr>
          <p:cNvSpPr txBox="1"/>
          <p:nvPr/>
        </p:nvSpPr>
        <p:spPr>
          <a:xfrm>
            <a:off x="446376" y="1891780"/>
            <a:ext cx="3395082" cy="4378122"/>
          </a:xfrm>
          <a:prstGeom prst="rect">
            <a:avLst/>
          </a:prstGeom>
          <a:noFill/>
          <a:ln>
            <a:noFill/>
          </a:ln>
        </p:spPr>
        <p:txBody>
          <a:bodyPr wrap="square" rtlCol="0">
            <a:spAutoFit/>
          </a:bodyPr>
          <a:lstStyle/>
          <a:p>
            <a:pPr>
              <a:spcAft>
                <a:spcPts val="300"/>
              </a:spcAft>
              <a:defRPr/>
            </a:pPr>
            <a:r>
              <a:rPr lang="en-US" sz="1400" kern="0" dirty="0">
                <a:solidFill>
                  <a:prstClr val="black"/>
                </a:solidFill>
                <a:latin typeface="Calibri" panose="020F0502020204030204" pitchFamily="34" charset="0"/>
                <a:ea typeface="Verdana" panose="020B0604030504040204" pitchFamily="34" charset="0"/>
                <a:cs typeface="Calibri" panose="020F0502020204030204" pitchFamily="34" charset="0"/>
              </a:rPr>
              <a:t>Deloitte is the world’s largest leading professional services firm, providing audit and assurance, tax, consulting, financial advisory and risk advisory services to public and private clients spanning multiple industries. </a:t>
            </a:r>
          </a:p>
          <a:p>
            <a:pPr>
              <a:spcAft>
                <a:spcPts val="415"/>
              </a:spcAft>
              <a:defRPr/>
            </a:pPr>
            <a:r>
              <a:rPr lang="en-US" sz="1400" kern="0" dirty="0">
                <a:solidFill>
                  <a:prstClr val="black"/>
                </a:solidFill>
                <a:latin typeface="Calibri" panose="020F0502020204030204" pitchFamily="34" charset="0"/>
                <a:ea typeface="Verdana" panose="020B0604030504040204" pitchFamily="34" charset="0"/>
                <a:cs typeface="Calibri" panose="020F0502020204030204" pitchFamily="34" charset="0"/>
              </a:rPr>
              <a:t>Deloitte’s presence in the Middle East has contributed to the advancements and growth of the professional services industry in the region. </a:t>
            </a:r>
          </a:p>
          <a:p>
            <a:pPr>
              <a:spcAft>
                <a:spcPts val="415"/>
              </a:spcAft>
              <a:defRPr/>
            </a:pPr>
            <a:endParaRPr lang="en-US" sz="1400" kern="0" dirty="0">
              <a:solidFill>
                <a:prstClr val="black"/>
              </a:solidFill>
              <a:latin typeface="Calibri" panose="020F0502020204030204" pitchFamily="34" charset="0"/>
              <a:ea typeface="Verdana" panose="020B0604030504040204" pitchFamily="34" charset="0"/>
              <a:cs typeface="Calibri" panose="020F0502020204030204" pitchFamily="34" charset="0"/>
            </a:endParaRPr>
          </a:p>
          <a:p>
            <a:pPr>
              <a:spcAft>
                <a:spcPts val="415"/>
              </a:spcAft>
              <a:defRPr/>
            </a:pPr>
            <a:r>
              <a:rPr lang="en-US" sz="1400" kern="0" dirty="0">
                <a:solidFill>
                  <a:prstClr val="black"/>
                </a:solidFill>
                <a:latin typeface="Calibri" panose="020F0502020204030204" pitchFamily="34" charset="0"/>
                <a:ea typeface="Verdana" panose="020B0604030504040204" pitchFamily="34" charset="0"/>
                <a:cs typeface="Calibri" panose="020F0502020204030204" pitchFamily="34" charset="0"/>
              </a:rPr>
              <a:t>Deloitte clients are able to benefit from experts that are well-aware of the environment, culture, and specific industry that they are operating in. </a:t>
            </a:r>
            <a:endParaRPr lang="en-US" sz="1200" kern="0" dirty="0">
              <a:solidFill>
                <a:prstClr val="black"/>
              </a:solidFill>
              <a:latin typeface="Calibri" panose="020F0502020204030204" pitchFamily="34" charset="0"/>
              <a:ea typeface="Verdana" panose="020B0604030504040204" pitchFamily="34" charset="0"/>
              <a:cs typeface="Calibri" panose="020F0502020204030204" pitchFamily="34" charset="0"/>
            </a:endParaRPr>
          </a:p>
          <a:p>
            <a:pPr>
              <a:spcAft>
                <a:spcPts val="415"/>
              </a:spcAft>
              <a:defRPr/>
            </a:pPr>
            <a:r>
              <a:rPr lang="en-US" sz="1400" kern="0" dirty="0">
                <a:solidFill>
                  <a:prstClr val="black"/>
                </a:solidFill>
                <a:latin typeface="Calibri" panose="020F0502020204030204" pitchFamily="34" charset="0"/>
                <a:ea typeface="Verdana" panose="020B0604030504040204" pitchFamily="34" charset="0"/>
                <a:cs typeface="Calibri" panose="020F0502020204030204" pitchFamily="34" charset="0"/>
              </a:rPr>
              <a:t>Deloitte's professionals are dedicated to strengthening corporate responsibility, building public trust, and making a positive impact in their communities. </a:t>
            </a:r>
          </a:p>
        </p:txBody>
      </p:sp>
      <p:grpSp>
        <p:nvGrpSpPr>
          <p:cNvPr id="12" name="Group 11">
            <a:extLst>
              <a:ext uri="{FF2B5EF4-FFF2-40B4-BE49-F238E27FC236}">
                <a16:creationId xmlns:a16="http://schemas.microsoft.com/office/drawing/2014/main" id="{1F2FB98E-293F-435E-B3CB-3EAA0CB4E44C}"/>
              </a:ext>
            </a:extLst>
          </p:cNvPr>
          <p:cNvGrpSpPr/>
          <p:nvPr/>
        </p:nvGrpSpPr>
        <p:grpSpPr>
          <a:xfrm>
            <a:off x="4974122" y="1661551"/>
            <a:ext cx="5884016" cy="3368726"/>
            <a:chOff x="4479086" y="1444458"/>
            <a:chExt cx="6701602" cy="3836812"/>
          </a:xfrm>
        </p:grpSpPr>
        <p:pic>
          <p:nvPicPr>
            <p:cNvPr id="13" name="Picture 12">
              <a:extLst>
                <a:ext uri="{FF2B5EF4-FFF2-40B4-BE49-F238E27FC236}">
                  <a16:creationId xmlns:a16="http://schemas.microsoft.com/office/drawing/2014/main" id="{CF18C913-E12C-4BF6-A764-6162E6264E5A}"/>
                </a:ext>
              </a:extLst>
            </p:cNvPr>
            <p:cNvPicPr>
              <a:picLocks noChangeAspect="1"/>
            </p:cNvPicPr>
            <p:nvPr/>
          </p:nvPicPr>
          <p:blipFill rotWithShape="1">
            <a:blip r:embed="rId3" cstate="email">
              <a:duotone>
                <a:srgbClr val="86BC25">
                  <a:shade val="45000"/>
                  <a:satMod val="135000"/>
                </a:srgbClr>
                <a:prstClr val="white"/>
              </a:duotone>
              <a:extLst>
                <a:ext uri="{28A0092B-C50C-407E-A947-70E740481C1C}">
                  <a14:useLocalDpi xmlns:a14="http://schemas.microsoft.com/office/drawing/2010/main"/>
                </a:ext>
              </a:extLst>
            </a:blip>
            <a:srcRect/>
            <a:stretch/>
          </p:blipFill>
          <p:spPr>
            <a:xfrm flipH="1">
              <a:off x="6500913" y="1444458"/>
              <a:ext cx="4235821" cy="3125682"/>
            </a:xfrm>
            <a:prstGeom prst="rect">
              <a:avLst/>
            </a:prstGeom>
          </p:spPr>
        </p:pic>
        <p:sp>
          <p:nvSpPr>
            <p:cNvPr id="14" name="Rectangle 13">
              <a:extLst>
                <a:ext uri="{FF2B5EF4-FFF2-40B4-BE49-F238E27FC236}">
                  <a16:creationId xmlns:a16="http://schemas.microsoft.com/office/drawing/2014/main" id="{9A42471C-B644-4ACC-AA5C-C08B8326018A}"/>
                </a:ext>
              </a:extLst>
            </p:cNvPr>
            <p:cNvSpPr/>
            <p:nvPr/>
          </p:nvSpPr>
          <p:spPr>
            <a:xfrm>
              <a:off x="4479086" y="1770883"/>
              <a:ext cx="2516221" cy="666030"/>
            </a:xfrm>
            <a:prstGeom prst="rect">
              <a:avLst/>
            </a:prstGeom>
          </p:spPr>
          <p:txBody>
            <a:bodyPr wrap="square">
              <a:spAutoFit/>
            </a:bodyPr>
            <a:lstStyle/>
            <a:p>
              <a:pPr marL="0" marR="0" lvl="0" indent="0" algn="ctr" defTabSz="843247" eaLnBrk="1" fontAlgn="auto" latinLnBrk="0" hangingPunct="1">
                <a:lnSpc>
                  <a:spcPct val="100000"/>
                </a:lnSpc>
                <a:spcBef>
                  <a:spcPts val="0"/>
                </a:spcBef>
                <a:spcAft>
                  <a:spcPct val="0"/>
                </a:spcAft>
                <a:buClrTx/>
                <a:buSzTx/>
                <a:buFontTx/>
                <a:buNone/>
                <a:tabLst/>
                <a:defRPr/>
              </a:pPr>
              <a:r>
                <a:rPr kumimoji="0" lang="en-US" alt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5,900 +</a:t>
              </a:r>
            </a:p>
            <a:p>
              <a:pPr marL="0" marR="0" lvl="0" indent="0" algn="ctr"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Professionals</a:t>
              </a:r>
            </a:p>
          </p:txBody>
        </p:sp>
        <p:sp>
          <p:nvSpPr>
            <p:cNvPr id="15" name="Rectangle 14">
              <a:extLst>
                <a:ext uri="{FF2B5EF4-FFF2-40B4-BE49-F238E27FC236}">
                  <a16:creationId xmlns:a16="http://schemas.microsoft.com/office/drawing/2014/main" id="{EB0BECED-48E7-45C0-9982-7A9AC63EBE1F}"/>
                </a:ext>
              </a:extLst>
            </p:cNvPr>
            <p:cNvSpPr/>
            <p:nvPr/>
          </p:nvSpPr>
          <p:spPr>
            <a:xfrm>
              <a:off x="6007764" y="2777535"/>
              <a:ext cx="1348902" cy="666030"/>
            </a:xfrm>
            <a:prstGeom prst="rect">
              <a:avLst/>
            </a:prstGeom>
          </p:spPr>
          <p:txBody>
            <a:bodyPr wrap="square">
              <a:spAutoFit/>
            </a:bodyPr>
            <a:lstStyle/>
            <a:p>
              <a:pPr marL="0" marR="0" lvl="0" indent="0" algn="ctr"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 39%</a:t>
              </a:r>
            </a:p>
            <a:p>
              <a:pPr marL="0" marR="0" lvl="0" indent="0" algn="ctr"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Women</a:t>
              </a:r>
            </a:p>
          </p:txBody>
        </p:sp>
        <p:sp>
          <p:nvSpPr>
            <p:cNvPr id="16" name="Rectangle 15">
              <a:extLst>
                <a:ext uri="{FF2B5EF4-FFF2-40B4-BE49-F238E27FC236}">
                  <a16:creationId xmlns:a16="http://schemas.microsoft.com/office/drawing/2014/main" id="{9DF61C71-857E-4D52-8921-047E17A75271}"/>
                </a:ext>
              </a:extLst>
            </p:cNvPr>
            <p:cNvSpPr/>
            <p:nvPr/>
          </p:nvSpPr>
          <p:spPr>
            <a:xfrm>
              <a:off x="7050945" y="3375177"/>
              <a:ext cx="2019374" cy="666030"/>
            </a:xfrm>
            <a:prstGeom prst="rect">
              <a:avLst/>
            </a:prstGeom>
          </p:spPr>
          <p:txBody>
            <a:bodyPr wrap="square">
              <a:spAutoFit/>
            </a:bodyPr>
            <a:lstStyle/>
            <a:p>
              <a:pPr marL="0" marR="0" lvl="0" indent="0" algn="ctr"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105 </a:t>
              </a:r>
            </a:p>
            <a:p>
              <a:pPr marL="0" marR="0" lvl="0" indent="0" algn="ctr"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Nationalities</a:t>
              </a:r>
            </a:p>
          </p:txBody>
        </p:sp>
        <p:sp>
          <p:nvSpPr>
            <p:cNvPr id="17" name="Rectangle 16">
              <a:extLst>
                <a:ext uri="{FF2B5EF4-FFF2-40B4-BE49-F238E27FC236}">
                  <a16:creationId xmlns:a16="http://schemas.microsoft.com/office/drawing/2014/main" id="{C871E37B-B8DC-4036-B063-435FF74BAFDA}"/>
                </a:ext>
              </a:extLst>
            </p:cNvPr>
            <p:cNvSpPr/>
            <p:nvPr/>
          </p:nvSpPr>
          <p:spPr>
            <a:xfrm>
              <a:off x="8091746" y="4083399"/>
              <a:ext cx="2341123" cy="666030"/>
            </a:xfrm>
            <a:prstGeom prst="rect">
              <a:avLst/>
            </a:prstGeom>
          </p:spPr>
          <p:txBody>
            <a:bodyPr wrap="square">
              <a:spAutoFit/>
            </a:bodyPr>
            <a:lstStyle/>
            <a:p>
              <a:pPr marL="0" marR="0" lvl="0" indent="0" algn="ctr" defTabSz="843247" eaLnBrk="1" fontAlgn="auto" latinLnBrk="0" hangingPunct="1">
                <a:lnSpc>
                  <a:spcPct val="100000"/>
                </a:lnSpc>
                <a:spcBef>
                  <a:spcPts val="0"/>
                </a:spcBef>
                <a:spcAft>
                  <a:spcPct val="0"/>
                </a:spcAft>
                <a:buClrTx/>
                <a:buSzTx/>
                <a:buFontTx/>
                <a:buNone/>
                <a:tabLst/>
                <a:defRPr/>
              </a:pPr>
              <a:r>
                <a:rPr kumimoji="0" 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15</a:t>
              </a:r>
            </a:p>
            <a:p>
              <a:pPr marL="0" marR="0" lvl="0" indent="0" algn="ctr"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Countries</a:t>
              </a:r>
            </a:p>
          </p:txBody>
        </p:sp>
        <p:sp>
          <p:nvSpPr>
            <p:cNvPr id="18" name="Rectangle 17">
              <a:extLst>
                <a:ext uri="{FF2B5EF4-FFF2-40B4-BE49-F238E27FC236}">
                  <a16:creationId xmlns:a16="http://schemas.microsoft.com/office/drawing/2014/main" id="{F079FE3B-1C8D-4DDB-ADC4-3D6B659158C9}"/>
                </a:ext>
              </a:extLst>
            </p:cNvPr>
            <p:cNvSpPr/>
            <p:nvPr/>
          </p:nvSpPr>
          <p:spPr>
            <a:xfrm>
              <a:off x="10026339" y="4615240"/>
              <a:ext cx="1154349" cy="666030"/>
            </a:xfrm>
            <a:prstGeom prst="rect">
              <a:avLst/>
            </a:prstGeom>
          </p:spPr>
          <p:txBody>
            <a:bodyPr wrap="square">
              <a:spAutoFit/>
            </a:bodyPr>
            <a:lstStyle/>
            <a:p>
              <a:pPr marL="0" marR="0" lvl="0" indent="0" algn="ctr"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29 </a:t>
              </a:r>
            </a:p>
            <a:p>
              <a:pPr marL="0" marR="0" lvl="0" indent="0" algn="ctr" defTabSz="84324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Offices</a:t>
              </a:r>
            </a:p>
          </p:txBody>
        </p:sp>
      </p:grpSp>
      <p:sp>
        <p:nvSpPr>
          <p:cNvPr id="19" name="Rectangle 18">
            <a:extLst>
              <a:ext uri="{FF2B5EF4-FFF2-40B4-BE49-F238E27FC236}">
                <a16:creationId xmlns:a16="http://schemas.microsoft.com/office/drawing/2014/main" id="{DC0D688C-C432-4CB2-933D-AE7759F5671B}"/>
              </a:ext>
            </a:extLst>
          </p:cNvPr>
          <p:cNvSpPr/>
          <p:nvPr/>
        </p:nvSpPr>
        <p:spPr>
          <a:xfrm>
            <a:off x="419100" y="1456647"/>
            <a:ext cx="10185400" cy="338554"/>
          </a:xfrm>
          <a:prstGeom prst="rect">
            <a:avLst/>
          </a:prstGeom>
        </p:spPr>
        <p:txBody>
          <a:bodyPr wrap="square">
            <a:spAutoFit/>
          </a:bodyPr>
          <a:lstStyle/>
          <a:p>
            <a:pPr defTabSz="1219170">
              <a:defRPr/>
            </a:pPr>
            <a:r>
              <a:rPr lang="en-US" sz="1600" b="1" dirty="0">
                <a:solidFill>
                  <a:prstClr val="black"/>
                </a:solidFill>
                <a:latin typeface="Calibri" panose="020F0502020204030204" pitchFamily="34" charset="0"/>
                <a:cs typeface="Calibri" panose="020F0502020204030204" pitchFamily="34" charset="0"/>
              </a:rPr>
              <a:t>We have served as trusted advisors for clients for the past 96 years</a:t>
            </a:r>
          </a:p>
        </p:txBody>
      </p:sp>
    </p:spTree>
    <p:extLst>
      <p:ext uri="{BB962C8B-B14F-4D97-AF65-F5344CB8AC3E}">
        <p14:creationId xmlns:p14="http://schemas.microsoft.com/office/powerpoint/2010/main" val="2911659311"/>
      </p:ext>
    </p:extLst>
  </p:cSld>
  <p:clrMapOvr>
    <a:masterClrMapping/>
  </p:clrMapOvr>
  <p:transition spd="med">
    <p:pull/>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5" name="Title 2">
            <a:extLst>
              <a:ext uri="{FF2B5EF4-FFF2-40B4-BE49-F238E27FC236}">
                <a16:creationId xmlns:a16="http://schemas.microsoft.com/office/drawing/2014/main" id="{3FC483F3-9949-4FA7-ACB2-1A8ED437ECB3}"/>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8" name="Text Placeholder 1">
            <a:extLst>
              <a:ext uri="{FF2B5EF4-FFF2-40B4-BE49-F238E27FC236}">
                <a16:creationId xmlns:a16="http://schemas.microsoft.com/office/drawing/2014/main" id="{A70CACD6-A826-44B8-A1B1-B57B530EBE45}"/>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Our Middle East Presence</a:t>
            </a:r>
          </a:p>
        </p:txBody>
      </p:sp>
      <p:sp>
        <p:nvSpPr>
          <p:cNvPr id="9" name="Rectangle 8">
            <a:extLst>
              <a:ext uri="{FF2B5EF4-FFF2-40B4-BE49-F238E27FC236}">
                <a16:creationId xmlns:a16="http://schemas.microsoft.com/office/drawing/2014/main" id="{78671D6B-8A5D-4D4F-8124-65F9D25B55CF}"/>
              </a:ext>
            </a:extLst>
          </p:cNvPr>
          <p:cNvSpPr/>
          <p:nvPr/>
        </p:nvSpPr>
        <p:spPr>
          <a:xfrm>
            <a:off x="419100" y="1493223"/>
            <a:ext cx="10185400" cy="338554"/>
          </a:xfrm>
          <a:prstGeom prst="rect">
            <a:avLst/>
          </a:prstGeom>
        </p:spPr>
        <p:txBody>
          <a:bodyPr wrap="square">
            <a:spAutoFit/>
          </a:bodyPr>
          <a:lstStyle/>
          <a:p>
            <a:pPr defTabSz="1219170">
              <a:defRPr/>
            </a:pPr>
            <a:r>
              <a:rPr lang="en-US" sz="1600" b="1" dirty="0">
                <a:solidFill>
                  <a:prstClr val="black"/>
                </a:solidFill>
                <a:latin typeface="Calibri" panose="020F0502020204030204" pitchFamily="34" charset="0"/>
                <a:cs typeface="Calibri" panose="020F0502020204030204" pitchFamily="34" charset="0"/>
              </a:rPr>
              <a:t>Our 5,900 + professionals serve the Levant region and the wider GCC across 15 countries</a:t>
            </a:r>
          </a:p>
        </p:txBody>
      </p:sp>
      <p:grpSp>
        <p:nvGrpSpPr>
          <p:cNvPr id="11" name="Group 10">
            <a:extLst>
              <a:ext uri="{FF2B5EF4-FFF2-40B4-BE49-F238E27FC236}">
                <a16:creationId xmlns:a16="http://schemas.microsoft.com/office/drawing/2014/main" id="{AF68C013-824E-4079-AB52-2B92F7C9C4C3}"/>
              </a:ext>
            </a:extLst>
          </p:cNvPr>
          <p:cNvGrpSpPr/>
          <p:nvPr/>
        </p:nvGrpSpPr>
        <p:grpSpPr>
          <a:xfrm>
            <a:off x="1489852" y="1784928"/>
            <a:ext cx="9212296" cy="4802502"/>
            <a:chOff x="1020766" y="1245217"/>
            <a:chExt cx="10784301" cy="5622010"/>
          </a:xfrm>
        </p:grpSpPr>
        <p:sp>
          <p:nvSpPr>
            <p:cNvPr id="12" name="Freeform 408">
              <a:extLst>
                <a:ext uri="{FF2B5EF4-FFF2-40B4-BE49-F238E27FC236}">
                  <a16:creationId xmlns:a16="http://schemas.microsoft.com/office/drawing/2014/main" id="{855FB314-E975-4085-A86E-9F9CD2C1CF4C}"/>
                </a:ext>
              </a:extLst>
            </p:cNvPr>
            <p:cNvSpPr>
              <a:spLocks/>
            </p:cNvSpPr>
            <p:nvPr/>
          </p:nvSpPr>
          <p:spPr bwMode="auto">
            <a:xfrm>
              <a:off x="2126092" y="3214589"/>
              <a:ext cx="1882732" cy="1573425"/>
            </a:xfrm>
            <a:custGeom>
              <a:avLst/>
              <a:gdLst>
                <a:gd name="T0" fmla="*/ 268 w 268"/>
                <a:gd name="T1" fmla="*/ 27 h 240"/>
                <a:gd name="T2" fmla="*/ 250 w 268"/>
                <a:gd name="T3" fmla="*/ 21 h 240"/>
                <a:gd name="T4" fmla="*/ 242 w 268"/>
                <a:gd name="T5" fmla="*/ 20 h 240"/>
                <a:gd name="T6" fmla="*/ 232 w 268"/>
                <a:gd name="T7" fmla="*/ 17 h 240"/>
                <a:gd name="T8" fmla="*/ 229 w 268"/>
                <a:gd name="T9" fmla="*/ 13 h 240"/>
                <a:gd name="T10" fmla="*/ 221 w 268"/>
                <a:gd name="T11" fmla="*/ 4 h 240"/>
                <a:gd name="T12" fmla="*/ 216 w 268"/>
                <a:gd name="T13" fmla="*/ 3 h 240"/>
                <a:gd name="T14" fmla="*/ 202 w 268"/>
                <a:gd name="T15" fmla="*/ 7 h 240"/>
                <a:gd name="T16" fmla="*/ 187 w 268"/>
                <a:gd name="T17" fmla="*/ 13 h 240"/>
                <a:gd name="T18" fmla="*/ 183 w 268"/>
                <a:gd name="T19" fmla="*/ 14 h 240"/>
                <a:gd name="T20" fmla="*/ 179 w 268"/>
                <a:gd name="T21" fmla="*/ 20 h 240"/>
                <a:gd name="T22" fmla="*/ 180 w 268"/>
                <a:gd name="T23" fmla="*/ 26 h 240"/>
                <a:gd name="T24" fmla="*/ 180 w 268"/>
                <a:gd name="T25" fmla="*/ 40 h 240"/>
                <a:gd name="T26" fmla="*/ 174 w 268"/>
                <a:gd name="T27" fmla="*/ 50 h 240"/>
                <a:gd name="T28" fmla="*/ 168 w 268"/>
                <a:gd name="T29" fmla="*/ 53 h 240"/>
                <a:gd name="T30" fmla="*/ 157 w 268"/>
                <a:gd name="T31" fmla="*/ 50 h 240"/>
                <a:gd name="T32" fmla="*/ 150 w 268"/>
                <a:gd name="T33" fmla="*/ 46 h 240"/>
                <a:gd name="T34" fmla="*/ 129 w 268"/>
                <a:gd name="T35" fmla="*/ 36 h 240"/>
                <a:gd name="T36" fmla="*/ 124 w 268"/>
                <a:gd name="T37" fmla="*/ 36 h 240"/>
                <a:gd name="T38" fmla="*/ 112 w 268"/>
                <a:gd name="T39" fmla="*/ 30 h 240"/>
                <a:gd name="T40" fmla="*/ 106 w 268"/>
                <a:gd name="T41" fmla="*/ 23 h 240"/>
                <a:gd name="T42" fmla="*/ 105 w 268"/>
                <a:gd name="T43" fmla="*/ 14 h 240"/>
                <a:gd name="T44" fmla="*/ 97 w 268"/>
                <a:gd name="T45" fmla="*/ 11 h 240"/>
                <a:gd name="T46" fmla="*/ 93 w 268"/>
                <a:gd name="T47" fmla="*/ 10 h 240"/>
                <a:gd name="T48" fmla="*/ 83 w 268"/>
                <a:gd name="T49" fmla="*/ 5 h 240"/>
                <a:gd name="T50" fmla="*/ 77 w 268"/>
                <a:gd name="T51" fmla="*/ 4 h 240"/>
                <a:gd name="T52" fmla="*/ 70 w 268"/>
                <a:gd name="T53" fmla="*/ 4 h 240"/>
                <a:gd name="T54" fmla="*/ 55 w 268"/>
                <a:gd name="T55" fmla="*/ 1 h 240"/>
                <a:gd name="T56" fmla="*/ 53 w 268"/>
                <a:gd name="T57" fmla="*/ 0 h 240"/>
                <a:gd name="T58" fmla="*/ 50 w 268"/>
                <a:gd name="T59" fmla="*/ 5 h 240"/>
                <a:gd name="T60" fmla="*/ 44 w 268"/>
                <a:gd name="T61" fmla="*/ 16 h 240"/>
                <a:gd name="T62" fmla="*/ 40 w 268"/>
                <a:gd name="T63" fmla="*/ 17 h 240"/>
                <a:gd name="T64" fmla="*/ 31 w 268"/>
                <a:gd name="T65" fmla="*/ 26 h 240"/>
                <a:gd name="T66" fmla="*/ 25 w 268"/>
                <a:gd name="T67" fmla="*/ 37 h 240"/>
                <a:gd name="T68" fmla="*/ 15 w 268"/>
                <a:gd name="T69" fmla="*/ 46 h 240"/>
                <a:gd name="T70" fmla="*/ 2 w 268"/>
                <a:gd name="T71" fmla="*/ 52 h 240"/>
                <a:gd name="T72" fmla="*/ 0 w 268"/>
                <a:gd name="T73" fmla="*/ 56 h 240"/>
                <a:gd name="T74" fmla="*/ 9 w 268"/>
                <a:gd name="T75" fmla="*/ 65 h 240"/>
                <a:gd name="T76" fmla="*/ 13 w 268"/>
                <a:gd name="T77" fmla="*/ 71 h 240"/>
                <a:gd name="T78" fmla="*/ 13 w 268"/>
                <a:gd name="T79" fmla="*/ 81 h 240"/>
                <a:gd name="T80" fmla="*/ 11 w 268"/>
                <a:gd name="T81" fmla="*/ 88 h 240"/>
                <a:gd name="T82" fmla="*/ 12 w 268"/>
                <a:gd name="T83" fmla="*/ 98 h 240"/>
                <a:gd name="T84" fmla="*/ 16 w 268"/>
                <a:gd name="T85" fmla="*/ 108 h 240"/>
                <a:gd name="T86" fmla="*/ 16 w 268"/>
                <a:gd name="T87" fmla="*/ 114 h 240"/>
                <a:gd name="T88" fmla="*/ 12 w 268"/>
                <a:gd name="T89" fmla="*/ 134 h 240"/>
                <a:gd name="T90" fmla="*/ 12 w 268"/>
                <a:gd name="T91" fmla="*/ 140 h 240"/>
                <a:gd name="T92" fmla="*/ 18 w 268"/>
                <a:gd name="T93" fmla="*/ 147 h 240"/>
                <a:gd name="T94" fmla="*/ 25 w 268"/>
                <a:gd name="T95" fmla="*/ 155 h 240"/>
                <a:gd name="T96" fmla="*/ 74 w 268"/>
                <a:gd name="T97" fmla="*/ 188 h 240"/>
                <a:gd name="T98" fmla="*/ 248 w 268"/>
                <a:gd name="T99" fmla="*/ 240 h 240"/>
                <a:gd name="T100" fmla="*/ 248 w 268"/>
                <a:gd name="T101" fmla="*/ 233 h 240"/>
                <a:gd name="T102" fmla="*/ 268 w 268"/>
                <a:gd name="T103" fmla="*/ 2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8" h="240">
                  <a:moveTo>
                    <a:pt x="268" y="27"/>
                  </a:moveTo>
                  <a:lnTo>
                    <a:pt x="268" y="27"/>
                  </a:lnTo>
                  <a:lnTo>
                    <a:pt x="257" y="24"/>
                  </a:lnTo>
                  <a:lnTo>
                    <a:pt x="250" y="21"/>
                  </a:lnTo>
                  <a:lnTo>
                    <a:pt x="242" y="20"/>
                  </a:lnTo>
                  <a:lnTo>
                    <a:pt x="242" y="20"/>
                  </a:lnTo>
                  <a:lnTo>
                    <a:pt x="235" y="18"/>
                  </a:lnTo>
                  <a:lnTo>
                    <a:pt x="232" y="17"/>
                  </a:lnTo>
                  <a:lnTo>
                    <a:pt x="229" y="13"/>
                  </a:lnTo>
                  <a:lnTo>
                    <a:pt x="229" y="13"/>
                  </a:lnTo>
                  <a:lnTo>
                    <a:pt x="225" y="7"/>
                  </a:lnTo>
                  <a:lnTo>
                    <a:pt x="221" y="4"/>
                  </a:lnTo>
                  <a:lnTo>
                    <a:pt x="216" y="3"/>
                  </a:lnTo>
                  <a:lnTo>
                    <a:pt x="216" y="3"/>
                  </a:lnTo>
                  <a:lnTo>
                    <a:pt x="210" y="4"/>
                  </a:lnTo>
                  <a:lnTo>
                    <a:pt x="202" y="7"/>
                  </a:lnTo>
                  <a:lnTo>
                    <a:pt x="193" y="10"/>
                  </a:lnTo>
                  <a:lnTo>
                    <a:pt x="187" y="13"/>
                  </a:lnTo>
                  <a:lnTo>
                    <a:pt x="187" y="13"/>
                  </a:lnTo>
                  <a:lnTo>
                    <a:pt x="183" y="14"/>
                  </a:lnTo>
                  <a:lnTo>
                    <a:pt x="180" y="17"/>
                  </a:lnTo>
                  <a:lnTo>
                    <a:pt x="179" y="20"/>
                  </a:lnTo>
                  <a:lnTo>
                    <a:pt x="180" y="26"/>
                  </a:lnTo>
                  <a:lnTo>
                    <a:pt x="180" y="26"/>
                  </a:lnTo>
                  <a:lnTo>
                    <a:pt x="181" y="33"/>
                  </a:lnTo>
                  <a:lnTo>
                    <a:pt x="180" y="40"/>
                  </a:lnTo>
                  <a:lnTo>
                    <a:pt x="179" y="46"/>
                  </a:lnTo>
                  <a:lnTo>
                    <a:pt x="174" y="50"/>
                  </a:lnTo>
                  <a:lnTo>
                    <a:pt x="174" y="50"/>
                  </a:lnTo>
                  <a:lnTo>
                    <a:pt x="168" y="53"/>
                  </a:lnTo>
                  <a:lnTo>
                    <a:pt x="163" y="52"/>
                  </a:lnTo>
                  <a:lnTo>
                    <a:pt x="157" y="50"/>
                  </a:lnTo>
                  <a:lnTo>
                    <a:pt x="150" y="46"/>
                  </a:lnTo>
                  <a:lnTo>
                    <a:pt x="150" y="46"/>
                  </a:lnTo>
                  <a:lnTo>
                    <a:pt x="137" y="37"/>
                  </a:lnTo>
                  <a:lnTo>
                    <a:pt x="129" y="36"/>
                  </a:lnTo>
                  <a:lnTo>
                    <a:pt x="124" y="36"/>
                  </a:lnTo>
                  <a:lnTo>
                    <a:pt x="124" y="36"/>
                  </a:lnTo>
                  <a:lnTo>
                    <a:pt x="118" y="34"/>
                  </a:lnTo>
                  <a:lnTo>
                    <a:pt x="112" y="30"/>
                  </a:lnTo>
                  <a:lnTo>
                    <a:pt x="109" y="26"/>
                  </a:lnTo>
                  <a:lnTo>
                    <a:pt x="106" y="23"/>
                  </a:lnTo>
                  <a:lnTo>
                    <a:pt x="106" y="23"/>
                  </a:lnTo>
                  <a:lnTo>
                    <a:pt x="105" y="14"/>
                  </a:lnTo>
                  <a:lnTo>
                    <a:pt x="102" y="11"/>
                  </a:lnTo>
                  <a:lnTo>
                    <a:pt x="97" y="11"/>
                  </a:lnTo>
                  <a:lnTo>
                    <a:pt x="97" y="11"/>
                  </a:lnTo>
                  <a:lnTo>
                    <a:pt x="93" y="10"/>
                  </a:lnTo>
                  <a:lnTo>
                    <a:pt x="89" y="7"/>
                  </a:lnTo>
                  <a:lnTo>
                    <a:pt x="83" y="5"/>
                  </a:lnTo>
                  <a:lnTo>
                    <a:pt x="77" y="4"/>
                  </a:lnTo>
                  <a:lnTo>
                    <a:pt x="77" y="4"/>
                  </a:lnTo>
                  <a:lnTo>
                    <a:pt x="70" y="4"/>
                  </a:lnTo>
                  <a:lnTo>
                    <a:pt x="70" y="4"/>
                  </a:lnTo>
                  <a:lnTo>
                    <a:pt x="61" y="4"/>
                  </a:lnTo>
                  <a:lnTo>
                    <a:pt x="55" y="1"/>
                  </a:lnTo>
                  <a:lnTo>
                    <a:pt x="55" y="1"/>
                  </a:lnTo>
                  <a:lnTo>
                    <a:pt x="53" y="0"/>
                  </a:lnTo>
                  <a:lnTo>
                    <a:pt x="53" y="0"/>
                  </a:lnTo>
                  <a:lnTo>
                    <a:pt x="50" y="5"/>
                  </a:lnTo>
                  <a:lnTo>
                    <a:pt x="47" y="11"/>
                  </a:lnTo>
                  <a:lnTo>
                    <a:pt x="44" y="16"/>
                  </a:lnTo>
                  <a:lnTo>
                    <a:pt x="40" y="17"/>
                  </a:lnTo>
                  <a:lnTo>
                    <a:pt x="40" y="17"/>
                  </a:lnTo>
                  <a:lnTo>
                    <a:pt x="34" y="20"/>
                  </a:lnTo>
                  <a:lnTo>
                    <a:pt x="31" y="26"/>
                  </a:lnTo>
                  <a:lnTo>
                    <a:pt x="25" y="37"/>
                  </a:lnTo>
                  <a:lnTo>
                    <a:pt x="25" y="37"/>
                  </a:lnTo>
                  <a:lnTo>
                    <a:pt x="22" y="42"/>
                  </a:lnTo>
                  <a:lnTo>
                    <a:pt x="15" y="46"/>
                  </a:lnTo>
                  <a:lnTo>
                    <a:pt x="2" y="52"/>
                  </a:lnTo>
                  <a:lnTo>
                    <a:pt x="2" y="52"/>
                  </a:lnTo>
                  <a:lnTo>
                    <a:pt x="0" y="53"/>
                  </a:lnTo>
                  <a:lnTo>
                    <a:pt x="0" y="56"/>
                  </a:lnTo>
                  <a:lnTo>
                    <a:pt x="5" y="60"/>
                  </a:lnTo>
                  <a:lnTo>
                    <a:pt x="9" y="65"/>
                  </a:lnTo>
                  <a:lnTo>
                    <a:pt x="13" y="71"/>
                  </a:lnTo>
                  <a:lnTo>
                    <a:pt x="13" y="71"/>
                  </a:lnTo>
                  <a:lnTo>
                    <a:pt x="15" y="76"/>
                  </a:lnTo>
                  <a:lnTo>
                    <a:pt x="13" y="81"/>
                  </a:lnTo>
                  <a:lnTo>
                    <a:pt x="11" y="88"/>
                  </a:lnTo>
                  <a:lnTo>
                    <a:pt x="11" y="88"/>
                  </a:lnTo>
                  <a:lnTo>
                    <a:pt x="11" y="92"/>
                  </a:lnTo>
                  <a:lnTo>
                    <a:pt x="12" y="98"/>
                  </a:lnTo>
                  <a:lnTo>
                    <a:pt x="16" y="108"/>
                  </a:lnTo>
                  <a:lnTo>
                    <a:pt x="16" y="108"/>
                  </a:lnTo>
                  <a:lnTo>
                    <a:pt x="16" y="111"/>
                  </a:lnTo>
                  <a:lnTo>
                    <a:pt x="16" y="114"/>
                  </a:lnTo>
                  <a:lnTo>
                    <a:pt x="15" y="124"/>
                  </a:lnTo>
                  <a:lnTo>
                    <a:pt x="12" y="134"/>
                  </a:lnTo>
                  <a:lnTo>
                    <a:pt x="12" y="140"/>
                  </a:lnTo>
                  <a:lnTo>
                    <a:pt x="12" y="140"/>
                  </a:lnTo>
                  <a:lnTo>
                    <a:pt x="15" y="143"/>
                  </a:lnTo>
                  <a:lnTo>
                    <a:pt x="18" y="147"/>
                  </a:lnTo>
                  <a:lnTo>
                    <a:pt x="25" y="155"/>
                  </a:lnTo>
                  <a:lnTo>
                    <a:pt x="25" y="155"/>
                  </a:lnTo>
                  <a:lnTo>
                    <a:pt x="37" y="169"/>
                  </a:lnTo>
                  <a:lnTo>
                    <a:pt x="74" y="188"/>
                  </a:lnTo>
                  <a:lnTo>
                    <a:pt x="105" y="176"/>
                  </a:lnTo>
                  <a:lnTo>
                    <a:pt x="248" y="240"/>
                  </a:lnTo>
                  <a:lnTo>
                    <a:pt x="248" y="240"/>
                  </a:lnTo>
                  <a:lnTo>
                    <a:pt x="248" y="233"/>
                  </a:lnTo>
                  <a:lnTo>
                    <a:pt x="268" y="233"/>
                  </a:lnTo>
                  <a:lnTo>
                    <a:pt x="268" y="27"/>
                  </a:lnTo>
                  <a:close/>
                </a:path>
              </a:pathLst>
            </a:custGeom>
            <a:solidFill>
              <a:sysClr val="window" lastClr="FFFFFF">
                <a:lumMod val="95000"/>
              </a:sysClr>
            </a:solid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pic>
          <p:nvPicPr>
            <p:cNvPr id="13" name="Picture 12" descr="ba-lgflag.gif">
              <a:extLst>
                <a:ext uri="{FF2B5EF4-FFF2-40B4-BE49-F238E27FC236}">
                  <a16:creationId xmlns:a16="http://schemas.microsoft.com/office/drawing/2014/main" id="{330460D2-32AD-4BF0-B9CB-3D7D72EDE92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3516" t="5369" r="27178" b="-1"/>
            <a:stretch/>
          </p:blipFill>
          <p:spPr bwMode="gray">
            <a:xfrm>
              <a:off x="7751175" y="2900062"/>
              <a:ext cx="602086" cy="548640"/>
            </a:xfrm>
            <a:prstGeom prst="ellipse">
              <a:avLst/>
            </a:prstGeom>
            <a:ln>
              <a:solidFill>
                <a:sysClr val="window" lastClr="FFFFFF">
                  <a:lumMod val="95000"/>
                </a:sysClr>
              </a:solidFill>
            </a:ln>
            <a:effectLst/>
            <a:scene3d>
              <a:camera prst="orthographicFront">
                <a:rot lat="0" lon="0" rev="0"/>
              </a:camera>
              <a:lightRig rig="contrasting" dir="t">
                <a:rot lat="0" lon="0" rev="7800000"/>
              </a:lightRig>
            </a:scene3d>
            <a:sp3d>
              <a:bevelT w="139700" h="139700"/>
            </a:sp3d>
          </p:spPr>
        </p:pic>
        <p:pic>
          <p:nvPicPr>
            <p:cNvPr id="14" name="Picture 3" descr="Flag of Egypt">
              <a:extLst>
                <a:ext uri="{FF2B5EF4-FFF2-40B4-BE49-F238E27FC236}">
                  <a16:creationId xmlns:a16="http://schemas.microsoft.com/office/drawing/2014/main" id="{410FD643-1F99-4352-8457-560853E186C9}"/>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9629" t="7566" r="16600" b="-1"/>
            <a:stretch/>
          </p:blipFill>
          <p:spPr bwMode="gray">
            <a:xfrm>
              <a:off x="2561939" y="5124378"/>
              <a:ext cx="567772" cy="548640"/>
            </a:xfrm>
            <a:prstGeom prst="ellipse">
              <a:avLst/>
            </a:prstGeom>
            <a:ln>
              <a:noFill/>
            </a:ln>
            <a:effectLst/>
            <a:scene3d>
              <a:camera prst="orthographicFront">
                <a:rot lat="0" lon="0" rev="0"/>
              </a:camera>
              <a:lightRig rig="contrasting" dir="t">
                <a:rot lat="0" lon="0" rev="7800000"/>
              </a:lightRig>
            </a:scene3d>
            <a:sp3d>
              <a:bevelT w="139700" h="139700"/>
            </a:sp3d>
          </p:spPr>
        </p:pic>
        <p:pic>
          <p:nvPicPr>
            <p:cNvPr id="15" name="Picture 14" descr="jo-lgflag.gif">
              <a:extLst>
                <a:ext uri="{FF2B5EF4-FFF2-40B4-BE49-F238E27FC236}">
                  <a16:creationId xmlns:a16="http://schemas.microsoft.com/office/drawing/2014/main" id="{F8C31B35-C932-4D73-8741-29904B506CE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8141" t="1328" r="22142"/>
            <a:stretch/>
          </p:blipFill>
          <p:spPr bwMode="gray">
            <a:xfrm>
              <a:off x="1843959" y="2009885"/>
              <a:ext cx="582999" cy="550090"/>
            </a:xfrm>
            <a:prstGeom prst="ellipse">
              <a:avLst/>
            </a:prstGeom>
            <a:ln>
              <a:noFill/>
            </a:ln>
            <a:effectLst/>
            <a:scene3d>
              <a:camera prst="orthographicFront">
                <a:rot lat="0" lon="0" rev="0"/>
              </a:camera>
              <a:lightRig rig="contrasting" dir="t">
                <a:rot lat="0" lon="0" rev="7800000"/>
              </a:lightRig>
            </a:scene3d>
            <a:sp3d>
              <a:bevelT w="139700" h="139700"/>
            </a:sp3d>
          </p:spPr>
        </p:pic>
        <p:pic>
          <p:nvPicPr>
            <p:cNvPr id="16" name="Picture 15" descr="ku-lgflag.gif">
              <a:extLst>
                <a:ext uri="{FF2B5EF4-FFF2-40B4-BE49-F238E27FC236}">
                  <a16:creationId xmlns:a16="http://schemas.microsoft.com/office/drawing/2014/main" id="{A5E7BB2D-CBC5-445C-9A0D-97F616B1BE8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9515" t="11798" r="37673" b="12353"/>
            <a:stretch/>
          </p:blipFill>
          <p:spPr bwMode="gray">
            <a:xfrm>
              <a:off x="7363754" y="1840608"/>
              <a:ext cx="573023" cy="548640"/>
            </a:xfrm>
            <a:prstGeom prst="ellipse">
              <a:avLst/>
            </a:prstGeom>
            <a:ln>
              <a:noFill/>
            </a:ln>
            <a:effectLst/>
            <a:scene3d>
              <a:camera prst="orthographicFront">
                <a:rot lat="0" lon="0" rev="0"/>
              </a:camera>
              <a:lightRig rig="contrasting" dir="t">
                <a:rot lat="0" lon="0" rev="7800000"/>
              </a:lightRig>
            </a:scene3d>
            <a:sp3d>
              <a:bevelT w="139700" h="139700"/>
            </a:sp3d>
          </p:spPr>
        </p:pic>
        <p:pic>
          <p:nvPicPr>
            <p:cNvPr id="17" name="Picture 16" descr="le-lgflag.gif">
              <a:extLst>
                <a:ext uri="{FF2B5EF4-FFF2-40B4-BE49-F238E27FC236}">
                  <a16:creationId xmlns:a16="http://schemas.microsoft.com/office/drawing/2014/main" id="{F719540F-860E-40E6-8927-6C11FC60331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9618" t="2169" r="16940" b="4695"/>
            <a:stretch/>
          </p:blipFill>
          <p:spPr bwMode="gray">
            <a:xfrm>
              <a:off x="4549229" y="1605290"/>
              <a:ext cx="572895" cy="560706"/>
            </a:xfrm>
            <a:prstGeom prst="ellipse">
              <a:avLst/>
            </a:prstGeom>
            <a:ln>
              <a:noFill/>
            </a:ln>
            <a:effectLst/>
            <a:scene3d>
              <a:camera prst="orthographicFront">
                <a:rot lat="0" lon="0" rev="0"/>
              </a:camera>
              <a:lightRig rig="contrasting" dir="t">
                <a:rot lat="0" lon="0" rev="7800000"/>
              </a:lightRig>
            </a:scene3d>
            <a:sp3d>
              <a:bevelT w="139700" h="139700"/>
            </a:sp3d>
          </p:spPr>
        </p:pic>
        <p:pic>
          <p:nvPicPr>
            <p:cNvPr id="18" name="Picture 17" descr="mu-lgflag.gif">
              <a:extLst>
                <a:ext uri="{FF2B5EF4-FFF2-40B4-BE49-F238E27FC236}">
                  <a16:creationId xmlns:a16="http://schemas.microsoft.com/office/drawing/2014/main" id="{EB5D8D98-273D-4F55-99ED-27867CC4845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4699" t="-2125" r="27217" b="5488"/>
            <a:stretch/>
          </p:blipFill>
          <p:spPr bwMode="gray">
            <a:xfrm>
              <a:off x="9131618" y="4380747"/>
              <a:ext cx="579802" cy="548640"/>
            </a:xfrm>
            <a:prstGeom prst="ellipse">
              <a:avLst/>
            </a:prstGeom>
            <a:ln>
              <a:noFill/>
            </a:ln>
            <a:effectLst/>
            <a:scene3d>
              <a:camera prst="orthographicFront">
                <a:rot lat="0" lon="0" rev="0"/>
              </a:camera>
              <a:lightRig rig="contrasting" dir="t">
                <a:rot lat="0" lon="0" rev="7800000"/>
              </a:lightRig>
            </a:scene3d>
            <a:sp3d>
              <a:bevelT w="139700" h="139700"/>
            </a:sp3d>
          </p:spPr>
        </p:pic>
        <p:pic>
          <p:nvPicPr>
            <p:cNvPr id="19" name="Picture 18" descr="qa-lgflag.gif">
              <a:extLst>
                <a:ext uri="{FF2B5EF4-FFF2-40B4-BE49-F238E27FC236}">
                  <a16:creationId xmlns:a16="http://schemas.microsoft.com/office/drawing/2014/main" id="{5C1F2385-8171-4156-83FD-D1C1F8AB1382}"/>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17147" t="33209" r="36648"/>
            <a:stretch/>
          </p:blipFill>
          <p:spPr bwMode="gray">
            <a:xfrm>
              <a:off x="8668946" y="2569996"/>
              <a:ext cx="569299" cy="548640"/>
            </a:xfrm>
            <a:prstGeom prst="ellipse">
              <a:avLst/>
            </a:prstGeom>
            <a:ln>
              <a:solidFill>
                <a:sysClr val="window" lastClr="FFFFFF">
                  <a:lumMod val="95000"/>
                </a:sysClr>
              </a:solidFill>
            </a:ln>
            <a:effectLst/>
            <a:scene3d>
              <a:camera prst="orthographicFront">
                <a:rot lat="0" lon="0" rev="0"/>
              </a:camera>
              <a:lightRig rig="contrasting" dir="t">
                <a:rot lat="0" lon="0" rev="7800000"/>
              </a:lightRig>
            </a:scene3d>
            <a:sp3d>
              <a:bevelT w="139700" h="139700"/>
            </a:sp3d>
          </p:spPr>
        </p:pic>
        <p:pic>
          <p:nvPicPr>
            <p:cNvPr id="20" name="Picture 19" descr="sa-lgflag.gif">
              <a:extLst>
                <a:ext uri="{FF2B5EF4-FFF2-40B4-BE49-F238E27FC236}">
                  <a16:creationId xmlns:a16="http://schemas.microsoft.com/office/drawing/2014/main" id="{38405CB7-0559-4D6D-A4CA-8145FFE13C35}"/>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14908" t="9377" r="15007" b="13318"/>
            <a:stretch/>
          </p:blipFill>
          <p:spPr bwMode="gray">
            <a:xfrm>
              <a:off x="4321937" y="4877979"/>
              <a:ext cx="600322" cy="548640"/>
            </a:xfrm>
            <a:prstGeom prst="ellipse">
              <a:avLst/>
            </a:prstGeom>
            <a:ln>
              <a:noFill/>
            </a:ln>
            <a:effectLst/>
            <a:scene3d>
              <a:camera prst="orthographicFront">
                <a:rot lat="0" lon="0" rev="0"/>
              </a:camera>
              <a:lightRig rig="contrasting" dir="t">
                <a:rot lat="0" lon="0" rev="7800000"/>
              </a:lightRig>
            </a:scene3d>
            <a:sp3d>
              <a:bevelT w="139700" h="139700"/>
            </a:sp3d>
          </p:spPr>
        </p:pic>
        <p:pic>
          <p:nvPicPr>
            <p:cNvPr id="21" name="Picture 20">
              <a:extLst>
                <a:ext uri="{FF2B5EF4-FFF2-40B4-BE49-F238E27FC236}">
                  <a16:creationId xmlns:a16="http://schemas.microsoft.com/office/drawing/2014/main" id="{303188F1-87CA-4A2C-8063-9FC121496F91}"/>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9564543" y="2535765"/>
              <a:ext cx="731521" cy="548640"/>
            </a:xfrm>
            <a:prstGeom prst="ellipse">
              <a:avLst/>
            </a:prstGeom>
            <a:ln>
              <a:noFill/>
            </a:ln>
            <a:effectLst/>
            <a:scene3d>
              <a:camera prst="orthographicFront">
                <a:rot lat="0" lon="0" rev="0"/>
              </a:camera>
              <a:lightRig rig="contrasting" dir="t">
                <a:rot lat="0" lon="0" rev="7800000"/>
              </a:lightRig>
            </a:scene3d>
            <a:sp3d>
              <a:bevelT w="139700" h="139700"/>
            </a:sp3d>
          </p:spPr>
        </p:pic>
        <p:grpSp>
          <p:nvGrpSpPr>
            <p:cNvPr id="22" name="Group 21">
              <a:extLst>
                <a:ext uri="{FF2B5EF4-FFF2-40B4-BE49-F238E27FC236}">
                  <a16:creationId xmlns:a16="http://schemas.microsoft.com/office/drawing/2014/main" id="{17D4C3B1-D8A0-4178-9264-1676F3C6111C}"/>
                </a:ext>
              </a:extLst>
            </p:cNvPr>
            <p:cNvGrpSpPr/>
            <p:nvPr/>
          </p:nvGrpSpPr>
          <p:grpSpPr>
            <a:xfrm>
              <a:off x="3973108" y="2574987"/>
              <a:ext cx="4881627" cy="3505569"/>
              <a:chOff x="1548567" y="2882132"/>
              <a:chExt cx="3897807" cy="2799074"/>
            </a:xfrm>
            <a:solidFill>
              <a:sysClr val="window" lastClr="FFFFFF">
                <a:lumMod val="95000"/>
              </a:sysClr>
            </a:solidFill>
          </p:grpSpPr>
          <p:sp>
            <p:nvSpPr>
              <p:cNvPr id="49" name="Freeform 7">
                <a:extLst>
                  <a:ext uri="{FF2B5EF4-FFF2-40B4-BE49-F238E27FC236}">
                    <a16:creationId xmlns:a16="http://schemas.microsoft.com/office/drawing/2014/main" id="{CF6CBDE9-E087-486C-B47E-962E110BF227}"/>
                  </a:ext>
                </a:extLst>
              </p:cNvPr>
              <p:cNvSpPr>
                <a:spLocks/>
              </p:cNvSpPr>
              <p:nvPr/>
            </p:nvSpPr>
            <p:spPr bwMode="gray">
              <a:xfrm>
                <a:off x="3111173" y="2882132"/>
                <a:ext cx="1082900" cy="926165"/>
              </a:xfrm>
              <a:custGeom>
                <a:avLst/>
                <a:gdLst/>
                <a:ahLst/>
                <a:cxnLst>
                  <a:cxn ang="0">
                    <a:pos x="21" y="342"/>
                  </a:cxn>
                  <a:cxn ang="0">
                    <a:pos x="71" y="248"/>
                  </a:cxn>
                  <a:cxn ang="0">
                    <a:pos x="158" y="204"/>
                  </a:cxn>
                  <a:cxn ang="0">
                    <a:pos x="169" y="154"/>
                  </a:cxn>
                  <a:cxn ang="0">
                    <a:pos x="173" y="143"/>
                  </a:cxn>
                  <a:cxn ang="0">
                    <a:pos x="181" y="123"/>
                  </a:cxn>
                  <a:cxn ang="0">
                    <a:pos x="181" y="64"/>
                  </a:cxn>
                  <a:cxn ang="0">
                    <a:pos x="250" y="20"/>
                  </a:cxn>
                  <a:cxn ang="0">
                    <a:pos x="279" y="2"/>
                  </a:cxn>
                  <a:cxn ang="0">
                    <a:pos x="294" y="4"/>
                  </a:cxn>
                  <a:cxn ang="0">
                    <a:pos x="359" y="10"/>
                  </a:cxn>
                  <a:cxn ang="0">
                    <a:pos x="373" y="6"/>
                  </a:cxn>
                  <a:cxn ang="0">
                    <a:pos x="378" y="22"/>
                  </a:cxn>
                  <a:cxn ang="0">
                    <a:pos x="398" y="22"/>
                  </a:cxn>
                  <a:cxn ang="0">
                    <a:pos x="417" y="16"/>
                  </a:cxn>
                  <a:cxn ang="0">
                    <a:pos x="425" y="23"/>
                  </a:cxn>
                  <a:cxn ang="0">
                    <a:pos x="425" y="43"/>
                  </a:cxn>
                  <a:cxn ang="0">
                    <a:pos x="440" y="52"/>
                  </a:cxn>
                  <a:cxn ang="0">
                    <a:pos x="440" y="68"/>
                  </a:cxn>
                  <a:cxn ang="0">
                    <a:pos x="451" y="68"/>
                  </a:cxn>
                  <a:cxn ang="0">
                    <a:pos x="467" y="97"/>
                  </a:cxn>
                  <a:cxn ang="0">
                    <a:pos x="484" y="106"/>
                  </a:cxn>
                  <a:cxn ang="0">
                    <a:pos x="511" y="106"/>
                  </a:cxn>
                  <a:cxn ang="0">
                    <a:pos x="524" y="110"/>
                  </a:cxn>
                  <a:cxn ang="0">
                    <a:pos x="515" y="120"/>
                  </a:cxn>
                  <a:cxn ang="0">
                    <a:pos x="509" y="139"/>
                  </a:cxn>
                  <a:cxn ang="0">
                    <a:pos x="517" y="160"/>
                  </a:cxn>
                  <a:cxn ang="0">
                    <a:pos x="497" y="170"/>
                  </a:cxn>
                  <a:cxn ang="0">
                    <a:pos x="484" y="179"/>
                  </a:cxn>
                  <a:cxn ang="0">
                    <a:pos x="486" y="196"/>
                  </a:cxn>
                  <a:cxn ang="0">
                    <a:pos x="469" y="214"/>
                  </a:cxn>
                  <a:cxn ang="0">
                    <a:pos x="473" y="229"/>
                  </a:cxn>
                  <a:cxn ang="0">
                    <a:pos x="469" y="241"/>
                  </a:cxn>
                  <a:cxn ang="0">
                    <a:pos x="488" y="266"/>
                  </a:cxn>
                  <a:cxn ang="0">
                    <a:pos x="496" y="273"/>
                  </a:cxn>
                  <a:cxn ang="0">
                    <a:pos x="509" y="279"/>
                  </a:cxn>
                  <a:cxn ang="0">
                    <a:pos x="515" y="298"/>
                  </a:cxn>
                  <a:cxn ang="0">
                    <a:pos x="519" y="310"/>
                  </a:cxn>
                  <a:cxn ang="0">
                    <a:pos x="536" y="314"/>
                  </a:cxn>
                  <a:cxn ang="0">
                    <a:pos x="557" y="325"/>
                  </a:cxn>
                  <a:cxn ang="0">
                    <a:pos x="572" y="337"/>
                  </a:cxn>
                  <a:cxn ang="0">
                    <a:pos x="592" y="344"/>
                  </a:cxn>
                  <a:cxn ang="0">
                    <a:pos x="617" y="371"/>
                  </a:cxn>
                  <a:cxn ang="0">
                    <a:pos x="634" y="396"/>
                  </a:cxn>
                  <a:cxn ang="0">
                    <a:pos x="624" y="431"/>
                  </a:cxn>
                  <a:cxn ang="0">
                    <a:pos x="640" y="448"/>
                  </a:cxn>
                  <a:cxn ang="0">
                    <a:pos x="649" y="485"/>
                  </a:cxn>
                  <a:cxn ang="0">
                    <a:pos x="674" y="506"/>
                  </a:cxn>
                  <a:cxn ang="0">
                    <a:pos x="682" y="523"/>
                  </a:cxn>
                  <a:cxn ang="0">
                    <a:pos x="663" y="517"/>
                  </a:cxn>
                  <a:cxn ang="0">
                    <a:pos x="642" y="515"/>
                  </a:cxn>
                  <a:cxn ang="0">
                    <a:pos x="599" y="512"/>
                  </a:cxn>
                  <a:cxn ang="0">
                    <a:pos x="582" y="525"/>
                  </a:cxn>
                  <a:cxn ang="0">
                    <a:pos x="563" y="558"/>
                  </a:cxn>
                  <a:cxn ang="0">
                    <a:pos x="547" y="577"/>
                  </a:cxn>
                  <a:cxn ang="0">
                    <a:pos x="513" y="583"/>
                  </a:cxn>
                  <a:cxn ang="0">
                    <a:pos x="184" y="421"/>
                  </a:cxn>
                </a:cxnLst>
                <a:rect l="0" t="0" r="r" b="b"/>
                <a:pathLst>
                  <a:path w="684" h="585">
                    <a:moveTo>
                      <a:pt x="29" y="367"/>
                    </a:moveTo>
                    <a:lnTo>
                      <a:pt x="35" y="362"/>
                    </a:lnTo>
                    <a:lnTo>
                      <a:pt x="33" y="352"/>
                    </a:lnTo>
                    <a:lnTo>
                      <a:pt x="17" y="356"/>
                    </a:lnTo>
                    <a:lnTo>
                      <a:pt x="14" y="344"/>
                    </a:lnTo>
                    <a:lnTo>
                      <a:pt x="21" y="342"/>
                    </a:lnTo>
                    <a:lnTo>
                      <a:pt x="0" y="281"/>
                    </a:lnTo>
                    <a:lnTo>
                      <a:pt x="2" y="281"/>
                    </a:lnTo>
                    <a:lnTo>
                      <a:pt x="12" y="275"/>
                    </a:lnTo>
                    <a:lnTo>
                      <a:pt x="42" y="262"/>
                    </a:lnTo>
                    <a:lnTo>
                      <a:pt x="56" y="256"/>
                    </a:lnTo>
                    <a:lnTo>
                      <a:pt x="71" y="248"/>
                    </a:lnTo>
                    <a:lnTo>
                      <a:pt x="85" y="241"/>
                    </a:lnTo>
                    <a:lnTo>
                      <a:pt x="96" y="237"/>
                    </a:lnTo>
                    <a:lnTo>
                      <a:pt x="98" y="235"/>
                    </a:lnTo>
                    <a:lnTo>
                      <a:pt x="131" y="219"/>
                    </a:lnTo>
                    <a:lnTo>
                      <a:pt x="156" y="208"/>
                    </a:lnTo>
                    <a:lnTo>
                      <a:pt x="158" y="204"/>
                    </a:lnTo>
                    <a:lnTo>
                      <a:pt x="161" y="195"/>
                    </a:lnTo>
                    <a:lnTo>
                      <a:pt x="171" y="183"/>
                    </a:lnTo>
                    <a:lnTo>
                      <a:pt x="171" y="173"/>
                    </a:lnTo>
                    <a:lnTo>
                      <a:pt x="169" y="164"/>
                    </a:lnTo>
                    <a:lnTo>
                      <a:pt x="169" y="160"/>
                    </a:lnTo>
                    <a:lnTo>
                      <a:pt x="169" y="154"/>
                    </a:lnTo>
                    <a:lnTo>
                      <a:pt x="169" y="154"/>
                    </a:lnTo>
                    <a:lnTo>
                      <a:pt x="169" y="152"/>
                    </a:lnTo>
                    <a:lnTo>
                      <a:pt x="171" y="150"/>
                    </a:lnTo>
                    <a:lnTo>
                      <a:pt x="171" y="146"/>
                    </a:lnTo>
                    <a:lnTo>
                      <a:pt x="173" y="145"/>
                    </a:lnTo>
                    <a:lnTo>
                      <a:pt x="173" y="143"/>
                    </a:lnTo>
                    <a:lnTo>
                      <a:pt x="173" y="141"/>
                    </a:lnTo>
                    <a:lnTo>
                      <a:pt x="173" y="137"/>
                    </a:lnTo>
                    <a:lnTo>
                      <a:pt x="173" y="135"/>
                    </a:lnTo>
                    <a:lnTo>
                      <a:pt x="175" y="133"/>
                    </a:lnTo>
                    <a:lnTo>
                      <a:pt x="177" y="129"/>
                    </a:lnTo>
                    <a:lnTo>
                      <a:pt x="181" y="123"/>
                    </a:lnTo>
                    <a:lnTo>
                      <a:pt x="181" y="110"/>
                    </a:lnTo>
                    <a:lnTo>
                      <a:pt x="179" y="106"/>
                    </a:lnTo>
                    <a:lnTo>
                      <a:pt x="173" y="97"/>
                    </a:lnTo>
                    <a:lnTo>
                      <a:pt x="173" y="95"/>
                    </a:lnTo>
                    <a:lnTo>
                      <a:pt x="175" y="73"/>
                    </a:lnTo>
                    <a:lnTo>
                      <a:pt x="181" y="64"/>
                    </a:lnTo>
                    <a:lnTo>
                      <a:pt x="183" y="60"/>
                    </a:lnTo>
                    <a:lnTo>
                      <a:pt x="213" y="56"/>
                    </a:lnTo>
                    <a:lnTo>
                      <a:pt x="250" y="23"/>
                    </a:lnTo>
                    <a:lnTo>
                      <a:pt x="252" y="23"/>
                    </a:lnTo>
                    <a:lnTo>
                      <a:pt x="252" y="22"/>
                    </a:lnTo>
                    <a:lnTo>
                      <a:pt x="250" y="20"/>
                    </a:lnTo>
                    <a:lnTo>
                      <a:pt x="252" y="20"/>
                    </a:lnTo>
                    <a:lnTo>
                      <a:pt x="261" y="18"/>
                    </a:lnTo>
                    <a:lnTo>
                      <a:pt x="265" y="18"/>
                    </a:lnTo>
                    <a:lnTo>
                      <a:pt x="265" y="16"/>
                    </a:lnTo>
                    <a:lnTo>
                      <a:pt x="275" y="2"/>
                    </a:lnTo>
                    <a:lnTo>
                      <a:pt x="279" y="2"/>
                    </a:lnTo>
                    <a:lnTo>
                      <a:pt x="280" y="0"/>
                    </a:lnTo>
                    <a:lnTo>
                      <a:pt x="282" y="2"/>
                    </a:lnTo>
                    <a:lnTo>
                      <a:pt x="286" y="4"/>
                    </a:lnTo>
                    <a:lnTo>
                      <a:pt x="290" y="4"/>
                    </a:lnTo>
                    <a:lnTo>
                      <a:pt x="292" y="4"/>
                    </a:lnTo>
                    <a:lnTo>
                      <a:pt x="294" y="4"/>
                    </a:lnTo>
                    <a:lnTo>
                      <a:pt x="305" y="0"/>
                    </a:lnTo>
                    <a:lnTo>
                      <a:pt x="328" y="10"/>
                    </a:lnTo>
                    <a:lnTo>
                      <a:pt x="338" y="12"/>
                    </a:lnTo>
                    <a:lnTo>
                      <a:pt x="352" y="12"/>
                    </a:lnTo>
                    <a:lnTo>
                      <a:pt x="359" y="12"/>
                    </a:lnTo>
                    <a:lnTo>
                      <a:pt x="359" y="10"/>
                    </a:lnTo>
                    <a:lnTo>
                      <a:pt x="361" y="8"/>
                    </a:lnTo>
                    <a:lnTo>
                      <a:pt x="365" y="6"/>
                    </a:lnTo>
                    <a:lnTo>
                      <a:pt x="369" y="4"/>
                    </a:lnTo>
                    <a:lnTo>
                      <a:pt x="369" y="6"/>
                    </a:lnTo>
                    <a:lnTo>
                      <a:pt x="371" y="6"/>
                    </a:lnTo>
                    <a:lnTo>
                      <a:pt x="373" y="6"/>
                    </a:lnTo>
                    <a:lnTo>
                      <a:pt x="380" y="8"/>
                    </a:lnTo>
                    <a:lnTo>
                      <a:pt x="382" y="12"/>
                    </a:lnTo>
                    <a:lnTo>
                      <a:pt x="384" y="14"/>
                    </a:lnTo>
                    <a:lnTo>
                      <a:pt x="382" y="16"/>
                    </a:lnTo>
                    <a:lnTo>
                      <a:pt x="380" y="18"/>
                    </a:lnTo>
                    <a:lnTo>
                      <a:pt x="378" y="22"/>
                    </a:lnTo>
                    <a:lnTo>
                      <a:pt x="382" y="29"/>
                    </a:lnTo>
                    <a:lnTo>
                      <a:pt x="386" y="29"/>
                    </a:lnTo>
                    <a:lnTo>
                      <a:pt x="388" y="27"/>
                    </a:lnTo>
                    <a:lnTo>
                      <a:pt x="390" y="25"/>
                    </a:lnTo>
                    <a:lnTo>
                      <a:pt x="396" y="23"/>
                    </a:lnTo>
                    <a:lnTo>
                      <a:pt x="398" y="22"/>
                    </a:lnTo>
                    <a:lnTo>
                      <a:pt x="400" y="22"/>
                    </a:lnTo>
                    <a:lnTo>
                      <a:pt x="403" y="18"/>
                    </a:lnTo>
                    <a:lnTo>
                      <a:pt x="403" y="18"/>
                    </a:lnTo>
                    <a:lnTo>
                      <a:pt x="405" y="16"/>
                    </a:lnTo>
                    <a:lnTo>
                      <a:pt x="409" y="14"/>
                    </a:lnTo>
                    <a:lnTo>
                      <a:pt x="417" y="16"/>
                    </a:lnTo>
                    <a:lnTo>
                      <a:pt x="419" y="16"/>
                    </a:lnTo>
                    <a:lnTo>
                      <a:pt x="421" y="18"/>
                    </a:lnTo>
                    <a:lnTo>
                      <a:pt x="419" y="20"/>
                    </a:lnTo>
                    <a:lnTo>
                      <a:pt x="419" y="22"/>
                    </a:lnTo>
                    <a:lnTo>
                      <a:pt x="423" y="23"/>
                    </a:lnTo>
                    <a:lnTo>
                      <a:pt x="425" y="23"/>
                    </a:lnTo>
                    <a:lnTo>
                      <a:pt x="428" y="25"/>
                    </a:lnTo>
                    <a:lnTo>
                      <a:pt x="428" y="33"/>
                    </a:lnTo>
                    <a:lnTo>
                      <a:pt x="428" y="35"/>
                    </a:lnTo>
                    <a:lnTo>
                      <a:pt x="426" y="37"/>
                    </a:lnTo>
                    <a:lnTo>
                      <a:pt x="425" y="41"/>
                    </a:lnTo>
                    <a:lnTo>
                      <a:pt x="425" y="43"/>
                    </a:lnTo>
                    <a:lnTo>
                      <a:pt x="426" y="43"/>
                    </a:lnTo>
                    <a:lnTo>
                      <a:pt x="428" y="43"/>
                    </a:lnTo>
                    <a:lnTo>
                      <a:pt x="430" y="43"/>
                    </a:lnTo>
                    <a:lnTo>
                      <a:pt x="436" y="47"/>
                    </a:lnTo>
                    <a:lnTo>
                      <a:pt x="440" y="50"/>
                    </a:lnTo>
                    <a:lnTo>
                      <a:pt x="440" y="52"/>
                    </a:lnTo>
                    <a:lnTo>
                      <a:pt x="438" y="54"/>
                    </a:lnTo>
                    <a:lnTo>
                      <a:pt x="436" y="58"/>
                    </a:lnTo>
                    <a:lnTo>
                      <a:pt x="436" y="60"/>
                    </a:lnTo>
                    <a:lnTo>
                      <a:pt x="438" y="62"/>
                    </a:lnTo>
                    <a:lnTo>
                      <a:pt x="440" y="66"/>
                    </a:lnTo>
                    <a:lnTo>
                      <a:pt x="440" y="68"/>
                    </a:lnTo>
                    <a:lnTo>
                      <a:pt x="442" y="68"/>
                    </a:lnTo>
                    <a:lnTo>
                      <a:pt x="444" y="70"/>
                    </a:lnTo>
                    <a:lnTo>
                      <a:pt x="446" y="70"/>
                    </a:lnTo>
                    <a:lnTo>
                      <a:pt x="448" y="68"/>
                    </a:lnTo>
                    <a:lnTo>
                      <a:pt x="449" y="68"/>
                    </a:lnTo>
                    <a:lnTo>
                      <a:pt x="451" y="68"/>
                    </a:lnTo>
                    <a:lnTo>
                      <a:pt x="453" y="72"/>
                    </a:lnTo>
                    <a:lnTo>
                      <a:pt x="457" y="81"/>
                    </a:lnTo>
                    <a:lnTo>
                      <a:pt x="459" y="89"/>
                    </a:lnTo>
                    <a:lnTo>
                      <a:pt x="459" y="93"/>
                    </a:lnTo>
                    <a:lnTo>
                      <a:pt x="463" y="98"/>
                    </a:lnTo>
                    <a:lnTo>
                      <a:pt x="467" y="97"/>
                    </a:lnTo>
                    <a:lnTo>
                      <a:pt x="471" y="97"/>
                    </a:lnTo>
                    <a:lnTo>
                      <a:pt x="471" y="97"/>
                    </a:lnTo>
                    <a:lnTo>
                      <a:pt x="478" y="100"/>
                    </a:lnTo>
                    <a:lnTo>
                      <a:pt x="480" y="102"/>
                    </a:lnTo>
                    <a:lnTo>
                      <a:pt x="482" y="102"/>
                    </a:lnTo>
                    <a:lnTo>
                      <a:pt x="484" y="106"/>
                    </a:lnTo>
                    <a:lnTo>
                      <a:pt x="486" y="108"/>
                    </a:lnTo>
                    <a:lnTo>
                      <a:pt x="486" y="110"/>
                    </a:lnTo>
                    <a:lnTo>
                      <a:pt x="488" y="110"/>
                    </a:lnTo>
                    <a:lnTo>
                      <a:pt x="496" y="110"/>
                    </a:lnTo>
                    <a:lnTo>
                      <a:pt x="497" y="110"/>
                    </a:lnTo>
                    <a:lnTo>
                      <a:pt x="511" y="106"/>
                    </a:lnTo>
                    <a:lnTo>
                      <a:pt x="515" y="108"/>
                    </a:lnTo>
                    <a:lnTo>
                      <a:pt x="515" y="110"/>
                    </a:lnTo>
                    <a:lnTo>
                      <a:pt x="517" y="112"/>
                    </a:lnTo>
                    <a:lnTo>
                      <a:pt x="519" y="112"/>
                    </a:lnTo>
                    <a:lnTo>
                      <a:pt x="522" y="110"/>
                    </a:lnTo>
                    <a:lnTo>
                      <a:pt x="524" y="110"/>
                    </a:lnTo>
                    <a:lnTo>
                      <a:pt x="528" y="110"/>
                    </a:lnTo>
                    <a:lnTo>
                      <a:pt x="528" y="110"/>
                    </a:lnTo>
                    <a:lnTo>
                      <a:pt x="528" y="114"/>
                    </a:lnTo>
                    <a:lnTo>
                      <a:pt x="524" y="118"/>
                    </a:lnTo>
                    <a:lnTo>
                      <a:pt x="521" y="118"/>
                    </a:lnTo>
                    <a:lnTo>
                      <a:pt x="515" y="120"/>
                    </a:lnTo>
                    <a:lnTo>
                      <a:pt x="513" y="120"/>
                    </a:lnTo>
                    <a:lnTo>
                      <a:pt x="509" y="120"/>
                    </a:lnTo>
                    <a:lnTo>
                      <a:pt x="507" y="120"/>
                    </a:lnTo>
                    <a:lnTo>
                      <a:pt x="503" y="127"/>
                    </a:lnTo>
                    <a:lnTo>
                      <a:pt x="503" y="133"/>
                    </a:lnTo>
                    <a:lnTo>
                      <a:pt x="509" y="139"/>
                    </a:lnTo>
                    <a:lnTo>
                      <a:pt x="509" y="141"/>
                    </a:lnTo>
                    <a:lnTo>
                      <a:pt x="515" y="146"/>
                    </a:lnTo>
                    <a:lnTo>
                      <a:pt x="515" y="148"/>
                    </a:lnTo>
                    <a:lnTo>
                      <a:pt x="517" y="152"/>
                    </a:lnTo>
                    <a:lnTo>
                      <a:pt x="519" y="152"/>
                    </a:lnTo>
                    <a:lnTo>
                      <a:pt x="517" y="160"/>
                    </a:lnTo>
                    <a:lnTo>
                      <a:pt x="507" y="164"/>
                    </a:lnTo>
                    <a:lnTo>
                      <a:pt x="503" y="162"/>
                    </a:lnTo>
                    <a:lnTo>
                      <a:pt x="501" y="162"/>
                    </a:lnTo>
                    <a:lnTo>
                      <a:pt x="496" y="166"/>
                    </a:lnTo>
                    <a:lnTo>
                      <a:pt x="496" y="168"/>
                    </a:lnTo>
                    <a:lnTo>
                      <a:pt x="497" y="170"/>
                    </a:lnTo>
                    <a:lnTo>
                      <a:pt x="496" y="175"/>
                    </a:lnTo>
                    <a:lnTo>
                      <a:pt x="494" y="175"/>
                    </a:lnTo>
                    <a:lnTo>
                      <a:pt x="490" y="173"/>
                    </a:lnTo>
                    <a:lnTo>
                      <a:pt x="488" y="179"/>
                    </a:lnTo>
                    <a:lnTo>
                      <a:pt x="486" y="179"/>
                    </a:lnTo>
                    <a:lnTo>
                      <a:pt x="484" y="179"/>
                    </a:lnTo>
                    <a:lnTo>
                      <a:pt x="482" y="181"/>
                    </a:lnTo>
                    <a:lnTo>
                      <a:pt x="480" y="187"/>
                    </a:lnTo>
                    <a:lnTo>
                      <a:pt x="480" y="187"/>
                    </a:lnTo>
                    <a:lnTo>
                      <a:pt x="482" y="189"/>
                    </a:lnTo>
                    <a:lnTo>
                      <a:pt x="484" y="191"/>
                    </a:lnTo>
                    <a:lnTo>
                      <a:pt x="486" y="196"/>
                    </a:lnTo>
                    <a:lnTo>
                      <a:pt x="484" y="198"/>
                    </a:lnTo>
                    <a:lnTo>
                      <a:pt x="480" y="198"/>
                    </a:lnTo>
                    <a:lnTo>
                      <a:pt x="474" y="196"/>
                    </a:lnTo>
                    <a:lnTo>
                      <a:pt x="465" y="206"/>
                    </a:lnTo>
                    <a:lnTo>
                      <a:pt x="467" y="212"/>
                    </a:lnTo>
                    <a:lnTo>
                      <a:pt x="469" y="214"/>
                    </a:lnTo>
                    <a:lnTo>
                      <a:pt x="471" y="214"/>
                    </a:lnTo>
                    <a:lnTo>
                      <a:pt x="473" y="214"/>
                    </a:lnTo>
                    <a:lnTo>
                      <a:pt x="474" y="216"/>
                    </a:lnTo>
                    <a:lnTo>
                      <a:pt x="476" y="218"/>
                    </a:lnTo>
                    <a:lnTo>
                      <a:pt x="474" y="227"/>
                    </a:lnTo>
                    <a:lnTo>
                      <a:pt x="473" y="229"/>
                    </a:lnTo>
                    <a:lnTo>
                      <a:pt x="467" y="233"/>
                    </a:lnTo>
                    <a:lnTo>
                      <a:pt x="463" y="239"/>
                    </a:lnTo>
                    <a:lnTo>
                      <a:pt x="465" y="241"/>
                    </a:lnTo>
                    <a:lnTo>
                      <a:pt x="467" y="243"/>
                    </a:lnTo>
                    <a:lnTo>
                      <a:pt x="467" y="243"/>
                    </a:lnTo>
                    <a:lnTo>
                      <a:pt x="469" y="241"/>
                    </a:lnTo>
                    <a:lnTo>
                      <a:pt x="473" y="246"/>
                    </a:lnTo>
                    <a:lnTo>
                      <a:pt x="480" y="254"/>
                    </a:lnTo>
                    <a:lnTo>
                      <a:pt x="480" y="256"/>
                    </a:lnTo>
                    <a:lnTo>
                      <a:pt x="484" y="262"/>
                    </a:lnTo>
                    <a:lnTo>
                      <a:pt x="488" y="264"/>
                    </a:lnTo>
                    <a:lnTo>
                      <a:pt x="488" y="266"/>
                    </a:lnTo>
                    <a:lnTo>
                      <a:pt x="490" y="266"/>
                    </a:lnTo>
                    <a:lnTo>
                      <a:pt x="492" y="264"/>
                    </a:lnTo>
                    <a:lnTo>
                      <a:pt x="497" y="264"/>
                    </a:lnTo>
                    <a:lnTo>
                      <a:pt x="501" y="269"/>
                    </a:lnTo>
                    <a:lnTo>
                      <a:pt x="497" y="271"/>
                    </a:lnTo>
                    <a:lnTo>
                      <a:pt x="496" y="273"/>
                    </a:lnTo>
                    <a:lnTo>
                      <a:pt x="499" y="273"/>
                    </a:lnTo>
                    <a:lnTo>
                      <a:pt x="501" y="273"/>
                    </a:lnTo>
                    <a:lnTo>
                      <a:pt x="505" y="273"/>
                    </a:lnTo>
                    <a:lnTo>
                      <a:pt x="507" y="275"/>
                    </a:lnTo>
                    <a:lnTo>
                      <a:pt x="507" y="277"/>
                    </a:lnTo>
                    <a:lnTo>
                      <a:pt x="509" y="279"/>
                    </a:lnTo>
                    <a:lnTo>
                      <a:pt x="509" y="281"/>
                    </a:lnTo>
                    <a:lnTo>
                      <a:pt x="513" y="287"/>
                    </a:lnTo>
                    <a:lnTo>
                      <a:pt x="517" y="289"/>
                    </a:lnTo>
                    <a:lnTo>
                      <a:pt x="519" y="294"/>
                    </a:lnTo>
                    <a:lnTo>
                      <a:pt x="519" y="296"/>
                    </a:lnTo>
                    <a:lnTo>
                      <a:pt x="515" y="298"/>
                    </a:lnTo>
                    <a:lnTo>
                      <a:pt x="513" y="302"/>
                    </a:lnTo>
                    <a:lnTo>
                      <a:pt x="511" y="308"/>
                    </a:lnTo>
                    <a:lnTo>
                      <a:pt x="513" y="310"/>
                    </a:lnTo>
                    <a:lnTo>
                      <a:pt x="515" y="312"/>
                    </a:lnTo>
                    <a:lnTo>
                      <a:pt x="517" y="312"/>
                    </a:lnTo>
                    <a:lnTo>
                      <a:pt x="519" y="310"/>
                    </a:lnTo>
                    <a:lnTo>
                      <a:pt x="522" y="310"/>
                    </a:lnTo>
                    <a:lnTo>
                      <a:pt x="524" y="310"/>
                    </a:lnTo>
                    <a:lnTo>
                      <a:pt x="526" y="310"/>
                    </a:lnTo>
                    <a:lnTo>
                      <a:pt x="530" y="312"/>
                    </a:lnTo>
                    <a:lnTo>
                      <a:pt x="534" y="312"/>
                    </a:lnTo>
                    <a:lnTo>
                      <a:pt x="536" y="314"/>
                    </a:lnTo>
                    <a:lnTo>
                      <a:pt x="540" y="316"/>
                    </a:lnTo>
                    <a:lnTo>
                      <a:pt x="544" y="318"/>
                    </a:lnTo>
                    <a:lnTo>
                      <a:pt x="551" y="321"/>
                    </a:lnTo>
                    <a:lnTo>
                      <a:pt x="553" y="323"/>
                    </a:lnTo>
                    <a:lnTo>
                      <a:pt x="555" y="323"/>
                    </a:lnTo>
                    <a:lnTo>
                      <a:pt x="557" y="325"/>
                    </a:lnTo>
                    <a:lnTo>
                      <a:pt x="563" y="331"/>
                    </a:lnTo>
                    <a:lnTo>
                      <a:pt x="565" y="331"/>
                    </a:lnTo>
                    <a:lnTo>
                      <a:pt x="567" y="333"/>
                    </a:lnTo>
                    <a:lnTo>
                      <a:pt x="569" y="335"/>
                    </a:lnTo>
                    <a:lnTo>
                      <a:pt x="570" y="337"/>
                    </a:lnTo>
                    <a:lnTo>
                      <a:pt x="572" y="337"/>
                    </a:lnTo>
                    <a:lnTo>
                      <a:pt x="578" y="342"/>
                    </a:lnTo>
                    <a:lnTo>
                      <a:pt x="580" y="342"/>
                    </a:lnTo>
                    <a:lnTo>
                      <a:pt x="584" y="344"/>
                    </a:lnTo>
                    <a:lnTo>
                      <a:pt x="586" y="346"/>
                    </a:lnTo>
                    <a:lnTo>
                      <a:pt x="588" y="346"/>
                    </a:lnTo>
                    <a:lnTo>
                      <a:pt x="592" y="344"/>
                    </a:lnTo>
                    <a:lnTo>
                      <a:pt x="594" y="344"/>
                    </a:lnTo>
                    <a:lnTo>
                      <a:pt x="599" y="344"/>
                    </a:lnTo>
                    <a:lnTo>
                      <a:pt x="605" y="350"/>
                    </a:lnTo>
                    <a:lnTo>
                      <a:pt x="603" y="354"/>
                    </a:lnTo>
                    <a:lnTo>
                      <a:pt x="611" y="364"/>
                    </a:lnTo>
                    <a:lnTo>
                      <a:pt x="617" y="371"/>
                    </a:lnTo>
                    <a:lnTo>
                      <a:pt x="618" y="373"/>
                    </a:lnTo>
                    <a:lnTo>
                      <a:pt x="626" y="383"/>
                    </a:lnTo>
                    <a:lnTo>
                      <a:pt x="630" y="385"/>
                    </a:lnTo>
                    <a:lnTo>
                      <a:pt x="634" y="391"/>
                    </a:lnTo>
                    <a:lnTo>
                      <a:pt x="636" y="392"/>
                    </a:lnTo>
                    <a:lnTo>
                      <a:pt x="634" y="396"/>
                    </a:lnTo>
                    <a:lnTo>
                      <a:pt x="630" y="402"/>
                    </a:lnTo>
                    <a:lnTo>
                      <a:pt x="626" y="412"/>
                    </a:lnTo>
                    <a:lnTo>
                      <a:pt x="624" y="416"/>
                    </a:lnTo>
                    <a:lnTo>
                      <a:pt x="624" y="419"/>
                    </a:lnTo>
                    <a:lnTo>
                      <a:pt x="624" y="427"/>
                    </a:lnTo>
                    <a:lnTo>
                      <a:pt x="624" y="431"/>
                    </a:lnTo>
                    <a:lnTo>
                      <a:pt x="624" y="433"/>
                    </a:lnTo>
                    <a:lnTo>
                      <a:pt x="624" y="435"/>
                    </a:lnTo>
                    <a:lnTo>
                      <a:pt x="624" y="440"/>
                    </a:lnTo>
                    <a:lnTo>
                      <a:pt x="622" y="448"/>
                    </a:lnTo>
                    <a:lnTo>
                      <a:pt x="634" y="448"/>
                    </a:lnTo>
                    <a:lnTo>
                      <a:pt x="640" y="448"/>
                    </a:lnTo>
                    <a:lnTo>
                      <a:pt x="647" y="448"/>
                    </a:lnTo>
                    <a:lnTo>
                      <a:pt x="647" y="452"/>
                    </a:lnTo>
                    <a:lnTo>
                      <a:pt x="647" y="471"/>
                    </a:lnTo>
                    <a:lnTo>
                      <a:pt x="647" y="477"/>
                    </a:lnTo>
                    <a:lnTo>
                      <a:pt x="647" y="483"/>
                    </a:lnTo>
                    <a:lnTo>
                      <a:pt x="649" y="485"/>
                    </a:lnTo>
                    <a:lnTo>
                      <a:pt x="653" y="487"/>
                    </a:lnTo>
                    <a:lnTo>
                      <a:pt x="655" y="487"/>
                    </a:lnTo>
                    <a:lnTo>
                      <a:pt x="655" y="489"/>
                    </a:lnTo>
                    <a:lnTo>
                      <a:pt x="665" y="494"/>
                    </a:lnTo>
                    <a:lnTo>
                      <a:pt x="674" y="504"/>
                    </a:lnTo>
                    <a:lnTo>
                      <a:pt x="674" y="506"/>
                    </a:lnTo>
                    <a:lnTo>
                      <a:pt x="674" y="512"/>
                    </a:lnTo>
                    <a:lnTo>
                      <a:pt x="676" y="517"/>
                    </a:lnTo>
                    <a:lnTo>
                      <a:pt x="678" y="519"/>
                    </a:lnTo>
                    <a:lnTo>
                      <a:pt x="684" y="521"/>
                    </a:lnTo>
                    <a:lnTo>
                      <a:pt x="684" y="523"/>
                    </a:lnTo>
                    <a:lnTo>
                      <a:pt x="682" y="523"/>
                    </a:lnTo>
                    <a:lnTo>
                      <a:pt x="676" y="523"/>
                    </a:lnTo>
                    <a:lnTo>
                      <a:pt x="672" y="523"/>
                    </a:lnTo>
                    <a:lnTo>
                      <a:pt x="668" y="521"/>
                    </a:lnTo>
                    <a:lnTo>
                      <a:pt x="666" y="519"/>
                    </a:lnTo>
                    <a:lnTo>
                      <a:pt x="665" y="519"/>
                    </a:lnTo>
                    <a:lnTo>
                      <a:pt x="663" y="517"/>
                    </a:lnTo>
                    <a:lnTo>
                      <a:pt x="661" y="517"/>
                    </a:lnTo>
                    <a:lnTo>
                      <a:pt x="659" y="515"/>
                    </a:lnTo>
                    <a:lnTo>
                      <a:pt x="655" y="515"/>
                    </a:lnTo>
                    <a:lnTo>
                      <a:pt x="651" y="515"/>
                    </a:lnTo>
                    <a:lnTo>
                      <a:pt x="649" y="515"/>
                    </a:lnTo>
                    <a:lnTo>
                      <a:pt x="642" y="515"/>
                    </a:lnTo>
                    <a:lnTo>
                      <a:pt x="642" y="517"/>
                    </a:lnTo>
                    <a:lnTo>
                      <a:pt x="640" y="517"/>
                    </a:lnTo>
                    <a:lnTo>
                      <a:pt x="626" y="512"/>
                    </a:lnTo>
                    <a:lnTo>
                      <a:pt x="605" y="512"/>
                    </a:lnTo>
                    <a:lnTo>
                      <a:pt x="603" y="512"/>
                    </a:lnTo>
                    <a:lnTo>
                      <a:pt x="599" y="512"/>
                    </a:lnTo>
                    <a:lnTo>
                      <a:pt x="590" y="515"/>
                    </a:lnTo>
                    <a:lnTo>
                      <a:pt x="586" y="517"/>
                    </a:lnTo>
                    <a:lnTo>
                      <a:pt x="586" y="517"/>
                    </a:lnTo>
                    <a:lnTo>
                      <a:pt x="584" y="519"/>
                    </a:lnTo>
                    <a:lnTo>
                      <a:pt x="582" y="521"/>
                    </a:lnTo>
                    <a:lnTo>
                      <a:pt x="582" y="525"/>
                    </a:lnTo>
                    <a:lnTo>
                      <a:pt x="578" y="533"/>
                    </a:lnTo>
                    <a:lnTo>
                      <a:pt x="572" y="542"/>
                    </a:lnTo>
                    <a:lnTo>
                      <a:pt x="570" y="548"/>
                    </a:lnTo>
                    <a:lnTo>
                      <a:pt x="569" y="550"/>
                    </a:lnTo>
                    <a:lnTo>
                      <a:pt x="565" y="554"/>
                    </a:lnTo>
                    <a:lnTo>
                      <a:pt x="563" y="558"/>
                    </a:lnTo>
                    <a:lnTo>
                      <a:pt x="559" y="563"/>
                    </a:lnTo>
                    <a:lnTo>
                      <a:pt x="555" y="569"/>
                    </a:lnTo>
                    <a:lnTo>
                      <a:pt x="553" y="571"/>
                    </a:lnTo>
                    <a:lnTo>
                      <a:pt x="551" y="575"/>
                    </a:lnTo>
                    <a:lnTo>
                      <a:pt x="549" y="575"/>
                    </a:lnTo>
                    <a:lnTo>
                      <a:pt x="547" y="577"/>
                    </a:lnTo>
                    <a:lnTo>
                      <a:pt x="545" y="579"/>
                    </a:lnTo>
                    <a:lnTo>
                      <a:pt x="544" y="579"/>
                    </a:lnTo>
                    <a:lnTo>
                      <a:pt x="544" y="581"/>
                    </a:lnTo>
                    <a:lnTo>
                      <a:pt x="544" y="581"/>
                    </a:lnTo>
                    <a:lnTo>
                      <a:pt x="534" y="585"/>
                    </a:lnTo>
                    <a:lnTo>
                      <a:pt x="513" y="583"/>
                    </a:lnTo>
                    <a:lnTo>
                      <a:pt x="415" y="575"/>
                    </a:lnTo>
                    <a:lnTo>
                      <a:pt x="352" y="527"/>
                    </a:lnTo>
                    <a:lnTo>
                      <a:pt x="300" y="489"/>
                    </a:lnTo>
                    <a:lnTo>
                      <a:pt x="290" y="483"/>
                    </a:lnTo>
                    <a:lnTo>
                      <a:pt x="231" y="440"/>
                    </a:lnTo>
                    <a:lnTo>
                      <a:pt x="184" y="421"/>
                    </a:lnTo>
                    <a:lnTo>
                      <a:pt x="113" y="381"/>
                    </a:lnTo>
                    <a:lnTo>
                      <a:pt x="90" y="377"/>
                    </a:lnTo>
                    <a:lnTo>
                      <a:pt x="48" y="371"/>
                    </a:lnTo>
                    <a:lnTo>
                      <a:pt x="29" y="367"/>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0" name="Freeform 9">
                <a:extLst>
                  <a:ext uri="{FF2B5EF4-FFF2-40B4-BE49-F238E27FC236}">
                    <a16:creationId xmlns:a16="http://schemas.microsoft.com/office/drawing/2014/main" id="{7248F58C-2C31-4140-8584-67665D050EB1}"/>
                  </a:ext>
                </a:extLst>
              </p:cNvPr>
              <p:cNvSpPr>
                <a:spLocks noEditPoints="1"/>
              </p:cNvSpPr>
              <p:nvPr/>
            </p:nvSpPr>
            <p:spPr bwMode="gray">
              <a:xfrm>
                <a:off x="2609302" y="3339672"/>
                <a:ext cx="155152" cy="419545"/>
              </a:xfrm>
              <a:custGeom>
                <a:avLst/>
                <a:gdLst/>
                <a:ahLst/>
                <a:cxnLst>
                  <a:cxn ang="0">
                    <a:pos x="73" y="175"/>
                  </a:cxn>
                  <a:cxn ang="0">
                    <a:pos x="66" y="188"/>
                  </a:cxn>
                  <a:cxn ang="0">
                    <a:pos x="64" y="219"/>
                  </a:cxn>
                  <a:cxn ang="0">
                    <a:pos x="58" y="226"/>
                  </a:cxn>
                  <a:cxn ang="0">
                    <a:pos x="56" y="238"/>
                  </a:cxn>
                  <a:cxn ang="0">
                    <a:pos x="50" y="261"/>
                  </a:cxn>
                  <a:cxn ang="0">
                    <a:pos x="44" y="265"/>
                  </a:cxn>
                  <a:cxn ang="0">
                    <a:pos x="42" y="253"/>
                  </a:cxn>
                  <a:cxn ang="0">
                    <a:pos x="25" y="203"/>
                  </a:cxn>
                  <a:cxn ang="0">
                    <a:pos x="16" y="180"/>
                  </a:cxn>
                  <a:cxn ang="0">
                    <a:pos x="4" y="140"/>
                  </a:cxn>
                  <a:cxn ang="0">
                    <a:pos x="16" y="127"/>
                  </a:cxn>
                  <a:cxn ang="0">
                    <a:pos x="16" y="117"/>
                  </a:cxn>
                  <a:cxn ang="0">
                    <a:pos x="23" y="107"/>
                  </a:cxn>
                  <a:cxn ang="0">
                    <a:pos x="33" y="88"/>
                  </a:cxn>
                  <a:cxn ang="0">
                    <a:pos x="41" y="69"/>
                  </a:cxn>
                  <a:cxn ang="0">
                    <a:pos x="46" y="38"/>
                  </a:cxn>
                  <a:cxn ang="0">
                    <a:pos x="52" y="32"/>
                  </a:cxn>
                  <a:cxn ang="0">
                    <a:pos x="56" y="27"/>
                  </a:cxn>
                  <a:cxn ang="0">
                    <a:pos x="58" y="13"/>
                  </a:cxn>
                  <a:cxn ang="0">
                    <a:pos x="73" y="13"/>
                  </a:cxn>
                  <a:cxn ang="0">
                    <a:pos x="87" y="11"/>
                  </a:cxn>
                  <a:cxn ang="0">
                    <a:pos x="92" y="0"/>
                  </a:cxn>
                  <a:cxn ang="0">
                    <a:pos x="98" y="2"/>
                  </a:cxn>
                  <a:cxn ang="0">
                    <a:pos x="96" y="9"/>
                  </a:cxn>
                  <a:cxn ang="0">
                    <a:pos x="96" y="23"/>
                  </a:cxn>
                  <a:cxn ang="0">
                    <a:pos x="96" y="29"/>
                  </a:cxn>
                  <a:cxn ang="0">
                    <a:pos x="96" y="38"/>
                  </a:cxn>
                  <a:cxn ang="0">
                    <a:pos x="94" y="42"/>
                  </a:cxn>
                  <a:cxn ang="0">
                    <a:pos x="85" y="59"/>
                  </a:cxn>
                  <a:cxn ang="0">
                    <a:pos x="73" y="53"/>
                  </a:cxn>
                  <a:cxn ang="0">
                    <a:pos x="64" y="52"/>
                  </a:cxn>
                  <a:cxn ang="0">
                    <a:pos x="54" y="61"/>
                  </a:cxn>
                  <a:cxn ang="0">
                    <a:pos x="50" y="78"/>
                  </a:cxn>
                  <a:cxn ang="0">
                    <a:pos x="52" y="90"/>
                  </a:cxn>
                  <a:cxn ang="0">
                    <a:pos x="50" y="102"/>
                  </a:cxn>
                  <a:cxn ang="0">
                    <a:pos x="62" y="102"/>
                  </a:cxn>
                  <a:cxn ang="0">
                    <a:pos x="58" y="109"/>
                  </a:cxn>
                  <a:cxn ang="0">
                    <a:pos x="48" y="117"/>
                  </a:cxn>
                  <a:cxn ang="0">
                    <a:pos x="44" y="128"/>
                  </a:cxn>
                  <a:cxn ang="0">
                    <a:pos x="46" y="134"/>
                  </a:cxn>
                  <a:cxn ang="0">
                    <a:pos x="69" y="130"/>
                  </a:cxn>
                  <a:cxn ang="0">
                    <a:pos x="85" y="125"/>
                  </a:cxn>
                  <a:cxn ang="0">
                    <a:pos x="83" y="134"/>
                  </a:cxn>
                  <a:cxn ang="0">
                    <a:pos x="85" y="150"/>
                  </a:cxn>
                  <a:cxn ang="0">
                    <a:pos x="69" y="102"/>
                  </a:cxn>
                  <a:cxn ang="0">
                    <a:pos x="69" y="103"/>
                  </a:cxn>
                  <a:cxn ang="0">
                    <a:pos x="69" y="102"/>
                  </a:cxn>
                </a:cxnLst>
                <a:rect l="0" t="0" r="r" b="b"/>
                <a:pathLst>
                  <a:path w="98" h="265">
                    <a:moveTo>
                      <a:pt x="77" y="163"/>
                    </a:moveTo>
                    <a:lnTo>
                      <a:pt x="77" y="165"/>
                    </a:lnTo>
                    <a:lnTo>
                      <a:pt x="75" y="167"/>
                    </a:lnTo>
                    <a:lnTo>
                      <a:pt x="73" y="175"/>
                    </a:lnTo>
                    <a:lnTo>
                      <a:pt x="71" y="176"/>
                    </a:lnTo>
                    <a:lnTo>
                      <a:pt x="69" y="180"/>
                    </a:lnTo>
                    <a:lnTo>
                      <a:pt x="67" y="186"/>
                    </a:lnTo>
                    <a:lnTo>
                      <a:pt x="66" y="188"/>
                    </a:lnTo>
                    <a:lnTo>
                      <a:pt x="62" y="198"/>
                    </a:lnTo>
                    <a:lnTo>
                      <a:pt x="62" y="200"/>
                    </a:lnTo>
                    <a:lnTo>
                      <a:pt x="64" y="207"/>
                    </a:lnTo>
                    <a:lnTo>
                      <a:pt x="64" y="219"/>
                    </a:lnTo>
                    <a:lnTo>
                      <a:pt x="62" y="221"/>
                    </a:lnTo>
                    <a:lnTo>
                      <a:pt x="62" y="223"/>
                    </a:lnTo>
                    <a:lnTo>
                      <a:pt x="60" y="225"/>
                    </a:lnTo>
                    <a:lnTo>
                      <a:pt x="58" y="226"/>
                    </a:lnTo>
                    <a:lnTo>
                      <a:pt x="56" y="232"/>
                    </a:lnTo>
                    <a:lnTo>
                      <a:pt x="56" y="234"/>
                    </a:lnTo>
                    <a:lnTo>
                      <a:pt x="56" y="236"/>
                    </a:lnTo>
                    <a:lnTo>
                      <a:pt x="56" y="238"/>
                    </a:lnTo>
                    <a:lnTo>
                      <a:pt x="52" y="253"/>
                    </a:lnTo>
                    <a:lnTo>
                      <a:pt x="50" y="259"/>
                    </a:lnTo>
                    <a:lnTo>
                      <a:pt x="50" y="259"/>
                    </a:lnTo>
                    <a:lnTo>
                      <a:pt x="50" y="261"/>
                    </a:lnTo>
                    <a:lnTo>
                      <a:pt x="48" y="261"/>
                    </a:lnTo>
                    <a:lnTo>
                      <a:pt x="48" y="261"/>
                    </a:lnTo>
                    <a:lnTo>
                      <a:pt x="46" y="263"/>
                    </a:lnTo>
                    <a:lnTo>
                      <a:pt x="44" y="265"/>
                    </a:lnTo>
                    <a:lnTo>
                      <a:pt x="42" y="261"/>
                    </a:lnTo>
                    <a:lnTo>
                      <a:pt x="42" y="257"/>
                    </a:lnTo>
                    <a:lnTo>
                      <a:pt x="42" y="255"/>
                    </a:lnTo>
                    <a:lnTo>
                      <a:pt x="42" y="253"/>
                    </a:lnTo>
                    <a:lnTo>
                      <a:pt x="41" y="248"/>
                    </a:lnTo>
                    <a:lnTo>
                      <a:pt x="35" y="230"/>
                    </a:lnTo>
                    <a:lnTo>
                      <a:pt x="33" y="223"/>
                    </a:lnTo>
                    <a:lnTo>
                      <a:pt x="25" y="203"/>
                    </a:lnTo>
                    <a:lnTo>
                      <a:pt x="19" y="201"/>
                    </a:lnTo>
                    <a:lnTo>
                      <a:pt x="19" y="198"/>
                    </a:lnTo>
                    <a:lnTo>
                      <a:pt x="21" y="196"/>
                    </a:lnTo>
                    <a:lnTo>
                      <a:pt x="16" y="180"/>
                    </a:lnTo>
                    <a:lnTo>
                      <a:pt x="10" y="169"/>
                    </a:lnTo>
                    <a:lnTo>
                      <a:pt x="2" y="148"/>
                    </a:lnTo>
                    <a:lnTo>
                      <a:pt x="0" y="144"/>
                    </a:lnTo>
                    <a:lnTo>
                      <a:pt x="4" y="140"/>
                    </a:lnTo>
                    <a:lnTo>
                      <a:pt x="8" y="138"/>
                    </a:lnTo>
                    <a:lnTo>
                      <a:pt x="6" y="134"/>
                    </a:lnTo>
                    <a:lnTo>
                      <a:pt x="8" y="130"/>
                    </a:lnTo>
                    <a:lnTo>
                      <a:pt x="16" y="127"/>
                    </a:lnTo>
                    <a:lnTo>
                      <a:pt x="17" y="125"/>
                    </a:lnTo>
                    <a:lnTo>
                      <a:pt x="19" y="123"/>
                    </a:lnTo>
                    <a:lnTo>
                      <a:pt x="21" y="121"/>
                    </a:lnTo>
                    <a:lnTo>
                      <a:pt x="16" y="117"/>
                    </a:lnTo>
                    <a:lnTo>
                      <a:pt x="16" y="117"/>
                    </a:lnTo>
                    <a:lnTo>
                      <a:pt x="17" y="115"/>
                    </a:lnTo>
                    <a:lnTo>
                      <a:pt x="19" y="111"/>
                    </a:lnTo>
                    <a:lnTo>
                      <a:pt x="23" y="107"/>
                    </a:lnTo>
                    <a:lnTo>
                      <a:pt x="29" y="98"/>
                    </a:lnTo>
                    <a:lnTo>
                      <a:pt x="31" y="92"/>
                    </a:lnTo>
                    <a:lnTo>
                      <a:pt x="33" y="88"/>
                    </a:lnTo>
                    <a:lnTo>
                      <a:pt x="33" y="88"/>
                    </a:lnTo>
                    <a:lnTo>
                      <a:pt x="37" y="80"/>
                    </a:lnTo>
                    <a:lnTo>
                      <a:pt x="37" y="77"/>
                    </a:lnTo>
                    <a:lnTo>
                      <a:pt x="37" y="75"/>
                    </a:lnTo>
                    <a:lnTo>
                      <a:pt x="41" y="69"/>
                    </a:lnTo>
                    <a:lnTo>
                      <a:pt x="42" y="61"/>
                    </a:lnTo>
                    <a:lnTo>
                      <a:pt x="42" y="59"/>
                    </a:lnTo>
                    <a:lnTo>
                      <a:pt x="44" y="53"/>
                    </a:lnTo>
                    <a:lnTo>
                      <a:pt x="46" y="38"/>
                    </a:lnTo>
                    <a:lnTo>
                      <a:pt x="48" y="34"/>
                    </a:lnTo>
                    <a:lnTo>
                      <a:pt x="48" y="30"/>
                    </a:lnTo>
                    <a:lnTo>
                      <a:pt x="50" y="30"/>
                    </a:lnTo>
                    <a:lnTo>
                      <a:pt x="52" y="32"/>
                    </a:lnTo>
                    <a:lnTo>
                      <a:pt x="54" y="30"/>
                    </a:lnTo>
                    <a:lnTo>
                      <a:pt x="56" y="29"/>
                    </a:lnTo>
                    <a:lnTo>
                      <a:pt x="56" y="29"/>
                    </a:lnTo>
                    <a:lnTo>
                      <a:pt x="56" y="27"/>
                    </a:lnTo>
                    <a:lnTo>
                      <a:pt x="56" y="23"/>
                    </a:lnTo>
                    <a:lnTo>
                      <a:pt x="58" y="19"/>
                    </a:lnTo>
                    <a:lnTo>
                      <a:pt x="58" y="17"/>
                    </a:lnTo>
                    <a:lnTo>
                      <a:pt x="58" y="13"/>
                    </a:lnTo>
                    <a:lnTo>
                      <a:pt x="58" y="13"/>
                    </a:lnTo>
                    <a:lnTo>
                      <a:pt x="60" y="11"/>
                    </a:lnTo>
                    <a:lnTo>
                      <a:pt x="69" y="11"/>
                    </a:lnTo>
                    <a:lnTo>
                      <a:pt x="73" y="13"/>
                    </a:lnTo>
                    <a:lnTo>
                      <a:pt x="75" y="15"/>
                    </a:lnTo>
                    <a:lnTo>
                      <a:pt x="77" y="15"/>
                    </a:lnTo>
                    <a:lnTo>
                      <a:pt x="81" y="13"/>
                    </a:lnTo>
                    <a:lnTo>
                      <a:pt x="87" y="11"/>
                    </a:lnTo>
                    <a:lnTo>
                      <a:pt x="87" y="11"/>
                    </a:lnTo>
                    <a:lnTo>
                      <a:pt x="89" y="9"/>
                    </a:lnTo>
                    <a:lnTo>
                      <a:pt x="89" y="5"/>
                    </a:lnTo>
                    <a:lnTo>
                      <a:pt x="92" y="0"/>
                    </a:lnTo>
                    <a:lnTo>
                      <a:pt x="94" y="2"/>
                    </a:lnTo>
                    <a:lnTo>
                      <a:pt x="96" y="2"/>
                    </a:lnTo>
                    <a:lnTo>
                      <a:pt x="98" y="2"/>
                    </a:lnTo>
                    <a:lnTo>
                      <a:pt x="98" y="2"/>
                    </a:lnTo>
                    <a:lnTo>
                      <a:pt x="98" y="2"/>
                    </a:lnTo>
                    <a:lnTo>
                      <a:pt x="98" y="4"/>
                    </a:lnTo>
                    <a:lnTo>
                      <a:pt x="98" y="4"/>
                    </a:lnTo>
                    <a:lnTo>
                      <a:pt x="96" y="9"/>
                    </a:lnTo>
                    <a:lnTo>
                      <a:pt x="96" y="13"/>
                    </a:lnTo>
                    <a:lnTo>
                      <a:pt x="96" y="15"/>
                    </a:lnTo>
                    <a:lnTo>
                      <a:pt x="96" y="19"/>
                    </a:lnTo>
                    <a:lnTo>
                      <a:pt x="96" y="23"/>
                    </a:lnTo>
                    <a:lnTo>
                      <a:pt x="94" y="25"/>
                    </a:lnTo>
                    <a:lnTo>
                      <a:pt x="94" y="27"/>
                    </a:lnTo>
                    <a:lnTo>
                      <a:pt x="94" y="27"/>
                    </a:lnTo>
                    <a:lnTo>
                      <a:pt x="96" y="29"/>
                    </a:lnTo>
                    <a:lnTo>
                      <a:pt x="96" y="32"/>
                    </a:lnTo>
                    <a:lnTo>
                      <a:pt x="98" y="32"/>
                    </a:lnTo>
                    <a:lnTo>
                      <a:pt x="98" y="36"/>
                    </a:lnTo>
                    <a:lnTo>
                      <a:pt x="96" y="38"/>
                    </a:lnTo>
                    <a:lnTo>
                      <a:pt x="96" y="40"/>
                    </a:lnTo>
                    <a:lnTo>
                      <a:pt x="96" y="40"/>
                    </a:lnTo>
                    <a:lnTo>
                      <a:pt x="96" y="40"/>
                    </a:lnTo>
                    <a:lnTo>
                      <a:pt x="94" y="42"/>
                    </a:lnTo>
                    <a:lnTo>
                      <a:pt x="92" y="44"/>
                    </a:lnTo>
                    <a:lnTo>
                      <a:pt x="90" y="61"/>
                    </a:lnTo>
                    <a:lnTo>
                      <a:pt x="90" y="61"/>
                    </a:lnTo>
                    <a:lnTo>
                      <a:pt x="85" y="59"/>
                    </a:lnTo>
                    <a:lnTo>
                      <a:pt x="81" y="55"/>
                    </a:lnTo>
                    <a:lnTo>
                      <a:pt x="81" y="53"/>
                    </a:lnTo>
                    <a:lnTo>
                      <a:pt x="75" y="52"/>
                    </a:lnTo>
                    <a:lnTo>
                      <a:pt x="73" y="53"/>
                    </a:lnTo>
                    <a:lnTo>
                      <a:pt x="71" y="53"/>
                    </a:lnTo>
                    <a:lnTo>
                      <a:pt x="69" y="52"/>
                    </a:lnTo>
                    <a:lnTo>
                      <a:pt x="66" y="52"/>
                    </a:lnTo>
                    <a:lnTo>
                      <a:pt x="64" y="52"/>
                    </a:lnTo>
                    <a:lnTo>
                      <a:pt x="58" y="55"/>
                    </a:lnTo>
                    <a:lnTo>
                      <a:pt x="56" y="57"/>
                    </a:lnTo>
                    <a:lnTo>
                      <a:pt x="56" y="59"/>
                    </a:lnTo>
                    <a:lnTo>
                      <a:pt x="54" y="61"/>
                    </a:lnTo>
                    <a:lnTo>
                      <a:pt x="54" y="61"/>
                    </a:lnTo>
                    <a:lnTo>
                      <a:pt x="54" y="63"/>
                    </a:lnTo>
                    <a:lnTo>
                      <a:pt x="54" y="73"/>
                    </a:lnTo>
                    <a:lnTo>
                      <a:pt x="50" y="78"/>
                    </a:lnTo>
                    <a:lnTo>
                      <a:pt x="50" y="80"/>
                    </a:lnTo>
                    <a:lnTo>
                      <a:pt x="52" y="84"/>
                    </a:lnTo>
                    <a:lnTo>
                      <a:pt x="52" y="86"/>
                    </a:lnTo>
                    <a:lnTo>
                      <a:pt x="52" y="90"/>
                    </a:lnTo>
                    <a:lnTo>
                      <a:pt x="50" y="92"/>
                    </a:lnTo>
                    <a:lnTo>
                      <a:pt x="48" y="98"/>
                    </a:lnTo>
                    <a:lnTo>
                      <a:pt x="48" y="102"/>
                    </a:lnTo>
                    <a:lnTo>
                      <a:pt x="50" y="102"/>
                    </a:lnTo>
                    <a:lnTo>
                      <a:pt x="52" y="102"/>
                    </a:lnTo>
                    <a:lnTo>
                      <a:pt x="54" y="102"/>
                    </a:lnTo>
                    <a:lnTo>
                      <a:pt x="60" y="102"/>
                    </a:lnTo>
                    <a:lnTo>
                      <a:pt x="62" y="102"/>
                    </a:lnTo>
                    <a:lnTo>
                      <a:pt x="67" y="105"/>
                    </a:lnTo>
                    <a:lnTo>
                      <a:pt x="66" y="107"/>
                    </a:lnTo>
                    <a:lnTo>
                      <a:pt x="64" y="107"/>
                    </a:lnTo>
                    <a:lnTo>
                      <a:pt x="58" y="109"/>
                    </a:lnTo>
                    <a:lnTo>
                      <a:pt x="52" y="113"/>
                    </a:lnTo>
                    <a:lnTo>
                      <a:pt x="50" y="115"/>
                    </a:lnTo>
                    <a:lnTo>
                      <a:pt x="48" y="117"/>
                    </a:lnTo>
                    <a:lnTo>
                      <a:pt x="48" y="117"/>
                    </a:lnTo>
                    <a:lnTo>
                      <a:pt x="48" y="121"/>
                    </a:lnTo>
                    <a:lnTo>
                      <a:pt x="48" y="125"/>
                    </a:lnTo>
                    <a:lnTo>
                      <a:pt x="46" y="125"/>
                    </a:lnTo>
                    <a:lnTo>
                      <a:pt x="44" y="128"/>
                    </a:lnTo>
                    <a:lnTo>
                      <a:pt x="44" y="130"/>
                    </a:lnTo>
                    <a:lnTo>
                      <a:pt x="44" y="132"/>
                    </a:lnTo>
                    <a:lnTo>
                      <a:pt x="44" y="134"/>
                    </a:lnTo>
                    <a:lnTo>
                      <a:pt x="46" y="134"/>
                    </a:lnTo>
                    <a:lnTo>
                      <a:pt x="62" y="134"/>
                    </a:lnTo>
                    <a:lnTo>
                      <a:pt x="67" y="132"/>
                    </a:lnTo>
                    <a:lnTo>
                      <a:pt x="67" y="132"/>
                    </a:lnTo>
                    <a:lnTo>
                      <a:pt x="69" y="130"/>
                    </a:lnTo>
                    <a:lnTo>
                      <a:pt x="77" y="125"/>
                    </a:lnTo>
                    <a:lnTo>
                      <a:pt x="79" y="125"/>
                    </a:lnTo>
                    <a:lnTo>
                      <a:pt x="83" y="125"/>
                    </a:lnTo>
                    <a:lnTo>
                      <a:pt x="85" y="125"/>
                    </a:lnTo>
                    <a:lnTo>
                      <a:pt x="85" y="128"/>
                    </a:lnTo>
                    <a:lnTo>
                      <a:pt x="85" y="130"/>
                    </a:lnTo>
                    <a:lnTo>
                      <a:pt x="85" y="130"/>
                    </a:lnTo>
                    <a:lnTo>
                      <a:pt x="83" y="134"/>
                    </a:lnTo>
                    <a:lnTo>
                      <a:pt x="81" y="144"/>
                    </a:lnTo>
                    <a:lnTo>
                      <a:pt x="81" y="146"/>
                    </a:lnTo>
                    <a:lnTo>
                      <a:pt x="83" y="148"/>
                    </a:lnTo>
                    <a:lnTo>
                      <a:pt x="85" y="150"/>
                    </a:lnTo>
                    <a:lnTo>
                      <a:pt x="83" y="151"/>
                    </a:lnTo>
                    <a:lnTo>
                      <a:pt x="79" y="163"/>
                    </a:lnTo>
                    <a:lnTo>
                      <a:pt x="77" y="163"/>
                    </a:lnTo>
                    <a:close/>
                    <a:moveTo>
                      <a:pt x="69" y="102"/>
                    </a:moveTo>
                    <a:lnTo>
                      <a:pt x="69" y="103"/>
                    </a:lnTo>
                    <a:lnTo>
                      <a:pt x="69" y="103"/>
                    </a:lnTo>
                    <a:lnTo>
                      <a:pt x="69" y="103"/>
                    </a:lnTo>
                    <a:lnTo>
                      <a:pt x="69" y="103"/>
                    </a:lnTo>
                    <a:lnTo>
                      <a:pt x="69" y="103"/>
                    </a:lnTo>
                    <a:lnTo>
                      <a:pt x="69" y="103"/>
                    </a:lnTo>
                    <a:lnTo>
                      <a:pt x="69" y="102"/>
                    </a:lnTo>
                    <a:lnTo>
                      <a:pt x="69" y="102"/>
                    </a:lnTo>
                    <a:lnTo>
                      <a:pt x="69" y="102"/>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1" name="Freeform 11">
                <a:extLst>
                  <a:ext uri="{FF2B5EF4-FFF2-40B4-BE49-F238E27FC236}">
                    <a16:creationId xmlns:a16="http://schemas.microsoft.com/office/drawing/2014/main" id="{05EC6664-305C-422D-8A00-6648CB3D4CE9}"/>
                  </a:ext>
                </a:extLst>
              </p:cNvPr>
              <p:cNvSpPr>
                <a:spLocks/>
              </p:cNvSpPr>
              <p:nvPr/>
            </p:nvSpPr>
            <p:spPr bwMode="gray">
              <a:xfrm>
                <a:off x="2685295" y="3327007"/>
                <a:ext cx="481289" cy="465457"/>
              </a:xfrm>
              <a:custGeom>
                <a:avLst/>
                <a:gdLst/>
                <a:ahLst/>
                <a:cxnLst>
                  <a:cxn ang="0">
                    <a:pos x="37" y="131"/>
                  </a:cxn>
                  <a:cxn ang="0">
                    <a:pos x="39" y="125"/>
                  </a:cxn>
                  <a:cxn ang="0">
                    <a:pos x="41" y="117"/>
                  </a:cxn>
                  <a:cxn ang="0">
                    <a:pos x="42" y="113"/>
                  </a:cxn>
                  <a:cxn ang="0">
                    <a:pos x="41" y="102"/>
                  </a:cxn>
                  <a:cxn ang="0">
                    <a:pos x="39" y="94"/>
                  </a:cxn>
                  <a:cxn ang="0">
                    <a:pos x="42" y="81"/>
                  </a:cxn>
                  <a:cxn ang="0">
                    <a:pos x="42" y="69"/>
                  </a:cxn>
                  <a:cxn ang="0">
                    <a:pos x="44" y="52"/>
                  </a:cxn>
                  <a:cxn ang="0">
                    <a:pos x="48" y="48"/>
                  </a:cxn>
                  <a:cxn ang="0">
                    <a:pos x="52" y="46"/>
                  </a:cxn>
                  <a:cxn ang="0">
                    <a:pos x="60" y="44"/>
                  </a:cxn>
                  <a:cxn ang="0">
                    <a:pos x="73" y="50"/>
                  </a:cxn>
                  <a:cxn ang="0">
                    <a:pos x="79" y="60"/>
                  </a:cxn>
                  <a:cxn ang="0">
                    <a:pos x="85" y="61"/>
                  </a:cxn>
                  <a:cxn ang="0">
                    <a:pos x="96" y="65"/>
                  </a:cxn>
                  <a:cxn ang="0">
                    <a:pos x="102" y="71"/>
                  </a:cxn>
                  <a:cxn ang="0">
                    <a:pos x="110" y="71"/>
                  </a:cxn>
                  <a:cxn ang="0">
                    <a:pos x="125" y="73"/>
                  </a:cxn>
                  <a:cxn ang="0">
                    <a:pos x="135" y="73"/>
                  </a:cxn>
                  <a:cxn ang="0">
                    <a:pos x="179" y="48"/>
                  </a:cxn>
                  <a:cxn ang="0">
                    <a:pos x="179" y="48"/>
                  </a:cxn>
                  <a:cxn ang="0">
                    <a:pos x="211" y="31"/>
                  </a:cxn>
                  <a:cxn ang="0">
                    <a:pos x="250" y="10"/>
                  </a:cxn>
                  <a:cxn ang="0">
                    <a:pos x="269" y="0"/>
                  </a:cxn>
                  <a:cxn ang="0">
                    <a:pos x="283" y="63"/>
                  </a:cxn>
                  <a:cxn ang="0">
                    <a:pos x="302" y="71"/>
                  </a:cxn>
                  <a:cxn ang="0">
                    <a:pos x="298" y="86"/>
                  </a:cxn>
                  <a:cxn ang="0">
                    <a:pos x="284" y="96"/>
                  </a:cxn>
                  <a:cxn ang="0">
                    <a:pos x="213" y="113"/>
                  </a:cxn>
                  <a:cxn ang="0">
                    <a:pos x="192" y="119"/>
                  </a:cxn>
                  <a:cxn ang="0">
                    <a:pos x="158" y="129"/>
                  </a:cxn>
                  <a:cxn ang="0">
                    <a:pos x="163" y="152"/>
                  </a:cxn>
                  <a:cxn ang="0">
                    <a:pos x="183" y="171"/>
                  </a:cxn>
                  <a:cxn ang="0">
                    <a:pos x="190" y="213"/>
                  </a:cxn>
                  <a:cxn ang="0">
                    <a:pos x="173" y="238"/>
                  </a:cxn>
                  <a:cxn ang="0">
                    <a:pos x="125" y="246"/>
                  </a:cxn>
                  <a:cxn ang="0">
                    <a:pos x="92" y="284"/>
                  </a:cxn>
                  <a:cxn ang="0">
                    <a:pos x="41" y="288"/>
                  </a:cxn>
                  <a:cxn ang="0">
                    <a:pos x="0" y="282"/>
                  </a:cxn>
                  <a:cxn ang="0">
                    <a:pos x="0" y="275"/>
                  </a:cxn>
                  <a:cxn ang="0">
                    <a:pos x="4" y="271"/>
                  </a:cxn>
                  <a:cxn ang="0">
                    <a:pos x="2" y="267"/>
                  </a:cxn>
                  <a:cxn ang="0">
                    <a:pos x="4" y="261"/>
                  </a:cxn>
                  <a:cxn ang="0">
                    <a:pos x="8" y="244"/>
                  </a:cxn>
                  <a:cxn ang="0">
                    <a:pos x="8" y="240"/>
                  </a:cxn>
                  <a:cxn ang="0">
                    <a:pos x="12" y="233"/>
                  </a:cxn>
                  <a:cxn ang="0">
                    <a:pos x="14" y="229"/>
                  </a:cxn>
                  <a:cxn ang="0">
                    <a:pos x="16" y="215"/>
                  </a:cxn>
                  <a:cxn ang="0">
                    <a:pos x="14" y="206"/>
                  </a:cxn>
                  <a:cxn ang="0">
                    <a:pos x="19" y="194"/>
                  </a:cxn>
                  <a:cxn ang="0">
                    <a:pos x="23" y="184"/>
                  </a:cxn>
                  <a:cxn ang="0">
                    <a:pos x="27" y="175"/>
                  </a:cxn>
                  <a:cxn ang="0">
                    <a:pos x="29" y="171"/>
                  </a:cxn>
                  <a:cxn ang="0">
                    <a:pos x="35" y="159"/>
                  </a:cxn>
                  <a:cxn ang="0">
                    <a:pos x="35" y="156"/>
                  </a:cxn>
                  <a:cxn ang="0">
                    <a:pos x="33" y="152"/>
                  </a:cxn>
                  <a:cxn ang="0">
                    <a:pos x="37" y="138"/>
                  </a:cxn>
                  <a:cxn ang="0">
                    <a:pos x="37" y="136"/>
                  </a:cxn>
                </a:cxnLst>
                <a:rect l="0" t="0" r="r" b="b"/>
                <a:pathLst>
                  <a:path w="304" h="294">
                    <a:moveTo>
                      <a:pt x="37" y="133"/>
                    </a:moveTo>
                    <a:lnTo>
                      <a:pt x="37" y="131"/>
                    </a:lnTo>
                    <a:lnTo>
                      <a:pt x="37" y="127"/>
                    </a:lnTo>
                    <a:lnTo>
                      <a:pt x="39" y="125"/>
                    </a:lnTo>
                    <a:lnTo>
                      <a:pt x="39" y="121"/>
                    </a:lnTo>
                    <a:lnTo>
                      <a:pt x="41" y="117"/>
                    </a:lnTo>
                    <a:lnTo>
                      <a:pt x="41" y="115"/>
                    </a:lnTo>
                    <a:lnTo>
                      <a:pt x="42" y="113"/>
                    </a:lnTo>
                    <a:lnTo>
                      <a:pt x="42" y="110"/>
                    </a:lnTo>
                    <a:lnTo>
                      <a:pt x="41" y="102"/>
                    </a:lnTo>
                    <a:lnTo>
                      <a:pt x="41" y="96"/>
                    </a:lnTo>
                    <a:lnTo>
                      <a:pt x="39" y="94"/>
                    </a:lnTo>
                    <a:lnTo>
                      <a:pt x="42" y="83"/>
                    </a:lnTo>
                    <a:lnTo>
                      <a:pt x="42" y="81"/>
                    </a:lnTo>
                    <a:lnTo>
                      <a:pt x="42" y="71"/>
                    </a:lnTo>
                    <a:lnTo>
                      <a:pt x="42" y="69"/>
                    </a:lnTo>
                    <a:lnTo>
                      <a:pt x="42" y="69"/>
                    </a:lnTo>
                    <a:lnTo>
                      <a:pt x="44" y="52"/>
                    </a:lnTo>
                    <a:lnTo>
                      <a:pt x="46" y="50"/>
                    </a:lnTo>
                    <a:lnTo>
                      <a:pt x="48" y="48"/>
                    </a:lnTo>
                    <a:lnTo>
                      <a:pt x="48" y="48"/>
                    </a:lnTo>
                    <a:lnTo>
                      <a:pt x="52" y="46"/>
                    </a:lnTo>
                    <a:lnTo>
                      <a:pt x="56" y="44"/>
                    </a:lnTo>
                    <a:lnTo>
                      <a:pt x="60" y="44"/>
                    </a:lnTo>
                    <a:lnTo>
                      <a:pt x="69" y="46"/>
                    </a:lnTo>
                    <a:lnTo>
                      <a:pt x="73" y="50"/>
                    </a:lnTo>
                    <a:lnTo>
                      <a:pt x="75" y="54"/>
                    </a:lnTo>
                    <a:lnTo>
                      <a:pt x="79" y="60"/>
                    </a:lnTo>
                    <a:lnTo>
                      <a:pt x="83" y="60"/>
                    </a:lnTo>
                    <a:lnTo>
                      <a:pt x="85" y="61"/>
                    </a:lnTo>
                    <a:lnTo>
                      <a:pt x="87" y="60"/>
                    </a:lnTo>
                    <a:lnTo>
                      <a:pt x="96" y="65"/>
                    </a:lnTo>
                    <a:lnTo>
                      <a:pt x="98" y="67"/>
                    </a:lnTo>
                    <a:lnTo>
                      <a:pt x="102" y="71"/>
                    </a:lnTo>
                    <a:lnTo>
                      <a:pt x="108" y="71"/>
                    </a:lnTo>
                    <a:lnTo>
                      <a:pt x="110" y="71"/>
                    </a:lnTo>
                    <a:lnTo>
                      <a:pt x="119" y="73"/>
                    </a:lnTo>
                    <a:lnTo>
                      <a:pt x="125" y="73"/>
                    </a:lnTo>
                    <a:lnTo>
                      <a:pt x="133" y="75"/>
                    </a:lnTo>
                    <a:lnTo>
                      <a:pt x="135" y="73"/>
                    </a:lnTo>
                    <a:lnTo>
                      <a:pt x="154" y="61"/>
                    </a:lnTo>
                    <a:lnTo>
                      <a:pt x="179" y="48"/>
                    </a:lnTo>
                    <a:lnTo>
                      <a:pt x="179" y="48"/>
                    </a:lnTo>
                    <a:lnTo>
                      <a:pt x="179" y="48"/>
                    </a:lnTo>
                    <a:lnTo>
                      <a:pt x="187" y="44"/>
                    </a:lnTo>
                    <a:lnTo>
                      <a:pt x="211" y="31"/>
                    </a:lnTo>
                    <a:lnTo>
                      <a:pt x="236" y="17"/>
                    </a:lnTo>
                    <a:lnTo>
                      <a:pt x="250" y="10"/>
                    </a:lnTo>
                    <a:lnTo>
                      <a:pt x="261" y="4"/>
                    </a:lnTo>
                    <a:lnTo>
                      <a:pt x="269" y="0"/>
                    </a:lnTo>
                    <a:lnTo>
                      <a:pt x="290" y="61"/>
                    </a:lnTo>
                    <a:lnTo>
                      <a:pt x="283" y="63"/>
                    </a:lnTo>
                    <a:lnTo>
                      <a:pt x="286" y="75"/>
                    </a:lnTo>
                    <a:lnTo>
                      <a:pt x="302" y="71"/>
                    </a:lnTo>
                    <a:lnTo>
                      <a:pt x="304" y="81"/>
                    </a:lnTo>
                    <a:lnTo>
                      <a:pt x="298" y="86"/>
                    </a:lnTo>
                    <a:lnTo>
                      <a:pt x="288" y="92"/>
                    </a:lnTo>
                    <a:lnTo>
                      <a:pt x="284" y="96"/>
                    </a:lnTo>
                    <a:lnTo>
                      <a:pt x="248" y="106"/>
                    </a:lnTo>
                    <a:lnTo>
                      <a:pt x="213" y="113"/>
                    </a:lnTo>
                    <a:lnTo>
                      <a:pt x="211" y="115"/>
                    </a:lnTo>
                    <a:lnTo>
                      <a:pt x="192" y="119"/>
                    </a:lnTo>
                    <a:lnTo>
                      <a:pt x="177" y="123"/>
                    </a:lnTo>
                    <a:lnTo>
                      <a:pt x="158" y="129"/>
                    </a:lnTo>
                    <a:lnTo>
                      <a:pt x="144" y="131"/>
                    </a:lnTo>
                    <a:lnTo>
                      <a:pt x="163" y="152"/>
                    </a:lnTo>
                    <a:lnTo>
                      <a:pt x="177" y="165"/>
                    </a:lnTo>
                    <a:lnTo>
                      <a:pt x="183" y="171"/>
                    </a:lnTo>
                    <a:lnTo>
                      <a:pt x="213" y="202"/>
                    </a:lnTo>
                    <a:lnTo>
                      <a:pt x="190" y="213"/>
                    </a:lnTo>
                    <a:lnTo>
                      <a:pt x="179" y="236"/>
                    </a:lnTo>
                    <a:lnTo>
                      <a:pt x="173" y="238"/>
                    </a:lnTo>
                    <a:lnTo>
                      <a:pt x="146" y="242"/>
                    </a:lnTo>
                    <a:lnTo>
                      <a:pt x="125" y="246"/>
                    </a:lnTo>
                    <a:lnTo>
                      <a:pt x="108" y="271"/>
                    </a:lnTo>
                    <a:lnTo>
                      <a:pt x="92" y="284"/>
                    </a:lnTo>
                    <a:lnTo>
                      <a:pt x="79" y="294"/>
                    </a:lnTo>
                    <a:lnTo>
                      <a:pt x="41" y="288"/>
                    </a:lnTo>
                    <a:lnTo>
                      <a:pt x="16" y="284"/>
                    </a:lnTo>
                    <a:lnTo>
                      <a:pt x="0" y="282"/>
                    </a:lnTo>
                    <a:lnTo>
                      <a:pt x="0" y="281"/>
                    </a:lnTo>
                    <a:lnTo>
                      <a:pt x="0" y="275"/>
                    </a:lnTo>
                    <a:lnTo>
                      <a:pt x="2" y="273"/>
                    </a:lnTo>
                    <a:lnTo>
                      <a:pt x="4" y="271"/>
                    </a:lnTo>
                    <a:lnTo>
                      <a:pt x="2" y="269"/>
                    </a:lnTo>
                    <a:lnTo>
                      <a:pt x="2" y="267"/>
                    </a:lnTo>
                    <a:lnTo>
                      <a:pt x="2" y="267"/>
                    </a:lnTo>
                    <a:lnTo>
                      <a:pt x="4" y="261"/>
                    </a:lnTo>
                    <a:lnTo>
                      <a:pt x="8" y="246"/>
                    </a:lnTo>
                    <a:lnTo>
                      <a:pt x="8" y="244"/>
                    </a:lnTo>
                    <a:lnTo>
                      <a:pt x="8" y="242"/>
                    </a:lnTo>
                    <a:lnTo>
                      <a:pt x="8" y="240"/>
                    </a:lnTo>
                    <a:lnTo>
                      <a:pt x="10" y="234"/>
                    </a:lnTo>
                    <a:lnTo>
                      <a:pt x="12" y="233"/>
                    </a:lnTo>
                    <a:lnTo>
                      <a:pt x="14" y="231"/>
                    </a:lnTo>
                    <a:lnTo>
                      <a:pt x="14" y="229"/>
                    </a:lnTo>
                    <a:lnTo>
                      <a:pt x="16" y="227"/>
                    </a:lnTo>
                    <a:lnTo>
                      <a:pt x="16" y="215"/>
                    </a:lnTo>
                    <a:lnTo>
                      <a:pt x="14" y="208"/>
                    </a:lnTo>
                    <a:lnTo>
                      <a:pt x="14" y="206"/>
                    </a:lnTo>
                    <a:lnTo>
                      <a:pt x="18" y="196"/>
                    </a:lnTo>
                    <a:lnTo>
                      <a:pt x="19" y="194"/>
                    </a:lnTo>
                    <a:lnTo>
                      <a:pt x="21" y="188"/>
                    </a:lnTo>
                    <a:lnTo>
                      <a:pt x="23" y="184"/>
                    </a:lnTo>
                    <a:lnTo>
                      <a:pt x="25" y="183"/>
                    </a:lnTo>
                    <a:lnTo>
                      <a:pt x="27" y="175"/>
                    </a:lnTo>
                    <a:lnTo>
                      <a:pt x="29" y="173"/>
                    </a:lnTo>
                    <a:lnTo>
                      <a:pt x="29" y="171"/>
                    </a:lnTo>
                    <a:lnTo>
                      <a:pt x="31" y="171"/>
                    </a:lnTo>
                    <a:lnTo>
                      <a:pt x="35" y="159"/>
                    </a:lnTo>
                    <a:lnTo>
                      <a:pt x="37" y="158"/>
                    </a:lnTo>
                    <a:lnTo>
                      <a:pt x="35" y="156"/>
                    </a:lnTo>
                    <a:lnTo>
                      <a:pt x="33" y="154"/>
                    </a:lnTo>
                    <a:lnTo>
                      <a:pt x="33" y="152"/>
                    </a:lnTo>
                    <a:lnTo>
                      <a:pt x="35" y="142"/>
                    </a:lnTo>
                    <a:lnTo>
                      <a:pt x="37" y="138"/>
                    </a:lnTo>
                    <a:lnTo>
                      <a:pt x="37" y="138"/>
                    </a:lnTo>
                    <a:lnTo>
                      <a:pt x="37" y="136"/>
                    </a:lnTo>
                    <a:lnTo>
                      <a:pt x="37" y="133"/>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2" name="Freeform 14">
                <a:extLst>
                  <a:ext uri="{FF2B5EF4-FFF2-40B4-BE49-F238E27FC236}">
                    <a16:creationId xmlns:a16="http://schemas.microsoft.com/office/drawing/2014/main" id="{16E66C3C-7033-4899-8B8C-A6184D21922B}"/>
                  </a:ext>
                </a:extLst>
              </p:cNvPr>
              <p:cNvSpPr>
                <a:spLocks noEditPoints="1"/>
              </p:cNvSpPr>
              <p:nvPr/>
            </p:nvSpPr>
            <p:spPr bwMode="gray">
              <a:xfrm>
                <a:off x="2678962" y="3421998"/>
                <a:ext cx="72827" cy="129821"/>
              </a:xfrm>
              <a:custGeom>
                <a:avLst/>
                <a:gdLst/>
                <a:ahLst/>
                <a:cxnLst>
                  <a:cxn ang="0">
                    <a:pos x="43" y="34"/>
                  </a:cxn>
                  <a:cxn ang="0">
                    <a:pos x="45" y="42"/>
                  </a:cxn>
                  <a:cxn ang="0">
                    <a:pos x="46" y="53"/>
                  </a:cxn>
                  <a:cxn ang="0">
                    <a:pos x="45" y="57"/>
                  </a:cxn>
                  <a:cxn ang="0">
                    <a:pos x="43" y="65"/>
                  </a:cxn>
                  <a:cxn ang="0">
                    <a:pos x="41" y="71"/>
                  </a:cxn>
                  <a:cxn ang="0">
                    <a:pos x="39" y="73"/>
                  </a:cxn>
                  <a:cxn ang="0">
                    <a:pos x="33" y="73"/>
                  </a:cxn>
                  <a:cxn ang="0">
                    <a:pos x="23" y="80"/>
                  </a:cxn>
                  <a:cxn ang="0">
                    <a:pos x="18" y="82"/>
                  </a:cxn>
                  <a:cxn ang="0">
                    <a:pos x="0" y="82"/>
                  </a:cxn>
                  <a:cxn ang="0">
                    <a:pos x="0" y="78"/>
                  </a:cxn>
                  <a:cxn ang="0">
                    <a:pos x="2" y="73"/>
                  </a:cxn>
                  <a:cxn ang="0">
                    <a:pos x="4" y="69"/>
                  </a:cxn>
                  <a:cxn ang="0">
                    <a:pos x="4" y="65"/>
                  </a:cxn>
                  <a:cxn ang="0">
                    <a:pos x="8" y="61"/>
                  </a:cxn>
                  <a:cxn ang="0">
                    <a:pos x="20" y="55"/>
                  </a:cxn>
                  <a:cxn ang="0">
                    <a:pos x="23" y="53"/>
                  </a:cxn>
                  <a:cxn ang="0">
                    <a:pos x="16" y="50"/>
                  </a:cxn>
                  <a:cxn ang="0">
                    <a:pos x="8" y="50"/>
                  </a:cxn>
                  <a:cxn ang="0">
                    <a:pos x="4" y="50"/>
                  </a:cxn>
                  <a:cxn ang="0">
                    <a:pos x="6" y="40"/>
                  </a:cxn>
                  <a:cxn ang="0">
                    <a:pos x="8" y="34"/>
                  </a:cxn>
                  <a:cxn ang="0">
                    <a:pos x="6" y="28"/>
                  </a:cxn>
                  <a:cxn ang="0">
                    <a:pos x="10" y="21"/>
                  </a:cxn>
                  <a:cxn ang="0">
                    <a:pos x="10" y="9"/>
                  </a:cxn>
                  <a:cxn ang="0">
                    <a:pos x="12" y="7"/>
                  </a:cxn>
                  <a:cxn ang="0">
                    <a:pos x="14" y="3"/>
                  </a:cxn>
                  <a:cxn ang="0">
                    <a:pos x="22" y="0"/>
                  </a:cxn>
                  <a:cxn ang="0">
                    <a:pos x="27" y="1"/>
                  </a:cxn>
                  <a:cxn ang="0">
                    <a:pos x="31" y="0"/>
                  </a:cxn>
                  <a:cxn ang="0">
                    <a:pos x="37" y="3"/>
                  </a:cxn>
                  <a:cxn ang="0">
                    <a:pos x="46" y="9"/>
                  </a:cxn>
                  <a:cxn ang="0">
                    <a:pos x="46" y="21"/>
                  </a:cxn>
                  <a:cxn ang="0">
                    <a:pos x="25" y="50"/>
                  </a:cxn>
                  <a:cxn ang="0">
                    <a:pos x="25" y="50"/>
                  </a:cxn>
                  <a:cxn ang="0">
                    <a:pos x="25" y="51"/>
                  </a:cxn>
                  <a:cxn ang="0">
                    <a:pos x="25" y="51"/>
                  </a:cxn>
                  <a:cxn ang="0">
                    <a:pos x="25" y="51"/>
                  </a:cxn>
                </a:cxnLst>
                <a:rect l="0" t="0" r="r" b="b"/>
                <a:pathLst>
                  <a:path w="46" h="82">
                    <a:moveTo>
                      <a:pt x="46" y="23"/>
                    </a:moveTo>
                    <a:lnTo>
                      <a:pt x="43" y="34"/>
                    </a:lnTo>
                    <a:lnTo>
                      <a:pt x="45" y="36"/>
                    </a:lnTo>
                    <a:lnTo>
                      <a:pt x="45" y="42"/>
                    </a:lnTo>
                    <a:lnTo>
                      <a:pt x="46" y="50"/>
                    </a:lnTo>
                    <a:lnTo>
                      <a:pt x="46" y="53"/>
                    </a:lnTo>
                    <a:lnTo>
                      <a:pt x="45" y="55"/>
                    </a:lnTo>
                    <a:lnTo>
                      <a:pt x="45" y="57"/>
                    </a:lnTo>
                    <a:lnTo>
                      <a:pt x="43" y="61"/>
                    </a:lnTo>
                    <a:lnTo>
                      <a:pt x="43" y="65"/>
                    </a:lnTo>
                    <a:lnTo>
                      <a:pt x="41" y="67"/>
                    </a:lnTo>
                    <a:lnTo>
                      <a:pt x="41" y="71"/>
                    </a:lnTo>
                    <a:lnTo>
                      <a:pt x="41" y="73"/>
                    </a:lnTo>
                    <a:lnTo>
                      <a:pt x="39" y="73"/>
                    </a:lnTo>
                    <a:lnTo>
                      <a:pt x="35" y="73"/>
                    </a:lnTo>
                    <a:lnTo>
                      <a:pt x="33" y="73"/>
                    </a:lnTo>
                    <a:lnTo>
                      <a:pt x="25" y="78"/>
                    </a:lnTo>
                    <a:lnTo>
                      <a:pt x="23" y="80"/>
                    </a:lnTo>
                    <a:lnTo>
                      <a:pt x="23" y="80"/>
                    </a:lnTo>
                    <a:lnTo>
                      <a:pt x="18" y="82"/>
                    </a:lnTo>
                    <a:lnTo>
                      <a:pt x="2" y="82"/>
                    </a:lnTo>
                    <a:lnTo>
                      <a:pt x="0" y="82"/>
                    </a:lnTo>
                    <a:lnTo>
                      <a:pt x="0" y="80"/>
                    </a:lnTo>
                    <a:lnTo>
                      <a:pt x="0" y="78"/>
                    </a:lnTo>
                    <a:lnTo>
                      <a:pt x="0" y="76"/>
                    </a:lnTo>
                    <a:lnTo>
                      <a:pt x="2" y="73"/>
                    </a:lnTo>
                    <a:lnTo>
                      <a:pt x="4" y="73"/>
                    </a:lnTo>
                    <a:lnTo>
                      <a:pt x="4" y="69"/>
                    </a:lnTo>
                    <a:lnTo>
                      <a:pt x="4" y="65"/>
                    </a:lnTo>
                    <a:lnTo>
                      <a:pt x="4" y="65"/>
                    </a:lnTo>
                    <a:lnTo>
                      <a:pt x="6" y="63"/>
                    </a:lnTo>
                    <a:lnTo>
                      <a:pt x="8" y="61"/>
                    </a:lnTo>
                    <a:lnTo>
                      <a:pt x="14" y="57"/>
                    </a:lnTo>
                    <a:lnTo>
                      <a:pt x="20" y="55"/>
                    </a:lnTo>
                    <a:lnTo>
                      <a:pt x="22" y="55"/>
                    </a:lnTo>
                    <a:lnTo>
                      <a:pt x="23" y="53"/>
                    </a:lnTo>
                    <a:lnTo>
                      <a:pt x="18" y="50"/>
                    </a:lnTo>
                    <a:lnTo>
                      <a:pt x="16" y="50"/>
                    </a:lnTo>
                    <a:lnTo>
                      <a:pt x="10" y="50"/>
                    </a:lnTo>
                    <a:lnTo>
                      <a:pt x="8" y="50"/>
                    </a:lnTo>
                    <a:lnTo>
                      <a:pt x="6" y="50"/>
                    </a:lnTo>
                    <a:lnTo>
                      <a:pt x="4" y="50"/>
                    </a:lnTo>
                    <a:lnTo>
                      <a:pt x="4" y="46"/>
                    </a:lnTo>
                    <a:lnTo>
                      <a:pt x="6" y="40"/>
                    </a:lnTo>
                    <a:lnTo>
                      <a:pt x="8" y="38"/>
                    </a:lnTo>
                    <a:lnTo>
                      <a:pt x="8" y="34"/>
                    </a:lnTo>
                    <a:lnTo>
                      <a:pt x="8" y="32"/>
                    </a:lnTo>
                    <a:lnTo>
                      <a:pt x="6" y="28"/>
                    </a:lnTo>
                    <a:lnTo>
                      <a:pt x="6" y="26"/>
                    </a:lnTo>
                    <a:lnTo>
                      <a:pt x="10" y="21"/>
                    </a:lnTo>
                    <a:lnTo>
                      <a:pt x="10" y="11"/>
                    </a:lnTo>
                    <a:lnTo>
                      <a:pt x="10" y="9"/>
                    </a:lnTo>
                    <a:lnTo>
                      <a:pt x="10" y="9"/>
                    </a:lnTo>
                    <a:lnTo>
                      <a:pt x="12" y="7"/>
                    </a:lnTo>
                    <a:lnTo>
                      <a:pt x="12" y="5"/>
                    </a:lnTo>
                    <a:lnTo>
                      <a:pt x="14" y="3"/>
                    </a:lnTo>
                    <a:lnTo>
                      <a:pt x="20" y="0"/>
                    </a:lnTo>
                    <a:lnTo>
                      <a:pt x="22" y="0"/>
                    </a:lnTo>
                    <a:lnTo>
                      <a:pt x="25" y="0"/>
                    </a:lnTo>
                    <a:lnTo>
                      <a:pt x="27" y="1"/>
                    </a:lnTo>
                    <a:lnTo>
                      <a:pt x="29" y="1"/>
                    </a:lnTo>
                    <a:lnTo>
                      <a:pt x="31" y="0"/>
                    </a:lnTo>
                    <a:lnTo>
                      <a:pt x="37" y="1"/>
                    </a:lnTo>
                    <a:lnTo>
                      <a:pt x="37" y="3"/>
                    </a:lnTo>
                    <a:lnTo>
                      <a:pt x="41" y="7"/>
                    </a:lnTo>
                    <a:lnTo>
                      <a:pt x="46" y="9"/>
                    </a:lnTo>
                    <a:lnTo>
                      <a:pt x="46" y="11"/>
                    </a:lnTo>
                    <a:lnTo>
                      <a:pt x="46" y="21"/>
                    </a:lnTo>
                    <a:lnTo>
                      <a:pt x="46" y="23"/>
                    </a:lnTo>
                    <a:moveTo>
                      <a:pt x="25" y="50"/>
                    </a:moveTo>
                    <a:lnTo>
                      <a:pt x="25" y="50"/>
                    </a:lnTo>
                    <a:lnTo>
                      <a:pt x="25" y="50"/>
                    </a:lnTo>
                    <a:lnTo>
                      <a:pt x="25" y="51"/>
                    </a:lnTo>
                    <a:lnTo>
                      <a:pt x="25" y="51"/>
                    </a:lnTo>
                    <a:lnTo>
                      <a:pt x="25" y="51"/>
                    </a:lnTo>
                    <a:lnTo>
                      <a:pt x="25" y="51"/>
                    </a:lnTo>
                    <a:lnTo>
                      <a:pt x="25" y="51"/>
                    </a:lnTo>
                    <a:lnTo>
                      <a:pt x="25" y="51"/>
                    </a:lnTo>
                    <a:lnTo>
                      <a:pt x="25" y="50"/>
                    </a:lnTo>
                  </a:path>
                </a:pathLst>
              </a:custGeom>
              <a:grpFill/>
              <a:ln w="3175">
                <a:solidFill>
                  <a:sysClr val="window" lastClr="FFFFFF">
                    <a:lumMod val="7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3" name="Freeform 15">
                <a:extLst>
                  <a:ext uri="{FF2B5EF4-FFF2-40B4-BE49-F238E27FC236}">
                    <a16:creationId xmlns:a16="http://schemas.microsoft.com/office/drawing/2014/main" id="{2D2FFD74-2E1B-46C7-BE4D-34D8BD477579}"/>
                  </a:ext>
                </a:extLst>
              </p:cNvPr>
              <p:cNvSpPr>
                <a:spLocks/>
              </p:cNvSpPr>
              <p:nvPr/>
            </p:nvSpPr>
            <p:spPr bwMode="gray">
              <a:xfrm>
                <a:off x="1548567" y="3518573"/>
                <a:ext cx="1353625" cy="1070234"/>
              </a:xfrm>
              <a:custGeom>
                <a:avLst/>
                <a:gdLst/>
                <a:ahLst/>
                <a:cxnLst>
                  <a:cxn ang="0">
                    <a:pos x="526" y="27"/>
                  </a:cxn>
                  <a:cxn ang="0">
                    <a:pos x="561" y="44"/>
                  </a:cxn>
                  <a:cxn ang="0">
                    <a:pos x="613" y="37"/>
                  </a:cxn>
                  <a:cxn ang="0">
                    <a:pos x="647" y="33"/>
                  </a:cxn>
                  <a:cxn ang="0">
                    <a:pos x="691" y="83"/>
                  </a:cxn>
                  <a:cxn ang="0">
                    <a:pos x="712" y="148"/>
                  </a:cxn>
                  <a:cxn ang="0">
                    <a:pos x="693" y="208"/>
                  </a:cxn>
                  <a:cxn ang="0">
                    <a:pos x="682" y="258"/>
                  </a:cxn>
                  <a:cxn ang="0">
                    <a:pos x="649" y="263"/>
                  </a:cxn>
                  <a:cxn ang="0">
                    <a:pos x="611" y="229"/>
                  </a:cxn>
                  <a:cxn ang="0">
                    <a:pos x="578" y="171"/>
                  </a:cxn>
                  <a:cxn ang="0">
                    <a:pos x="553" y="129"/>
                  </a:cxn>
                  <a:cxn ang="0">
                    <a:pos x="536" y="138"/>
                  </a:cxn>
                  <a:cxn ang="0">
                    <a:pos x="557" y="179"/>
                  </a:cxn>
                  <a:cxn ang="0">
                    <a:pos x="570" y="208"/>
                  </a:cxn>
                  <a:cxn ang="0">
                    <a:pos x="611" y="254"/>
                  </a:cxn>
                  <a:cxn ang="0">
                    <a:pos x="618" y="267"/>
                  </a:cxn>
                  <a:cxn ang="0">
                    <a:pos x="632" y="306"/>
                  </a:cxn>
                  <a:cxn ang="0">
                    <a:pos x="647" y="348"/>
                  </a:cxn>
                  <a:cxn ang="0">
                    <a:pos x="666" y="382"/>
                  </a:cxn>
                  <a:cxn ang="0">
                    <a:pos x="705" y="446"/>
                  </a:cxn>
                  <a:cxn ang="0">
                    <a:pos x="737" y="507"/>
                  </a:cxn>
                  <a:cxn ang="0">
                    <a:pos x="772" y="536"/>
                  </a:cxn>
                  <a:cxn ang="0">
                    <a:pos x="757" y="553"/>
                  </a:cxn>
                  <a:cxn ang="0">
                    <a:pos x="762" y="592"/>
                  </a:cxn>
                  <a:cxn ang="0">
                    <a:pos x="793" y="628"/>
                  </a:cxn>
                  <a:cxn ang="0">
                    <a:pos x="830" y="655"/>
                  </a:cxn>
                  <a:cxn ang="0">
                    <a:pos x="839" y="676"/>
                  </a:cxn>
                  <a:cxn ang="0">
                    <a:pos x="732" y="676"/>
                  </a:cxn>
                  <a:cxn ang="0">
                    <a:pos x="649" y="676"/>
                  </a:cxn>
                  <a:cxn ang="0">
                    <a:pos x="542" y="676"/>
                  </a:cxn>
                  <a:cxn ang="0">
                    <a:pos x="474" y="661"/>
                  </a:cxn>
                  <a:cxn ang="0">
                    <a:pos x="421" y="676"/>
                  </a:cxn>
                  <a:cxn ang="0">
                    <a:pos x="313" y="676"/>
                  </a:cxn>
                  <a:cxn ang="0">
                    <a:pos x="211" y="676"/>
                  </a:cxn>
                  <a:cxn ang="0">
                    <a:pos x="138" y="676"/>
                  </a:cxn>
                  <a:cxn ang="0">
                    <a:pos x="21" y="565"/>
                  </a:cxn>
                  <a:cxn ang="0">
                    <a:pos x="21" y="331"/>
                  </a:cxn>
                  <a:cxn ang="0">
                    <a:pos x="21" y="236"/>
                  </a:cxn>
                  <a:cxn ang="0">
                    <a:pos x="10" y="121"/>
                  </a:cxn>
                  <a:cxn ang="0">
                    <a:pos x="11" y="88"/>
                  </a:cxn>
                  <a:cxn ang="0">
                    <a:pos x="13" y="17"/>
                  </a:cxn>
                  <a:cxn ang="0">
                    <a:pos x="33" y="2"/>
                  </a:cxn>
                  <a:cxn ang="0">
                    <a:pos x="88" y="2"/>
                  </a:cxn>
                  <a:cxn ang="0">
                    <a:pos x="146" y="14"/>
                  </a:cxn>
                  <a:cxn ang="0">
                    <a:pos x="188" y="27"/>
                  </a:cxn>
                  <a:cxn ang="0">
                    <a:pos x="223" y="33"/>
                  </a:cxn>
                  <a:cxn ang="0">
                    <a:pos x="282" y="46"/>
                  </a:cxn>
                  <a:cxn ang="0">
                    <a:pos x="313" y="58"/>
                  </a:cxn>
                  <a:cxn ang="0">
                    <a:pos x="349" y="40"/>
                  </a:cxn>
                  <a:cxn ang="0">
                    <a:pos x="392" y="27"/>
                  </a:cxn>
                  <a:cxn ang="0">
                    <a:pos x="407" y="14"/>
                  </a:cxn>
                  <a:cxn ang="0">
                    <a:pos x="411" y="15"/>
                  </a:cxn>
                  <a:cxn ang="0">
                    <a:pos x="446" y="6"/>
                  </a:cxn>
                  <a:cxn ang="0">
                    <a:pos x="467" y="10"/>
                  </a:cxn>
                  <a:cxn ang="0">
                    <a:pos x="503" y="8"/>
                  </a:cxn>
                  <a:cxn ang="0">
                    <a:pos x="526" y="25"/>
                  </a:cxn>
                  <a:cxn ang="0">
                    <a:pos x="501" y="10"/>
                  </a:cxn>
                  <a:cxn ang="0">
                    <a:pos x="515" y="37"/>
                  </a:cxn>
                </a:cxnLst>
                <a:rect l="0" t="0" r="r" b="b"/>
                <a:pathLst>
                  <a:path w="855" h="676">
                    <a:moveTo>
                      <a:pt x="520" y="40"/>
                    </a:moveTo>
                    <a:lnTo>
                      <a:pt x="520" y="38"/>
                    </a:lnTo>
                    <a:lnTo>
                      <a:pt x="524" y="37"/>
                    </a:lnTo>
                    <a:lnTo>
                      <a:pt x="528" y="38"/>
                    </a:lnTo>
                    <a:lnTo>
                      <a:pt x="530" y="37"/>
                    </a:lnTo>
                    <a:lnTo>
                      <a:pt x="532" y="35"/>
                    </a:lnTo>
                    <a:lnTo>
                      <a:pt x="532" y="31"/>
                    </a:lnTo>
                    <a:lnTo>
                      <a:pt x="530" y="27"/>
                    </a:lnTo>
                    <a:lnTo>
                      <a:pt x="528" y="27"/>
                    </a:lnTo>
                    <a:lnTo>
                      <a:pt x="526" y="27"/>
                    </a:lnTo>
                    <a:lnTo>
                      <a:pt x="530" y="27"/>
                    </a:lnTo>
                    <a:lnTo>
                      <a:pt x="534" y="27"/>
                    </a:lnTo>
                    <a:lnTo>
                      <a:pt x="540" y="31"/>
                    </a:lnTo>
                    <a:lnTo>
                      <a:pt x="543" y="35"/>
                    </a:lnTo>
                    <a:lnTo>
                      <a:pt x="545" y="37"/>
                    </a:lnTo>
                    <a:lnTo>
                      <a:pt x="545" y="38"/>
                    </a:lnTo>
                    <a:lnTo>
                      <a:pt x="549" y="40"/>
                    </a:lnTo>
                    <a:lnTo>
                      <a:pt x="553" y="42"/>
                    </a:lnTo>
                    <a:lnTo>
                      <a:pt x="559" y="42"/>
                    </a:lnTo>
                    <a:lnTo>
                      <a:pt x="561" y="44"/>
                    </a:lnTo>
                    <a:lnTo>
                      <a:pt x="567" y="42"/>
                    </a:lnTo>
                    <a:lnTo>
                      <a:pt x="584" y="35"/>
                    </a:lnTo>
                    <a:lnTo>
                      <a:pt x="590" y="33"/>
                    </a:lnTo>
                    <a:lnTo>
                      <a:pt x="591" y="38"/>
                    </a:lnTo>
                    <a:lnTo>
                      <a:pt x="591" y="42"/>
                    </a:lnTo>
                    <a:lnTo>
                      <a:pt x="595" y="40"/>
                    </a:lnTo>
                    <a:lnTo>
                      <a:pt x="599" y="40"/>
                    </a:lnTo>
                    <a:lnTo>
                      <a:pt x="603" y="38"/>
                    </a:lnTo>
                    <a:lnTo>
                      <a:pt x="611" y="35"/>
                    </a:lnTo>
                    <a:lnTo>
                      <a:pt x="613" y="37"/>
                    </a:lnTo>
                    <a:lnTo>
                      <a:pt x="615" y="37"/>
                    </a:lnTo>
                    <a:lnTo>
                      <a:pt x="618" y="38"/>
                    </a:lnTo>
                    <a:lnTo>
                      <a:pt x="622" y="38"/>
                    </a:lnTo>
                    <a:lnTo>
                      <a:pt x="624" y="38"/>
                    </a:lnTo>
                    <a:lnTo>
                      <a:pt x="626" y="38"/>
                    </a:lnTo>
                    <a:lnTo>
                      <a:pt x="628" y="38"/>
                    </a:lnTo>
                    <a:lnTo>
                      <a:pt x="634" y="37"/>
                    </a:lnTo>
                    <a:lnTo>
                      <a:pt x="638" y="35"/>
                    </a:lnTo>
                    <a:lnTo>
                      <a:pt x="643" y="35"/>
                    </a:lnTo>
                    <a:lnTo>
                      <a:pt x="647" y="33"/>
                    </a:lnTo>
                    <a:lnTo>
                      <a:pt x="651" y="33"/>
                    </a:lnTo>
                    <a:lnTo>
                      <a:pt x="655" y="31"/>
                    </a:lnTo>
                    <a:lnTo>
                      <a:pt x="659" y="29"/>
                    </a:lnTo>
                    <a:lnTo>
                      <a:pt x="666" y="23"/>
                    </a:lnTo>
                    <a:lnTo>
                      <a:pt x="668" y="25"/>
                    </a:lnTo>
                    <a:lnTo>
                      <a:pt x="670" y="31"/>
                    </a:lnTo>
                    <a:lnTo>
                      <a:pt x="672" y="35"/>
                    </a:lnTo>
                    <a:lnTo>
                      <a:pt x="680" y="56"/>
                    </a:lnTo>
                    <a:lnTo>
                      <a:pt x="686" y="67"/>
                    </a:lnTo>
                    <a:lnTo>
                      <a:pt x="691" y="83"/>
                    </a:lnTo>
                    <a:lnTo>
                      <a:pt x="689" y="85"/>
                    </a:lnTo>
                    <a:lnTo>
                      <a:pt x="689" y="88"/>
                    </a:lnTo>
                    <a:lnTo>
                      <a:pt x="695" y="90"/>
                    </a:lnTo>
                    <a:lnTo>
                      <a:pt x="703" y="110"/>
                    </a:lnTo>
                    <a:lnTo>
                      <a:pt x="705" y="117"/>
                    </a:lnTo>
                    <a:lnTo>
                      <a:pt x="711" y="135"/>
                    </a:lnTo>
                    <a:lnTo>
                      <a:pt x="712" y="140"/>
                    </a:lnTo>
                    <a:lnTo>
                      <a:pt x="712" y="142"/>
                    </a:lnTo>
                    <a:lnTo>
                      <a:pt x="712" y="144"/>
                    </a:lnTo>
                    <a:lnTo>
                      <a:pt x="712" y="148"/>
                    </a:lnTo>
                    <a:lnTo>
                      <a:pt x="714" y="152"/>
                    </a:lnTo>
                    <a:lnTo>
                      <a:pt x="712" y="152"/>
                    </a:lnTo>
                    <a:lnTo>
                      <a:pt x="712" y="154"/>
                    </a:lnTo>
                    <a:lnTo>
                      <a:pt x="705" y="163"/>
                    </a:lnTo>
                    <a:lnTo>
                      <a:pt x="703" y="165"/>
                    </a:lnTo>
                    <a:lnTo>
                      <a:pt x="699" y="177"/>
                    </a:lnTo>
                    <a:lnTo>
                      <a:pt x="697" y="183"/>
                    </a:lnTo>
                    <a:lnTo>
                      <a:pt x="695" y="198"/>
                    </a:lnTo>
                    <a:lnTo>
                      <a:pt x="695" y="204"/>
                    </a:lnTo>
                    <a:lnTo>
                      <a:pt x="693" y="208"/>
                    </a:lnTo>
                    <a:lnTo>
                      <a:pt x="693" y="210"/>
                    </a:lnTo>
                    <a:lnTo>
                      <a:pt x="689" y="213"/>
                    </a:lnTo>
                    <a:lnTo>
                      <a:pt x="687" y="217"/>
                    </a:lnTo>
                    <a:lnTo>
                      <a:pt x="684" y="225"/>
                    </a:lnTo>
                    <a:lnTo>
                      <a:pt x="680" y="234"/>
                    </a:lnTo>
                    <a:lnTo>
                      <a:pt x="680" y="240"/>
                    </a:lnTo>
                    <a:lnTo>
                      <a:pt x="682" y="242"/>
                    </a:lnTo>
                    <a:lnTo>
                      <a:pt x="684" y="244"/>
                    </a:lnTo>
                    <a:lnTo>
                      <a:pt x="682" y="256"/>
                    </a:lnTo>
                    <a:lnTo>
                      <a:pt x="682" y="258"/>
                    </a:lnTo>
                    <a:lnTo>
                      <a:pt x="674" y="265"/>
                    </a:lnTo>
                    <a:lnTo>
                      <a:pt x="672" y="267"/>
                    </a:lnTo>
                    <a:lnTo>
                      <a:pt x="670" y="269"/>
                    </a:lnTo>
                    <a:lnTo>
                      <a:pt x="670" y="271"/>
                    </a:lnTo>
                    <a:lnTo>
                      <a:pt x="670" y="273"/>
                    </a:lnTo>
                    <a:lnTo>
                      <a:pt x="668" y="275"/>
                    </a:lnTo>
                    <a:lnTo>
                      <a:pt x="666" y="273"/>
                    </a:lnTo>
                    <a:lnTo>
                      <a:pt x="664" y="271"/>
                    </a:lnTo>
                    <a:lnTo>
                      <a:pt x="661" y="271"/>
                    </a:lnTo>
                    <a:lnTo>
                      <a:pt x="649" y="263"/>
                    </a:lnTo>
                    <a:lnTo>
                      <a:pt x="639" y="258"/>
                    </a:lnTo>
                    <a:lnTo>
                      <a:pt x="638" y="258"/>
                    </a:lnTo>
                    <a:lnTo>
                      <a:pt x="636" y="254"/>
                    </a:lnTo>
                    <a:lnTo>
                      <a:pt x="632" y="250"/>
                    </a:lnTo>
                    <a:lnTo>
                      <a:pt x="626" y="242"/>
                    </a:lnTo>
                    <a:lnTo>
                      <a:pt x="624" y="240"/>
                    </a:lnTo>
                    <a:lnTo>
                      <a:pt x="620" y="236"/>
                    </a:lnTo>
                    <a:lnTo>
                      <a:pt x="618" y="234"/>
                    </a:lnTo>
                    <a:lnTo>
                      <a:pt x="613" y="231"/>
                    </a:lnTo>
                    <a:lnTo>
                      <a:pt x="611" y="229"/>
                    </a:lnTo>
                    <a:lnTo>
                      <a:pt x="603" y="223"/>
                    </a:lnTo>
                    <a:lnTo>
                      <a:pt x="601" y="221"/>
                    </a:lnTo>
                    <a:lnTo>
                      <a:pt x="599" y="217"/>
                    </a:lnTo>
                    <a:lnTo>
                      <a:pt x="597" y="213"/>
                    </a:lnTo>
                    <a:lnTo>
                      <a:pt x="595" y="210"/>
                    </a:lnTo>
                    <a:lnTo>
                      <a:pt x="593" y="196"/>
                    </a:lnTo>
                    <a:lnTo>
                      <a:pt x="593" y="190"/>
                    </a:lnTo>
                    <a:lnTo>
                      <a:pt x="593" y="188"/>
                    </a:lnTo>
                    <a:lnTo>
                      <a:pt x="593" y="186"/>
                    </a:lnTo>
                    <a:lnTo>
                      <a:pt x="578" y="171"/>
                    </a:lnTo>
                    <a:lnTo>
                      <a:pt x="576" y="171"/>
                    </a:lnTo>
                    <a:lnTo>
                      <a:pt x="574" y="169"/>
                    </a:lnTo>
                    <a:lnTo>
                      <a:pt x="563" y="154"/>
                    </a:lnTo>
                    <a:lnTo>
                      <a:pt x="563" y="150"/>
                    </a:lnTo>
                    <a:lnTo>
                      <a:pt x="559" y="142"/>
                    </a:lnTo>
                    <a:lnTo>
                      <a:pt x="559" y="138"/>
                    </a:lnTo>
                    <a:lnTo>
                      <a:pt x="561" y="135"/>
                    </a:lnTo>
                    <a:lnTo>
                      <a:pt x="559" y="133"/>
                    </a:lnTo>
                    <a:lnTo>
                      <a:pt x="557" y="131"/>
                    </a:lnTo>
                    <a:lnTo>
                      <a:pt x="553" y="129"/>
                    </a:lnTo>
                    <a:lnTo>
                      <a:pt x="551" y="121"/>
                    </a:lnTo>
                    <a:lnTo>
                      <a:pt x="551" y="119"/>
                    </a:lnTo>
                    <a:lnTo>
                      <a:pt x="551" y="115"/>
                    </a:lnTo>
                    <a:lnTo>
                      <a:pt x="551" y="119"/>
                    </a:lnTo>
                    <a:lnTo>
                      <a:pt x="545" y="121"/>
                    </a:lnTo>
                    <a:lnTo>
                      <a:pt x="543" y="123"/>
                    </a:lnTo>
                    <a:lnTo>
                      <a:pt x="545" y="125"/>
                    </a:lnTo>
                    <a:lnTo>
                      <a:pt x="543" y="131"/>
                    </a:lnTo>
                    <a:lnTo>
                      <a:pt x="540" y="133"/>
                    </a:lnTo>
                    <a:lnTo>
                      <a:pt x="536" y="138"/>
                    </a:lnTo>
                    <a:lnTo>
                      <a:pt x="536" y="144"/>
                    </a:lnTo>
                    <a:lnTo>
                      <a:pt x="538" y="148"/>
                    </a:lnTo>
                    <a:lnTo>
                      <a:pt x="540" y="150"/>
                    </a:lnTo>
                    <a:lnTo>
                      <a:pt x="542" y="152"/>
                    </a:lnTo>
                    <a:lnTo>
                      <a:pt x="551" y="160"/>
                    </a:lnTo>
                    <a:lnTo>
                      <a:pt x="553" y="161"/>
                    </a:lnTo>
                    <a:lnTo>
                      <a:pt x="555" y="169"/>
                    </a:lnTo>
                    <a:lnTo>
                      <a:pt x="557" y="173"/>
                    </a:lnTo>
                    <a:lnTo>
                      <a:pt x="557" y="177"/>
                    </a:lnTo>
                    <a:lnTo>
                      <a:pt x="557" y="179"/>
                    </a:lnTo>
                    <a:lnTo>
                      <a:pt x="555" y="183"/>
                    </a:lnTo>
                    <a:lnTo>
                      <a:pt x="555" y="186"/>
                    </a:lnTo>
                    <a:lnTo>
                      <a:pt x="559" y="196"/>
                    </a:lnTo>
                    <a:lnTo>
                      <a:pt x="563" y="200"/>
                    </a:lnTo>
                    <a:lnTo>
                      <a:pt x="565" y="200"/>
                    </a:lnTo>
                    <a:lnTo>
                      <a:pt x="567" y="200"/>
                    </a:lnTo>
                    <a:lnTo>
                      <a:pt x="568" y="202"/>
                    </a:lnTo>
                    <a:lnTo>
                      <a:pt x="568" y="204"/>
                    </a:lnTo>
                    <a:lnTo>
                      <a:pt x="570" y="206"/>
                    </a:lnTo>
                    <a:lnTo>
                      <a:pt x="570" y="208"/>
                    </a:lnTo>
                    <a:lnTo>
                      <a:pt x="572" y="211"/>
                    </a:lnTo>
                    <a:lnTo>
                      <a:pt x="576" y="217"/>
                    </a:lnTo>
                    <a:lnTo>
                      <a:pt x="582" y="223"/>
                    </a:lnTo>
                    <a:lnTo>
                      <a:pt x="582" y="225"/>
                    </a:lnTo>
                    <a:lnTo>
                      <a:pt x="588" y="231"/>
                    </a:lnTo>
                    <a:lnTo>
                      <a:pt x="590" y="236"/>
                    </a:lnTo>
                    <a:lnTo>
                      <a:pt x="593" y="240"/>
                    </a:lnTo>
                    <a:lnTo>
                      <a:pt x="597" y="244"/>
                    </a:lnTo>
                    <a:lnTo>
                      <a:pt x="605" y="252"/>
                    </a:lnTo>
                    <a:lnTo>
                      <a:pt x="611" y="254"/>
                    </a:lnTo>
                    <a:lnTo>
                      <a:pt x="611" y="256"/>
                    </a:lnTo>
                    <a:lnTo>
                      <a:pt x="615" y="256"/>
                    </a:lnTo>
                    <a:lnTo>
                      <a:pt x="615" y="258"/>
                    </a:lnTo>
                    <a:lnTo>
                      <a:pt x="618" y="259"/>
                    </a:lnTo>
                    <a:lnTo>
                      <a:pt x="620" y="265"/>
                    </a:lnTo>
                    <a:lnTo>
                      <a:pt x="622" y="267"/>
                    </a:lnTo>
                    <a:lnTo>
                      <a:pt x="622" y="269"/>
                    </a:lnTo>
                    <a:lnTo>
                      <a:pt x="622" y="271"/>
                    </a:lnTo>
                    <a:lnTo>
                      <a:pt x="620" y="269"/>
                    </a:lnTo>
                    <a:lnTo>
                      <a:pt x="618" y="267"/>
                    </a:lnTo>
                    <a:lnTo>
                      <a:pt x="616" y="267"/>
                    </a:lnTo>
                    <a:lnTo>
                      <a:pt x="615" y="269"/>
                    </a:lnTo>
                    <a:lnTo>
                      <a:pt x="616" y="281"/>
                    </a:lnTo>
                    <a:lnTo>
                      <a:pt x="620" y="286"/>
                    </a:lnTo>
                    <a:lnTo>
                      <a:pt x="626" y="292"/>
                    </a:lnTo>
                    <a:lnTo>
                      <a:pt x="628" y="296"/>
                    </a:lnTo>
                    <a:lnTo>
                      <a:pt x="630" y="300"/>
                    </a:lnTo>
                    <a:lnTo>
                      <a:pt x="630" y="302"/>
                    </a:lnTo>
                    <a:lnTo>
                      <a:pt x="630" y="304"/>
                    </a:lnTo>
                    <a:lnTo>
                      <a:pt x="632" y="306"/>
                    </a:lnTo>
                    <a:lnTo>
                      <a:pt x="634" y="306"/>
                    </a:lnTo>
                    <a:lnTo>
                      <a:pt x="636" y="306"/>
                    </a:lnTo>
                    <a:lnTo>
                      <a:pt x="639" y="308"/>
                    </a:lnTo>
                    <a:lnTo>
                      <a:pt x="639" y="309"/>
                    </a:lnTo>
                    <a:lnTo>
                      <a:pt x="639" y="311"/>
                    </a:lnTo>
                    <a:lnTo>
                      <a:pt x="639" y="315"/>
                    </a:lnTo>
                    <a:lnTo>
                      <a:pt x="639" y="317"/>
                    </a:lnTo>
                    <a:lnTo>
                      <a:pt x="647" y="331"/>
                    </a:lnTo>
                    <a:lnTo>
                      <a:pt x="647" y="338"/>
                    </a:lnTo>
                    <a:lnTo>
                      <a:pt x="647" y="348"/>
                    </a:lnTo>
                    <a:lnTo>
                      <a:pt x="647" y="350"/>
                    </a:lnTo>
                    <a:lnTo>
                      <a:pt x="649" y="352"/>
                    </a:lnTo>
                    <a:lnTo>
                      <a:pt x="651" y="352"/>
                    </a:lnTo>
                    <a:lnTo>
                      <a:pt x="653" y="354"/>
                    </a:lnTo>
                    <a:lnTo>
                      <a:pt x="657" y="361"/>
                    </a:lnTo>
                    <a:lnTo>
                      <a:pt x="661" y="371"/>
                    </a:lnTo>
                    <a:lnTo>
                      <a:pt x="664" y="375"/>
                    </a:lnTo>
                    <a:lnTo>
                      <a:pt x="666" y="379"/>
                    </a:lnTo>
                    <a:lnTo>
                      <a:pt x="666" y="381"/>
                    </a:lnTo>
                    <a:lnTo>
                      <a:pt x="666" y="382"/>
                    </a:lnTo>
                    <a:lnTo>
                      <a:pt x="674" y="394"/>
                    </a:lnTo>
                    <a:lnTo>
                      <a:pt x="682" y="407"/>
                    </a:lnTo>
                    <a:lnTo>
                      <a:pt x="686" y="411"/>
                    </a:lnTo>
                    <a:lnTo>
                      <a:pt x="687" y="413"/>
                    </a:lnTo>
                    <a:lnTo>
                      <a:pt x="689" y="413"/>
                    </a:lnTo>
                    <a:lnTo>
                      <a:pt x="689" y="415"/>
                    </a:lnTo>
                    <a:lnTo>
                      <a:pt x="695" y="425"/>
                    </a:lnTo>
                    <a:lnTo>
                      <a:pt x="695" y="427"/>
                    </a:lnTo>
                    <a:lnTo>
                      <a:pt x="699" y="432"/>
                    </a:lnTo>
                    <a:lnTo>
                      <a:pt x="705" y="446"/>
                    </a:lnTo>
                    <a:lnTo>
                      <a:pt x="709" y="454"/>
                    </a:lnTo>
                    <a:lnTo>
                      <a:pt x="711" y="457"/>
                    </a:lnTo>
                    <a:lnTo>
                      <a:pt x="712" y="459"/>
                    </a:lnTo>
                    <a:lnTo>
                      <a:pt x="716" y="463"/>
                    </a:lnTo>
                    <a:lnTo>
                      <a:pt x="716" y="465"/>
                    </a:lnTo>
                    <a:lnTo>
                      <a:pt x="720" y="471"/>
                    </a:lnTo>
                    <a:lnTo>
                      <a:pt x="728" y="486"/>
                    </a:lnTo>
                    <a:lnTo>
                      <a:pt x="732" y="498"/>
                    </a:lnTo>
                    <a:lnTo>
                      <a:pt x="732" y="500"/>
                    </a:lnTo>
                    <a:lnTo>
                      <a:pt x="737" y="507"/>
                    </a:lnTo>
                    <a:lnTo>
                      <a:pt x="741" y="511"/>
                    </a:lnTo>
                    <a:lnTo>
                      <a:pt x="745" y="513"/>
                    </a:lnTo>
                    <a:lnTo>
                      <a:pt x="749" y="517"/>
                    </a:lnTo>
                    <a:lnTo>
                      <a:pt x="751" y="519"/>
                    </a:lnTo>
                    <a:lnTo>
                      <a:pt x="751" y="521"/>
                    </a:lnTo>
                    <a:lnTo>
                      <a:pt x="753" y="523"/>
                    </a:lnTo>
                    <a:lnTo>
                      <a:pt x="755" y="527"/>
                    </a:lnTo>
                    <a:lnTo>
                      <a:pt x="762" y="530"/>
                    </a:lnTo>
                    <a:lnTo>
                      <a:pt x="770" y="536"/>
                    </a:lnTo>
                    <a:lnTo>
                      <a:pt x="772" y="536"/>
                    </a:lnTo>
                    <a:lnTo>
                      <a:pt x="774" y="538"/>
                    </a:lnTo>
                    <a:lnTo>
                      <a:pt x="776" y="540"/>
                    </a:lnTo>
                    <a:lnTo>
                      <a:pt x="778" y="544"/>
                    </a:lnTo>
                    <a:lnTo>
                      <a:pt x="764" y="542"/>
                    </a:lnTo>
                    <a:lnTo>
                      <a:pt x="760" y="538"/>
                    </a:lnTo>
                    <a:lnTo>
                      <a:pt x="759" y="538"/>
                    </a:lnTo>
                    <a:lnTo>
                      <a:pt x="757" y="538"/>
                    </a:lnTo>
                    <a:lnTo>
                      <a:pt x="755" y="540"/>
                    </a:lnTo>
                    <a:lnTo>
                      <a:pt x="755" y="550"/>
                    </a:lnTo>
                    <a:lnTo>
                      <a:pt x="757" y="553"/>
                    </a:lnTo>
                    <a:lnTo>
                      <a:pt x="757" y="555"/>
                    </a:lnTo>
                    <a:lnTo>
                      <a:pt x="757" y="559"/>
                    </a:lnTo>
                    <a:lnTo>
                      <a:pt x="757" y="565"/>
                    </a:lnTo>
                    <a:lnTo>
                      <a:pt x="757" y="573"/>
                    </a:lnTo>
                    <a:lnTo>
                      <a:pt x="759" y="578"/>
                    </a:lnTo>
                    <a:lnTo>
                      <a:pt x="760" y="580"/>
                    </a:lnTo>
                    <a:lnTo>
                      <a:pt x="760" y="582"/>
                    </a:lnTo>
                    <a:lnTo>
                      <a:pt x="760" y="584"/>
                    </a:lnTo>
                    <a:lnTo>
                      <a:pt x="760" y="590"/>
                    </a:lnTo>
                    <a:lnTo>
                      <a:pt x="762" y="592"/>
                    </a:lnTo>
                    <a:lnTo>
                      <a:pt x="764" y="594"/>
                    </a:lnTo>
                    <a:lnTo>
                      <a:pt x="766" y="598"/>
                    </a:lnTo>
                    <a:lnTo>
                      <a:pt x="768" y="603"/>
                    </a:lnTo>
                    <a:lnTo>
                      <a:pt x="768" y="605"/>
                    </a:lnTo>
                    <a:lnTo>
                      <a:pt x="768" y="609"/>
                    </a:lnTo>
                    <a:lnTo>
                      <a:pt x="774" y="615"/>
                    </a:lnTo>
                    <a:lnTo>
                      <a:pt x="780" y="623"/>
                    </a:lnTo>
                    <a:lnTo>
                      <a:pt x="782" y="625"/>
                    </a:lnTo>
                    <a:lnTo>
                      <a:pt x="787" y="627"/>
                    </a:lnTo>
                    <a:lnTo>
                      <a:pt x="793" y="628"/>
                    </a:lnTo>
                    <a:lnTo>
                      <a:pt x="795" y="628"/>
                    </a:lnTo>
                    <a:lnTo>
                      <a:pt x="803" y="630"/>
                    </a:lnTo>
                    <a:lnTo>
                      <a:pt x="807" y="632"/>
                    </a:lnTo>
                    <a:lnTo>
                      <a:pt x="810" y="636"/>
                    </a:lnTo>
                    <a:lnTo>
                      <a:pt x="818" y="644"/>
                    </a:lnTo>
                    <a:lnTo>
                      <a:pt x="820" y="648"/>
                    </a:lnTo>
                    <a:lnTo>
                      <a:pt x="822" y="651"/>
                    </a:lnTo>
                    <a:lnTo>
                      <a:pt x="824" y="653"/>
                    </a:lnTo>
                    <a:lnTo>
                      <a:pt x="826" y="655"/>
                    </a:lnTo>
                    <a:lnTo>
                      <a:pt x="830" y="655"/>
                    </a:lnTo>
                    <a:lnTo>
                      <a:pt x="843" y="665"/>
                    </a:lnTo>
                    <a:lnTo>
                      <a:pt x="847" y="669"/>
                    </a:lnTo>
                    <a:lnTo>
                      <a:pt x="853" y="671"/>
                    </a:lnTo>
                    <a:lnTo>
                      <a:pt x="853" y="673"/>
                    </a:lnTo>
                    <a:lnTo>
                      <a:pt x="855" y="675"/>
                    </a:lnTo>
                    <a:lnTo>
                      <a:pt x="855" y="676"/>
                    </a:lnTo>
                    <a:lnTo>
                      <a:pt x="853" y="676"/>
                    </a:lnTo>
                    <a:lnTo>
                      <a:pt x="849" y="676"/>
                    </a:lnTo>
                    <a:lnTo>
                      <a:pt x="843" y="676"/>
                    </a:lnTo>
                    <a:lnTo>
                      <a:pt x="839" y="676"/>
                    </a:lnTo>
                    <a:lnTo>
                      <a:pt x="830" y="676"/>
                    </a:lnTo>
                    <a:lnTo>
                      <a:pt x="820" y="676"/>
                    </a:lnTo>
                    <a:lnTo>
                      <a:pt x="812" y="676"/>
                    </a:lnTo>
                    <a:lnTo>
                      <a:pt x="808" y="676"/>
                    </a:lnTo>
                    <a:lnTo>
                      <a:pt x="793" y="676"/>
                    </a:lnTo>
                    <a:lnTo>
                      <a:pt x="785" y="676"/>
                    </a:lnTo>
                    <a:lnTo>
                      <a:pt x="776" y="676"/>
                    </a:lnTo>
                    <a:lnTo>
                      <a:pt x="753" y="676"/>
                    </a:lnTo>
                    <a:lnTo>
                      <a:pt x="747" y="676"/>
                    </a:lnTo>
                    <a:lnTo>
                      <a:pt x="732" y="676"/>
                    </a:lnTo>
                    <a:lnTo>
                      <a:pt x="720" y="676"/>
                    </a:lnTo>
                    <a:lnTo>
                      <a:pt x="718" y="676"/>
                    </a:lnTo>
                    <a:lnTo>
                      <a:pt x="716" y="676"/>
                    </a:lnTo>
                    <a:lnTo>
                      <a:pt x="714" y="676"/>
                    </a:lnTo>
                    <a:lnTo>
                      <a:pt x="701" y="676"/>
                    </a:lnTo>
                    <a:lnTo>
                      <a:pt x="697" y="676"/>
                    </a:lnTo>
                    <a:lnTo>
                      <a:pt x="676" y="676"/>
                    </a:lnTo>
                    <a:lnTo>
                      <a:pt x="659" y="676"/>
                    </a:lnTo>
                    <a:lnTo>
                      <a:pt x="657" y="676"/>
                    </a:lnTo>
                    <a:lnTo>
                      <a:pt x="649" y="676"/>
                    </a:lnTo>
                    <a:lnTo>
                      <a:pt x="641" y="676"/>
                    </a:lnTo>
                    <a:lnTo>
                      <a:pt x="636" y="676"/>
                    </a:lnTo>
                    <a:lnTo>
                      <a:pt x="634" y="676"/>
                    </a:lnTo>
                    <a:lnTo>
                      <a:pt x="615" y="676"/>
                    </a:lnTo>
                    <a:lnTo>
                      <a:pt x="607" y="676"/>
                    </a:lnTo>
                    <a:lnTo>
                      <a:pt x="593" y="676"/>
                    </a:lnTo>
                    <a:lnTo>
                      <a:pt x="557" y="676"/>
                    </a:lnTo>
                    <a:lnTo>
                      <a:pt x="547" y="676"/>
                    </a:lnTo>
                    <a:lnTo>
                      <a:pt x="545" y="676"/>
                    </a:lnTo>
                    <a:lnTo>
                      <a:pt x="542" y="676"/>
                    </a:lnTo>
                    <a:lnTo>
                      <a:pt x="538" y="676"/>
                    </a:lnTo>
                    <a:lnTo>
                      <a:pt x="536" y="676"/>
                    </a:lnTo>
                    <a:lnTo>
                      <a:pt x="511" y="676"/>
                    </a:lnTo>
                    <a:lnTo>
                      <a:pt x="482" y="676"/>
                    </a:lnTo>
                    <a:lnTo>
                      <a:pt x="476" y="676"/>
                    </a:lnTo>
                    <a:lnTo>
                      <a:pt x="474" y="676"/>
                    </a:lnTo>
                    <a:lnTo>
                      <a:pt x="474" y="675"/>
                    </a:lnTo>
                    <a:lnTo>
                      <a:pt x="478" y="665"/>
                    </a:lnTo>
                    <a:lnTo>
                      <a:pt x="476" y="663"/>
                    </a:lnTo>
                    <a:lnTo>
                      <a:pt x="474" y="661"/>
                    </a:lnTo>
                    <a:lnTo>
                      <a:pt x="472" y="661"/>
                    </a:lnTo>
                    <a:lnTo>
                      <a:pt x="470" y="661"/>
                    </a:lnTo>
                    <a:lnTo>
                      <a:pt x="469" y="661"/>
                    </a:lnTo>
                    <a:lnTo>
                      <a:pt x="465" y="669"/>
                    </a:lnTo>
                    <a:lnTo>
                      <a:pt x="463" y="671"/>
                    </a:lnTo>
                    <a:lnTo>
                      <a:pt x="461" y="676"/>
                    </a:lnTo>
                    <a:lnTo>
                      <a:pt x="455" y="676"/>
                    </a:lnTo>
                    <a:lnTo>
                      <a:pt x="453" y="676"/>
                    </a:lnTo>
                    <a:lnTo>
                      <a:pt x="424" y="676"/>
                    </a:lnTo>
                    <a:lnTo>
                      <a:pt x="421" y="676"/>
                    </a:lnTo>
                    <a:lnTo>
                      <a:pt x="413" y="676"/>
                    </a:lnTo>
                    <a:lnTo>
                      <a:pt x="407" y="676"/>
                    </a:lnTo>
                    <a:lnTo>
                      <a:pt x="403" y="676"/>
                    </a:lnTo>
                    <a:lnTo>
                      <a:pt x="398" y="676"/>
                    </a:lnTo>
                    <a:lnTo>
                      <a:pt x="390" y="676"/>
                    </a:lnTo>
                    <a:lnTo>
                      <a:pt x="378" y="676"/>
                    </a:lnTo>
                    <a:lnTo>
                      <a:pt x="344" y="676"/>
                    </a:lnTo>
                    <a:lnTo>
                      <a:pt x="338" y="676"/>
                    </a:lnTo>
                    <a:lnTo>
                      <a:pt x="319" y="676"/>
                    </a:lnTo>
                    <a:lnTo>
                      <a:pt x="313" y="676"/>
                    </a:lnTo>
                    <a:lnTo>
                      <a:pt x="311" y="676"/>
                    </a:lnTo>
                    <a:lnTo>
                      <a:pt x="309" y="676"/>
                    </a:lnTo>
                    <a:lnTo>
                      <a:pt x="307" y="676"/>
                    </a:lnTo>
                    <a:lnTo>
                      <a:pt x="305" y="676"/>
                    </a:lnTo>
                    <a:lnTo>
                      <a:pt x="301" y="676"/>
                    </a:lnTo>
                    <a:lnTo>
                      <a:pt x="273" y="676"/>
                    </a:lnTo>
                    <a:lnTo>
                      <a:pt x="253" y="676"/>
                    </a:lnTo>
                    <a:lnTo>
                      <a:pt x="250" y="676"/>
                    </a:lnTo>
                    <a:lnTo>
                      <a:pt x="248" y="676"/>
                    </a:lnTo>
                    <a:lnTo>
                      <a:pt x="211" y="676"/>
                    </a:lnTo>
                    <a:lnTo>
                      <a:pt x="190" y="676"/>
                    </a:lnTo>
                    <a:lnTo>
                      <a:pt x="188" y="676"/>
                    </a:lnTo>
                    <a:lnTo>
                      <a:pt x="184" y="676"/>
                    </a:lnTo>
                    <a:lnTo>
                      <a:pt x="180" y="676"/>
                    </a:lnTo>
                    <a:lnTo>
                      <a:pt x="171" y="676"/>
                    </a:lnTo>
                    <a:lnTo>
                      <a:pt x="167" y="676"/>
                    </a:lnTo>
                    <a:lnTo>
                      <a:pt x="159" y="676"/>
                    </a:lnTo>
                    <a:lnTo>
                      <a:pt x="156" y="676"/>
                    </a:lnTo>
                    <a:lnTo>
                      <a:pt x="150" y="676"/>
                    </a:lnTo>
                    <a:lnTo>
                      <a:pt x="138" y="676"/>
                    </a:lnTo>
                    <a:lnTo>
                      <a:pt x="136" y="676"/>
                    </a:lnTo>
                    <a:lnTo>
                      <a:pt x="115" y="676"/>
                    </a:lnTo>
                    <a:lnTo>
                      <a:pt x="75" y="676"/>
                    </a:lnTo>
                    <a:lnTo>
                      <a:pt x="50" y="676"/>
                    </a:lnTo>
                    <a:lnTo>
                      <a:pt x="36" y="676"/>
                    </a:lnTo>
                    <a:lnTo>
                      <a:pt x="29" y="676"/>
                    </a:lnTo>
                    <a:lnTo>
                      <a:pt x="21" y="676"/>
                    </a:lnTo>
                    <a:lnTo>
                      <a:pt x="21" y="673"/>
                    </a:lnTo>
                    <a:lnTo>
                      <a:pt x="21" y="657"/>
                    </a:lnTo>
                    <a:lnTo>
                      <a:pt x="21" y="565"/>
                    </a:lnTo>
                    <a:lnTo>
                      <a:pt x="21" y="534"/>
                    </a:lnTo>
                    <a:lnTo>
                      <a:pt x="21" y="513"/>
                    </a:lnTo>
                    <a:lnTo>
                      <a:pt x="21" y="480"/>
                    </a:lnTo>
                    <a:lnTo>
                      <a:pt x="21" y="467"/>
                    </a:lnTo>
                    <a:lnTo>
                      <a:pt x="21" y="436"/>
                    </a:lnTo>
                    <a:lnTo>
                      <a:pt x="21" y="398"/>
                    </a:lnTo>
                    <a:lnTo>
                      <a:pt x="21" y="363"/>
                    </a:lnTo>
                    <a:lnTo>
                      <a:pt x="21" y="357"/>
                    </a:lnTo>
                    <a:lnTo>
                      <a:pt x="21" y="346"/>
                    </a:lnTo>
                    <a:lnTo>
                      <a:pt x="21" y="331"/>
                    </a:lnTo>
                    <a:lnTo>
                      <a:pt x="21" y="327"/>
                    </a:lnTo>
                    <a:lnTo>
                      <a:pt x="21" y="321"/>
                    </a:lnTo>
                    <a:lnTo>
                      <a:pt x="21" y="296"/>
                    </a:lnTo>
                    <a:lnTo>
                      <a:pt x="21" y="284"/>
                    </a:lnTo>
                    <a:lnTo>
                      <a:pt x="21" y="279"/>
                    </a:lnTo>
                    <a:lnTo>
                      <a:pt x="21" y="273"/>
                    </a:lnTo>
                    <a:lnTo>
                      <a:pt x="21" y="263"/>
                    </a:lnTo>
                    <a:lnTo>
                      <a:pt x="21" y="256"/>
                    </a:lnTo>
                    <a:lnTo>
                      <a:pt x="21" y="248"/>
                    </a:lnTo>
                    <a:lnTo>
                      <a:pt x="21" y="236"/>
                    </a:lnTo>
                    <a:lnTo>
                      <a:pt x="21" y="188"/>
                    </a:lnTo>
                    <a:lnTo>
                      <a:pt x="21" y="169"/>
                    </a:lnTo>
                    <a:lnTo>
                      <a:pt x="15" y="156"/>
                    </a:lnTo>
                    <a:lnTo>
                      <a:pt x="13" y="154"/>
                    </a:lnTo>
                    <a:lnTo>
                      <a:pt x="13" y="150"/>
                    </a:lnTo>
                    <a:lnTo>
                      <a:pt x="13" y="144"/>
                    </a:lnTo>
                    <a:lnTo>
                      <a:pt x="10" y="129"/>
                    </a:lnTo>
                    <a:lnTo>
                      <a:pt x="10" y="127"/>
                    </a:lnTo>
                    <a:lnTo>
                      <a:pt x="10" y="125"/>
                    </a:lnTo>
                    <a:lnTo>
                      <a:pt x="10" y="121"/>
                    </a:lnTo>
                    <a:lnTo>
                      <a:pt x="8" y="119"/>
                    </a:lnTo>
                    <a:lnTo>
                      <a:pt x="6" y="113"/>
                    </a:lnTo>
                    <a:lnTo>
                      <a:pt x="2" y="108"/>
                    </a:lnTo>
                    <a:lnTo>
                      <a:pt x="2" y="106"/>
                    </a:lnTo>
                    <a:lnTo>
                      <a:pt x="0" y="106"/>
                    </a:lnTo>
                    <a:lnTo>
                      <a:pt x="0" y="102"/>
                    </a:lnTo>
                    <a:lnTo>
                      <a:pt x="2" y="100"/>
                    </a:lnTo>
                    <a:lnTo>
                      <a:pt x="6" y="94"/>
                    </a:lnTo>
                    <a:lnTo>
                      <a:pt x="8" y="90"/>
                    </a:lnTo>
                    <a:lnTo>
                      <a:pt x="11" y="88"/>
                    </a:lnTo>
                    <a:lnTo>
                      <a:pt x="13" y="87"/>
                    </a:lnTo>
                    <a:lnTo>
                      <a:pt x="15" y="81"/>
                    </a:lnTo>
                    <a:lnTo>
                      <a:pt x="19" y="71"/>
                    </a:lnTo>
                    <a:lnTo>
                      <a:pt x="23" y="62"/>
                    </a:lnTo>
                    <a:lnTo>
                      <a:pt x="21" y="58"/>
                    </a:lnTo>
                    <a:lnTo>
                      <a:pt x="19" y="56"/>
                    </a:lnTo>
                    <a:lnTo>
                      <a:pt x="15" y="44"/>
                    </a:lnTo>
                    <a:lnTo>
                      <a:pt x="11" y="35"/>
                    </a:lnTo>
                    <a:lnTo>
                      <a:pt x="11" y="19"/>
                    </a:lnTo>
                    <a:lnTo>
                      <a:pt x="13" y="17"/>
                    </a:lnTo>
                    <a:lnTo>
                      <a:pt x="19" y="15"/>
                    </a:lnTo>
                    <a:lnTo>
                      <a:pt x="21" y="12"/>
                    </a:lnTo>
                    <a:lnTo>
                      <a:pt x="25" y="10"/>
                    </a:lnTo>
                    <a:lnTo>
                      <a:pt x="25" y="6"/>
                    </a:lnTo>
                    <a:lnTo>
                      <a:pt x="27" y="6"/>
                    </a:lnTo>
                    <a:lnTo>
                      <a:pt x="29" y="4"/>
                    </a:lnTo>
                    <a:lnTo>
                      <a:pt x="31" y="2"/>
                    </a:lnTo>
                    <a:lnTo>
                      <a:pt x="31" y="0"/>
                    </a:lnTo>
                    <a:lnTo>
                      <a:pt x="33" y="0"/>
                    </a:lnTo>
                    <a:lnTo>
                      <a:pt x="33" y="2"/>
                    </a:lnTo>
                    <a:lnTo>
                      <a:pt x="33" y="8"/>
                    </a:lnTo>
                    <a:lnTo>
                      <a:pt x="44" y="12"/>
                    </a:lnTo>
                    <a:lnTo>
                      <a:pt x="50" y="12"/>
                    </a:lnTo>
                    <a:lnTo>
                      <a:pt x="56" y="10"/>
                    </a:lnTo>
                    <a:lnTo>
                      <a:pt x="61" y="8"/>
                    </a:lnTo>
                    <a:lnTo>
                      <a:pt x="69" y="6"/>
                    </a:lnTo>
                    <a:lnTo>
                      <a:pt x="79" y="4"/>
                    </a:lnTo>
                    <a:lnTo>
                      <a:pt x="81" y="2"/>
                    </a:lnTo>
                    <a:lnTo>
                      <a:pt x="83" y="2"/>
                    </a:lnTo>
                    <a:lnTo>
                      <a:pt x="88" y="2"/>
                    </a:lnTo>
                    <a:lnTo>
                      <a:pt x="90" y="2"/>
                    </a:lnTo>
                    <a:lnTo>
                      <a:pt x="92" y="4"/>
                    </a:lnTo>
                    <a:lnTo>
                      <a:pt x="98" y="4"/>
                    </a:lnTo>
                    <a:lnTo>
                      <a:pt x="104" y="6"/>
                    </a:lnTo>
                    <a:lnTo>
                      <a:pt x="113" y="10"/>
                    </a:lnTo>
                    <a:lnTo>
                      <a:pt x="115" y="10"/>
                    </a:lnTo>
                    <a:lnTo>
                      <a:pt x="117" y="10"/>
                    </a:lnTo>
                    <a:lnTo>
                      <a:pt x="127" y="12"/>
                    </a:lnTo>
                    <a:lnTo>
                      <a:pt x="136" y="12"/>
                    </a:lnTo>
                    <a:lnTo>
                      <a:pt x="146" y="14"/>
                    </a:lnTo>
                    <a:lnTo>
                      <a:pt x="154" y="15"/>
                    </a:lnTo>
                    <a:lnTo>
                      <a:pt x="165" y="17"/>
                    </a:lnTo>
                    <a:lnTo>
                      <a:pt x="173" y="19"/>
                    </a:lnTo>
                    <a:lnTo>
                      <a:pt x="179" y="19"/>
                    </a:lnTo>
                    <a:lnTo>
                      <a:pt x="180" y="19"/>
                    </a:lnTo>
                    <a:lnTo>
                      <a:pt x="184" y="19"/>
                    </a:lnTo>
                    <a:lnTo>
                      <a:pt x="186" y="19"/>
                    </a:lnTo>
                    <a:lnTo>
                      <a:pt x="186" y="23"/>
                    </a:lnTo>
                    <a:lnTo>
                      <a:pt x="186" y="25"/>
                    </a:lnTo>
                    <a:lnTo>
                      <a:pt x="188" y="27"/>
                    </a:lnTo>
                    <a:lnTo>
                      <a:pt x="188" y="29"/>
                    </a:lnTo>
                    <a:lnTo>
                      <a:pt x="190" y="29"/>
                    </a:lnTo>
                    <a:lnTo>
                      <a:pt x="192" y="31"/>
                    </a:lnTo>
                    <a:lnTo>
                      <a:pt x="194" y="31"/>
                    </a:lnTo>
                    <a:lnTo>
                      <a:pt x="202" y="33"/>
                    </a:lnTo>
                    <a:lnTo>
                      <a:pt x="207" y="35"/>
                    </a:lnTo>
                    <a:lnTo>
                      <a:pt x="217" y="31"/>
                    </a:lnTo>
                    <a:lnTo>
                      <a:pt x="221" y="29"/>
                    </a:lnTo>
                    <a:lnTo>
                      <a:pt x="221" y="31"/>
                    </a:lnTo>
                    <a:lnTo>
                      <a:pt x="223" y="33"/>
                    </a:lnTo>
                    <a:lnTo>
                      <a:pt x="225" y="37"/>
                    </a:lnTo>
                    <a:lnTo>
                      <a:pt x="225" y="38"/>
                    </a:lnTo>
                    <a:lnTo>
                      <a:pt x="227" y="38"/>
                    </a:lnTo>
                    <a:lnTo>
                      <a:pt x="244" y="40"/>
                    </a:lnTo>
                    <a:lnTo>
                      <a:pt x="250" y="40"/>
                    </a:lnTo>
                    <a:lnTo>
                      <a:pt x="255" y="40"/>
                    </a:lnTo>
                    <a:lnTo>
                      <a:pt x="259" y="40"/>
                    </a:lnTo>
                    <a:lnTo>
                      <a:pt x="261" y="40"/>
                    </a:lnTo>
                    <a:lnTo>
                      <a:pt x="271" y="44"/>
                    </a:lnTo>
                    <a:lnTo>
                      <a:pt x="282" y="46"/>
                    </a:lnTo>
                    <a:lnTo>
                      <a:pt x="284" y="48"/>
                    </a:lnTo>
                    <a:lnTo>
                      <a:pt x="288" y="50"/>
                    </a:lnTo>
                    <a:lnTo>
                      <a:pt x="290" y="52"/>
                    </a:lnTo>
                    <a:lnTo>
                      <a:pt x="294" y="54"/>
                    </a:lnTo>
                    <a:lnTo>
                      <a:pt x="300" y="58"/>
                    </a:lnTo>
                    <a:lnTo>
                      <a:pt x="303" y="58"/>
                    </a:lnTo>
                    <a:lnTo>
                      <a:pt x="305" y="58"/>
                    </a:lnTo>
                    <a:lnTo>
                      <a:pt x="309" y="58"/>
                    </a:lnTo>
                    <a:lnTo>
                      <a:pt x="311" y="58"/>
                    </a:lnTo>
                    <a:lnTo>
                      <a:pt x="313" y="58"/>
                    </a:lnTo>
                    <a:lnTo>
                      <a:pt x="317" y="58"/>
                    </a:lnTo>
                    <a:lnTo>
                      <a:pt x="319" y="56"/>
                    </a:lnTo>
                    <a:lnTo>
                      <a:pt x="325" y="54"/>
                    </a:lnTo>
                    <a:lnTo>
                      <a:pt x="336" y="50"/>
                    </a:lnTo>
                    <a:lnTo>
                      <a:pt x="338" y="48"/>
                    </a:lnTo>
                    <a:lnTo>
                      <a:pt x="342" y="46"/>
                    </a:lnTo>
                    <a:lnTo>
                      <a:pt x="344" y="46"/>
                    </a:lnTo>
                    <a:lnTo>
                      <a:pt x="344" y="44"/>
                    </a:lnTo>
                    <a:lnTo>
                      <a:pt x="346" y="44"/>
                    </a:lnTo>
                    <a:lnTo>
                      <a:pt x="349" y="40"/>
                    </a:lnTo>
                    <a:lnTo>
                      <a:pt x="353" y="38"/>
                    </a:lnTo>
                    <a:lnTo>
                      <a:pt x="357" y="37"/>
                    </a:lnTo>
                    <a:lnTo>
                      <a:pt x="371" y="27"/>
                    </a:lnTo>
                    <a:lnTo>
                      <a:pt x="374" y="25"/>
                    </a:lnTo>
                    <a:lnTo>
                      <a:pt x="376" y="23"/>
                    </a:lnTo>
                    <a:lnTo>
                      <a:pt x="378" y="27"/>
                    </a:lnTo>
                    <a:lnTo>
                      <a:pt x="382" y="31"/>
                    </a:lnTo>
                    <a:lnTo>
                      <a:pt x="386" y="31"/>
                    </a:lnTo>
                    <a:lnTo>
                      <a:pt x="392" y="29"/>
                    </a:lnTo>
                    <a:lnTo>
                      <a:pt x="392" y="27"/>
                    </a:lnTo>
                    <a:lnTo>
                      <a:pt x="392" y="23"/>
                    </a:lnTo>
                    <a:lnTo>
                      <a:pt x="396" y="15"/>
                    </a:lnTo>
                    <a:lnTo>
                      <a:pt x="399" y="15"/>
                    </a:lnTo>
                    <a:lnTo>
                      <a:pt x="398" y="14"/>
                    </a:lnTo>
                    <a:lnTo>
                      <a:pt x="396" y="12"/>
                    </a:lnTo>
                    <a:lnTo>
                      <a:pt x="399" y="12"/>
                    </a:lnTo>
                    <a:lnTo>
                      <a:pt x="399" y="14"/>
                    </a:lnTo>
                    <a:lnTo>
                      <a:pt x="403" y="14"/>
                    </a:lnTo>
                    <a:lnTo>
                      <a:pt x="405" y="14"/>
                    </a:lnTo>
                    <a:lnTo>
                      <a:pt x="407" y="14"/>
                    </a:lnTo>
                    <a:lnTo>
                      <a:pt x="411" y="14"/>
                    </a:lnTo>
                    <a:lnTo>
                      <a:pt x="413" y="14"/>
                    </a:lnTo>
                    <a:lnTo>
                      <a:pt x="421" y="12"/>
                    </a:lnTo>
                    <a:lnTo>
                      <a:pt x="422" y="10"/>
                    </a:lnTo>
                    <a:lnTo>
                      <a:pt x="424" y="10"/>
                    </a:lnTo>
                    <a:lnTo>
                      <a:pt x="428" y="8"/>
                    </a:lnTo>
                    <a:lnTo>
                      <a:pt x="430" y="8"/>
                    </a:lnTo>
                    <a:lnTo>
                      <a:pt x="438" y="6"/>
                    </a:lnTo>
                    <a:lnTo>
                      <a:pt x="421" y="14"/>
                    </a:lnTo>
                    <a:lnTo>
                      <a:pt x="411" y="15"/>
                    </a:lnTo>
                    <a:lnTo>
                      <a:pt x="409" y="19"/>
                    </a:lnTo>
                    <a:lnTo>
                      <a:pt x="413" y="19"/>
                    </a:lnTo>
                    <a:lnTo>
                      <a:pt x="422" y="17"/>
                    </a:lnTo>
                    <a:lnTo>
                      <a:pt x="434" y="17"/>
                    </a:lnTo>
                    <a:lnTo>
                      <a:pt x="440" y="15"/>
                    </a:lnTo>
                    <a:lnTo>
                      <a:pt x="442" y="12"/>
                    </a:lnTo>
                    <a:lnTo>
                      <a:pt x="447" y="12"/>
                    </a:lnTo>
                    <a:lnTo>
                      <a:pt x="449" y="12"/>
                    </a:lnTo>
                    <a:lnTo>
                      <a:pt x="449" y="8"/>
                    </a:lnTo>
                    <a:lnTo>
                      <a:pt x="446" y="6"/>
                    </a:lnTo>
                    <a:lnTo>
                      <a:pt x="444" y="6"/>
                    </a:lnTo>
                    <a:lnTo>
                      <a:pt x="440" y="6"/>
                    </a:lnTo>
                    <a:lnTo>
                      <a:pt x="442" y="4"/>
                    </a:lnTo>
                    <a:lnTo>
                      <a:pt x="447" y="4"/>
                    </a:lnTo>
                    <a:lnTo>
                      <a:pt x="451" y="4"/>
                    </a:lnTo>
                    <a:lnTo>
                      <a:pt x="455" y="6"/>
                    </a:lnTo>
                    <a:lnTo>
                      <a:pt x="457" y="6"/>
                    </a:lnTo>
                    <a:lnTo>
                      <a:pt x="461" y="6"/>
                    </a:lnTo>
                    <a:lnTo>
                      <a:pt x="465" y="8"/>
                    </a:lnTo>
                    <a:lnTo>
                      <a:pt x="467" y="10"/>
                    </a:lnTo>
                    <a:lnTo>
                      <a:pt x="472" y="12"/>
                    </a:lnTo>
                    <a:lnTo>
                      <a:pt x="478" y="15"/>
                    </a:lnTo>
                    <a:lnTo>
                      <a:pt x="480" y="15"/>
                    </a:lnTo>
                    <a:lnTo>
                      <a:pt x="482" y="15"/>
                    </a:lnTo>
                    <a:lnTo>
                      <a:pt x="484" y="15"/>
                    </a:lnTo>
                    <a:lnTo>
                      <a:pt x="488" y="14"/>
                    </a:lnTo>
                    <a:lnTo>
                      <a:pt x="494" y="12"/>
                    </a:lnTo>
                    <a:lnTo>
                      <a:pt x="497" y="12"/>
                    </a:lnTo>
                    <a:lnTo>
                      <a:pt x="499" y="10"/>
                    </a:lnTo>
                    <a:lnTo>
                      <a:pt x="503" y="8"/>
                    </a:lnTo>
                    <a:lnTo>
                      <a:pt x="505" y="10"/>
                    </a:lnTo>
                    <a:lnTo>
                      <a:pt x="507" y="10"/>
                    </a:lnTo>
                    <a:lnTo>
                      <a:pt x="509" y="14"/>
                    </a:lnTo>
                    <a:lnTo>
                      <a:pt x="511" y="15"/>
                    </a:lnTo>
                    <a:lnTo>
                      <a:pt x="513" y="17"/>
                    </a:lnTo>
                    <a:lnTo>
                      <a:pt x="515" y="19"/>
                    </a:lnTo>
                    <a:lnTo>
                      <a:pt x="517" y="19"/>
                    </a:lnTo>
                    <a:lnTo>
                      <a:pt x="517" y="21"/>
                    </a:lnTo>
                    <a:lnTo>
                      <a:pt x="518" y="21"/>
                    </a:lnTo>
                    <a:lnTo>
                      <a:pt x="526" y="25"/>
                    </a:lnTo>
                    <a:lnTo>
                      <a:pt x="522" y="25"/>
                    </a:lnTo>
                    <a:lnTo>
                      <a:pt x="518" y="23"/>
                    </a:lnTo>
                    <a:lnTo>
                      <a:pt x="518" y="21"/>
                    </a:lnTo>
                    <a:lnTo>
                      <a:pt x="517" y="21"/>
                    </a:lnTo>
                    <a:lnTo>
                      <a:pt x="513" y="19"/>
                    </a:lnTo>
                    <a:lnTo>
                      <a:pt x="511" y="17"/>
                    </a:lnTo>
                    <a:lnTo>
                      <a:pt x="509" y="15"/>
                    </a:lnTo>
                    <a:lnTo>
                      <a:pt x="507" y="10"/>
                    </a:lnTo>
                    <a:lnTo>
                      <a:pt x="505" y="10"/>
                    </a:lnTo>
                    <a:lnTo>
                      <a:pt x="501" y="10"/>
                    </a:lnTo>
                    <a:lnTo>
                      <a:pt x="495" y="27"/>
                    </a:lnTo>
                    <a:lnTo>
                      <a:pt x="497" y="27"/>
                    </a:lnTo>
                    <a:lnTo>
                      <a:pt x="499" y="29"/>
                    </a:lnTo>
                    <a:lnTo>
                      <a:pt x="507" y="33"/>
                    </a:lnTo>
                    <a:lnTo>
                      <a:pt x="509" y="33"/>
                    </a:lnTo>
                    <a:lnTo>
                      <a:pt x="511" y="31"/>
                    </a:lnTo>
                    <a:lnTo>
                      <a:pt x="513" y="31"/>
                    </a:lnTo>
                    <a:lnTo>
                      <a:pt x="515" y="33"/>
                    </a:lnTo>
                    <a:lnTo>
                      <a:pt x="515" y="35"/>
                    </a:lnTo>
                    <a:lnTo>
                      <a:pt x="515" y="37"/>
                    </a:lnTo>
                    <a:lnTo>
                      <a:pt x="517" y="40"/>
                    </a:lnTo>
                    <a:lnTo>
                      <a:pt x="520" y="40"/>
                    </a:lnTo>
                    <a:lnTo>
                      <a:pt x="522" y="40"/>
                    </a:lnTo>
                    <a:lnTo>
                      <a:pt x="520" y="40"/>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4" name="Freeform 17">
                <a:extLst>
                  <a:ext uri="{FF2B5EF4-FFF2-40B4-BE49-F238E27FC236}">
                    <a16:creationId xmlns:a16="http://schemas.microsoft.com/office/drawing/2014/main" id="{E579F216-E4FB-4B3A-B6DC-C25233915F40}"/>
                  </a:ext>
                </a:extLst>
              </p:cNvPr>
              <p:cNvSpPr>
                <a:spLocks/>
              </p:cNvSpPr>
              <p:nvPr/>
            </p:nvSpPr>
            <p:spPr bwMode="gray">
              <a:xfrm>
                <a:off x="2701127" y="3187686"/>
                <a:ext cx="169402" cy="175734"/>
              </a:xfrm>
              <a:custGeom>
                <a:avLst/>
                <a:gdLst/>
                <a:ahLst/>
                <a:cxnLst>
                  <a:cxn ang="0">
                    <a:pos x="65" y="0"/>
                  </a:cxn>
                  <a:cxn ang="0">
                    <a:pos x="71" y="0"/>
                  </a:cxn>
                  <a:cxn ang="0">
                    <a:pos x="73" y="0"/>
                  </a:cxn>
                  <a:cxn ang="0">
                    <a:pos x="90" y="0"/>
                  </a:cxn>
                  <a:cxn ang="0">
                    <a:pos x="96" y="3"/>
                  </a:cxn>
                  <a:cxn ang="0">
                    <a:pos x="88" y="7"/>
                  </a:cxn>
                  <a:cxn ang="0">
                    <a:pos x="94" y="9"/>
                  </a:cxn>
                  <a:cxn ang="0">
                    <a:pos x="100" y="15"/>
                  </a:cxn>
                  <a:cxn ang="0">
                    <a:pos x="105" y="28"/>
                  </a:cxn>
                  <a:cxn ang="0">
                    <a:pos x="100" y="38"/>
                  </a:cxn>
                  <a:cxn ang="0">
                    <a:pos x="88" y="46"/>
                  </a:cxn>
                  <a:cxn ang="0">
                    <a:pos x="82" y="51"/>
                  </a:cxn>
                  <a:cxn ang="0">
                    <a:pos x="88" y="53"/>
                  </a:cxn>
                  <a:cxn ang="0">
                    <a:pos x="90" y="57"/>
                  </a:cxn>
                  <a:cxn ang="0">
                    <a:pos x="80" y="55"/>
                  </a:cxn>
                  <a:cxn ang="0">
                    <a:pos x="65" y="61"/>
                  </a:cxn>
                  <a:cxn ang="0">
                    <a:pos x="59" y="69"/>
                  </a:cxn>
                  <a:cxn ang="0">
                    <a:pos x="65" y="71"/>
                  </a:cxn>
                  <a:cxn ang="0">
                    <a:pos x="65" y="76"/>
                  </a:cxn>
                  <a:cxn ang="0">
                    <a:pos x="56" y="84"/>
                  </a:cxn>
                  <a:cxn ang="0">
                    <a:pos x="52" y="86"/>
                  </a:cxn>
                  <a:cxn ang="0">
                    <a:pos x="50" y="90"/>
                  </a:cxn>
                  <a:cxn ang="0">
                    <a:pos x="48" y="92"/>
                  </a:cxn>
                  <a:cxn ang="0">
                    <a:pos x="38" y="96"/>
                  </a:cxn>
                  <a:cxn ang="0">
                    <a:pos x="34" y="96"/>
                  </a:cxn>
                  <a:cxn ang="0">
                    <a:pos x="31" y="105"/>
                  </a:cxn>
                  <a:cxn ang="0">
                    <a:pos x="29" y="107"/>
                  </a:cxn>
                  <a:cxn ang="0">
                    <a:pos x="19" y="111"/>
                  </a:cxn>
                  <a:cxn ang="0">
                    <a:pos x="15" y="109"/>
                  </a:cxn>
                  <a:cxn ang="0">
                    <a:pos x="2" y="107"/>
                  </a:cxn>
                  <a:cxn ang="0">
                    <a:pos x="4" y="105"/>
                  </a:cxn>
                  <a:cxn ang="0">
                    <a:pos x="8" y="100"/>
                  </a:cxn>
                  <a:cxn ang="0">
                    <a:pos x="9" y="94"/>
                  </a:cxn>
                  <a:cxn ang="0">
                    <a:pos x="13" y="82"/>
                  </a:cxn>
                  <a:cxn ang="0">
                    <a:pos x="17" y="80"/>
                  </a:cxn>
                  <a:cxn ang="0">
                    <a:pos x="21" y="75"/>
                  </a:cxn>
                  <a:cxn ang="0">
                    <a:pos x="23" y="67"/>
                  </a:cxn>
                  <a:cxn ang="0">
                    <a:pos x="27" y="61"/>
                  </a:cxn>
                  <a:cxn ang="0">
                    <a:pos x="27" y="57"/>
                  </a:cxn>
                  <a:cxn ang="0">
                    <a:pos x="27" y="53"/>
                  </a:cxn>
                  <a:cxn ang="0">
                    <a:pos x="31" y="51"/>
                  </a:cxn>
                  <a:cxn ang="0">
                    <a:pos x="34" y="51"/>
                  </a:cxn>
                  <a:cxn ang="0">
                    <a:pos x="38" y="38"/>
                  </a:cxn>
                  <a:cxn ang="0">
                    <a:pos x="38" y="30"/>
                  </a:cxn>
                  <a:cxn ang="0">
                    <a:pos x="38" y="25"/>
                  </a:cxn>
                  <a:cxn ang="0">
                    <a:pos x="52" y="15"/>
                  </a:cxn>
                  <a:cxn ang="0">
                    <a:pos x="63" y="7"/>
                  </a:cxn>
                  <a:cxn ang="0">
                    <a:pos x="63" y="2"/>
                  </a:cxn>
                </a:cxnLst>
                <a:rect l="0" t="0" r="r" b="b"/>
                <a:pathLst>
                  <a:path w="107" h="111">
                    <a:moveTo>
                      <a:pt x="61" y="0"/>
                    </a:moveTo>
                    <a:lnTo>
                      <a:pt x="65" y="0"/>
                    </a:lnTo>
                    <a:lnTo>
                      <a:pt x="69" y="0"/>
                    </a:lnTo>
                    <a:lnTo>
                      <a:pt x="71" y="0"/>
                    </a:lnTo>
                    <a:lnTo>
                      <a:pt x="71" y="0"/>
                    </a:lnTo>
                    <a:lnTo>
                      <a:pt x="73" y="0"/>
                    </a:lnTo>
                    <a:lnTo>
                      <a:pt x="84" y="0"/>
                    </a:lnTo>
                    <a:lnTo>
                      <a:pt x="90" y="0"/>
                    </a:lnTo>
                    <a:lnTo>
                      <a:pt x="96" y="2"/>
                    </a:lnTo>
                    <a:lnTo>
                      <a:pt x="96" y="3"/>
                    </a:lnTo>
                    <a:lnTo>
                      <a:pt x="92" y="5"/>
                    </a:lnTo>
                    <a:lnTo>
                      <a:pt x="88" y="7"/>
                    </a:lnTo>
                    <a:lnTo>
                      <a:pt x="88" y="9"/>
                    </a:lnTo>
                    <a:lnTo>
                      <a:pt x="94" y="9"/>
                    </a:lnTo>
                    <a:lnTo>
                      <a:pt x="96" y="11"/>
                    </a:lnTo>
                    <a:lnTo>
                      <a:pt x="100" y="15"/>
                    </a:lnTo>
                    <a:lnTo>
                      <a:pt x="102" y="21"/>
                    </a:lnTo>
                    <a:lnTo>
                      <a:pt x="105" y="28"/>
                    </a:lnTo>
                    <a:lnTo>
                      <a:pt x="107" y="30"/>
                    </a:lnTo>
                    <a:lnTo>
                      <a:pt x="100" y="38"/>
                    </a:lnTo>
                    <a:lnTo>
                      <a:pt x="92" y="42"/>
                    </a:lnTo>
                    <a:lnTo>
                      <a:pt x="88" y="46"/>
                    </a:lnTo>
                    <a:lnTo>
                      <a:pt x="86" y="46"/>
                    </a:lnTo>
                    <a:lnTo>
                      <a:pt x="82" y="51"/>
                    </a:lnTo>
                    <a:lnTo>
                      <a:pt x="86" y="53"/>
                    </a:lnTo>
                    <a:lnTo>
                      <a:pt x="88" y="53"/>
                    </a:lnTo>
                    <a:lnTo>
                      <a:pt x="90" y="55"/>
                    </a:lnTo>
                    <a:lnTo>
                      <a:pt x="90" y="57"/>
                    </a:lnTo>
                    <a:lnTo>
                      <a:pt x="88" y="57"/>
                    </a:lnTo>
                    <a:lnTo>
                      <a:pt x="80" y="55"/>
                    </a:lnTo>
                    <a:lnTo>
                      <a:pt x="69" y="57"/>
                    </a:lnTo>
                    <a:lnTo>
                      <a:pt x="65" y="61"/>
                    </a:lnTo>
                    <a:lnTo>
                      <a:pt x="61" y="65"/>
                    </a:lnTo>
                    <a:lnTo>
                      <a:pt x="59" y="69"/>
                    </a:lnTo>
                    <a:lnTo>
                      <a:pt x="61" y="71"/>
                    </a:lnTo>
                    <a:lnTo>
                      <a:pt x="65" y="71"/>
                    </a:lnTo>
                    <a:lnTo>
                      <a:pt x="67" y="75"/>
                    </a:lnTo>
                    <a:lnTo>
                      <a:pt x="65" y="76"/>
                    </a:lnTo>
                    <a:lnTo>
                      <a:pt x="59" y="82"/>
                    </a:lnTo>
                    <a:lnTo>
                      <a:pt x="56" y="84"/>
                    </a:lnTo>
                    <a:lnTo>
                      <a:pt x="54" y="86"/>
                    </a:lnTo>
                    <a:lnTo>
                      <a:pt x="52" y="86"/>
                    </a:lnTo>
                    <a:lnTo>
                      <a:pt x="50" y="88"/>
                    </a:lnTo>
                    <a:lnTo>
                      <a:pt x="50" y="90"/>
                    </a:lnTo>
                    <a:lnTo>
                      <a:pt x="48" y="90"/>
                    </a:lnTo>
                    <a:lnTo>
                      <a:pt x="48" y="92"/>
                    </a:lnTo>
                    <a:lnTo>
                      <a:pt x="46" y="92"/>
                    </a:lnTo>
                    <a:lnTo>
                      <a:pt x="38" y="96"/>
                    </a:lnTo>
                    <a:lnTo>
                      <a:pt x="36" y="98"/>
                    </a:lnTo>
                    <a:lnTo>
                      <a:pt x="34" y="96"/>
                    </a:lnTo>
                    <a:lnTo>
                      <a:pt x="31" y="101"/>
                    </a:lnTo>
                    <a:lnTo>
                      <a:pt x="31" y="105"/>
                    </a:lnTo>
                    <a:lnTo>
                      <a:pt x="29" y="107"/>
                    </a:lnTo>
                    <a:lnTo>
                      <a:pt x="29" y="107"/>
                    </a:lnTo>
                    <a:lnTo>
                      <a:pt x="23" y="109"/>
                    </a:lnTo>
                    <a:lnTo>
                      <a:pt x="19" y="111"/>
                    </a:lnTo>
                    <a:lnTo>
                      <a:pt x="17" y="111"/>
                    </a:lnTo>
                    <a:lnTo>
                      <a:pt x="15" y="109"/>
                    </a:lnTo>
                    <a:lnTo>
                      <a:pt x="11" y="107"/>
                    </a:lnTo>
                    <a:lnTo>
                      <a:pt x="2" y="107"/>
                    </a:lnTo>
                    <a:lnTo>
                      <a:pt x="0" y="109"/>
                    </a:lnTo>
                    <a:lnTo>
                      <a:pt x="4" y="105"/>
                    </a:lnTo>
                    <a:lnTo>
                      <a:pt x="8" y="101"/>
                    </a:lnTo>
                    <a:lnTo>
                      <a:pt x="8" y="100"/>
                    </a:lnTo>
                    <a:lnTo>
                      <a:pt x="8" y="98"/>
                    </a:lnTo>
                    <a:lnTo>
                      <a:pt x="9" y="94"/>
                    </a:lnTo>
                    <a:lnTo>
                      <a:pt x="11" y="84"/>
                    </a:lnTo>
                    <a:lnTo>
                      <a:pt x="13" y="82"/>
                    </a:lnTo>
                    <a:lnTo>
                      <a:pt x="15" y="82"/>
                    </a:lnTo>
                    <a:lnTo>
                      <a:pt x="17" y="80"/>
                    </a:lnTo>
                    <a:lnTo>
                      <a:pt x="19" y="78"/>
                    </a:lnTo>
                    <a:lnTo>
                      <a:pt x="21" y="75"/>
                    </a:lnTo>
                    <a:lnTo>
                      <a:pt x="21" y="71"/>
                    </a:lnTo>
                    <a:lnTo>
                      <a:pt x="23" y="67"/>
                    </a:lnTo>
                    <a:lnTo>
                      <a:pt x="25" y="63"/>
                    </a:lnTo>
                    <a:lnTo>
                      <a:pt x="27" y="61"/>
                    </a:lnTo>
                    <a:lnTo>
                      <a:pt x="27" y="59"/>
                    </a:lnTo>
                    <a:lnTo>
                      <a:pt x="27" y="57"/>
                    </a:lnTo>
                    <a:lnTo>
                      <a:pt x="27" y="55"/>
                    </a:lnTo>
                    <a:lnTo>
                      <a:pt x="27" y="53"/>
                    </a:lnTo>
                    <a:lnTo>
                      <a:pt x="27" y="51"/>
                    </a:lnTo>
                    <a:lnTo>
                      <a:pt x="31" y="51"/>
                    </a:lnTo>
                    <a:lnTo>
                      <a:pt x="32" y="51"/>
                    </a:lnTo>
                    <a:lnTo>
                      <a:pt x="34" y="51"/>
                    </a:lnTo>
                    <a:lnTo>
                      <a:pt x="38" y="44"/>
                    </a:lnTo>
                    <a:lnTo>
                      <a:pt x="38" y="38"/>
                    </a:lnTo>
                    <a:lnTo>
                      <a:pt x="38" y="34"/>
                    </a:lnTo>
                    <a:lnTo>
                      <a:pt x="38" y="30"/>
                    </a:lnTo>
                    <a:lnTo>
                      <a:pt x="38" y="30"/>
                    </a:lnTo>
                    <a:lnTo>
                      <a:pt x="38" y="25"/>
                    </a:lnTo>
                    <a:lnTo>
                      <a:pt x="40" y="23"/>
                    </a:lnTo>
                    <a:lnTo>
                      <a:pt x="52" y="15"/>
                    </a:lnTo>
                    <a:lnTo>
                      <a:pt x="56" y="11"/>
                    </a:lnTo>
                    <a:lnTo>
                      <a:pt x="63" y="7"/>
                    </a:lnTo>
                    <a:lnTo>
                      <a:pt x="63" y="5"/>
                    </a:lnTo>
                    <a:lnTo>
                      <a:pt x="63" y="2"/>
                    </a:lnTo>
                    <a:lnTo>
                      <a:pt x="61" y="0"/>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5" name="Freeform 19">
                <a:extLst>
                  <a:ext uri="{FF2B5EF4-FFF2-40B4-BE49-F238E27FC236}">
                    <a16:creationId xmlns:a16="http://schemas.microsoft.com/office/drawing/2014/main" id="{0AFC3532-C383-4501-9FC6-00202FAFED0B}"/>
                  </a:ext>
                </a:extLst>
              </p:cNvPr>
              <p:cNvSpPr>
                <a:spLocks/>
              </p:cNvSpPr>
              <p:nvPr/>
            </p:nvSpPr>
            <p:spPr bwMode="gray">
              <a:xfrm>
                <a:off x="2758121" y="2894797"/>
                <a:ext cx="752014" cy="550949"/>
              </a:xfrm>
              <a:custGeom>
                <a:avLst/>
                <a:gdLst/>
                <a:ahLst/>
                <a:cxnLst>
                  <a:cxn ang="0">
                    <a:pos x="2" y="283"/>
                  </a:cxn>
                  <a:cxn ang="0">
                    <a:pos x="12" y="275"/>
                  </a:cxn>
                  <a:cxn ang="0">
                    <a:pos x="20" y="269"/>
                  </a:cxn>
                  <a:cxn ang="0">
                    <a:pos x="25" y="256"/>
                  </a:cxn>
                  <a:cxn ang="0">
                    <a:pos x="44" y="240"/>
                  </a:cxn>
                  <a:cxn ang="0">
                    <a:pos x="50" y="238"/>
                  </a:cxn>
                  <a:cxn ang="0">
                    <a:pos x="64" y="223"/>
                  </a:cxn>
                  <a:cxn ang="0">
                    <a:pos x="60" y="196"/>
                  </a:cxn>
                  <a:cxn ang="0">
                    <a:pos x="60" y="188"/>
                  </a:cxn>
                  <a:cxn ang="0">
                    <a:pos x="35" y="185"/>
                  </a:cxn>
                  <a:cxn ang="0">
                    <a:pos x="23" y="181"/>
                  </a:cxn>
                  <a:cxn ang="0">
                    <a:pos x="20" y="156"/>
                  </a:cxn>
                  <a:cxn ang="0">
                    <a:pos x="23" y="142"/>
                  </a:cxn>
                  <a:cxn ang="0">
                    <a:pos x="8" y="119"/>
                  </a:cxn>
                  <a:cxn ang="0">
                    <a:pos x="21" y="94"/>
                  </a:cxn>
                  <a:cxn ang="0">
                    <a:pos x="39" y="102"/>
                  </a:cxn>
                  <a:cxn ang="0">
                    <a:pos x="43" y="92"/>
                  </a:cxn>
                  <a:cxn ang="0">
                    <a:pos x="54" y="77"/>
                  </a:cxn>
                  <a:cxn ang="0">
                    <a:pos x="71" y="75"/>
                  </a:cxn>
                  <a:cxn ang="0">
                    <a:pos x="68" y="60"/>
                  </a:cxn>
                  <a:cxn ang="0">
                    <a:pos x="73" y="31"/>
                  </a:cxn>
                  <a:cxn ang="0">
                    <a:pos x="106" y="44"/>
                  </a:cxn>
                  <a:cxn ang="0">
                    <a:pos x="137" y="40"/>
                  </a:cxn>
                  <a:cxn ang="0">
                    <a:pos x="160" y="35"/>
                  </a:cxn>
                  <a:cxn ang="0">
                    <a:pos x="171" y="31"/>
                  </a:cxn>
                  <a:cxn ang="0">
                    <a:pos x="198" y="27"/>
                  </a:cxn>
                  <a:cxn ang="0">
                    <a:pos x="217" y="40"/>
                  </a:cxn>
                  <a:cxn ang="0">
                    <a:pos x="240" y="40"/>
                  </a:cxn>
                  <a:cxn ang="0">
                    <a:pos x="254" y="42"/>
                  </a:cxn>
                  <a:cxn ang="0">
                    <a:pos x="294" y="37"/>
                  </a:cxn>
                  <a:cxn ang="0">
                    <a:pos x="327" y="25"/>
                  </a:cxn>
                  <a:cxn ang="0">
                    <a:pos x="344" y="17"/>
                  </a:cxn>
                  <a:cxn ang="0">
                    <a:pos x="363" y="12"/>
                  </a:cxn>
                  <a:cxn ang="0">
                    <a:pos x="404" y="14"/>
                  </a:cxn>
                  <a:cxn ang="0">
                    <a:pos x="448" y="8"/>
                  </a:cxn>
                  <a:cxn ang="0">
                    <a:pos x="463" y="0"/>
                  </a:cxn>
                  <a:cxn ang="0">
                    <a:pos x="475" y="14"/>
                  </a:cxn>
                  <a:cxn ang="0">
                    <a:pos x="404" y="56"/>
                  </a:cxn>
                  <a:cxn ang="0">
                    <a:pos x="404" y="102"/>
                  </a:cxn>
                  <a:cxn ang="0">
                    <a:pos x="396" y="129"/>
                  </a:cxn>
                  <a:cxn ang="0">
                    <a:pos x="394" y="142"/>
                  </a:cxn>
                  <a:cxn ang="0">
                    <a:pos x="392" y="156"/>
                  </a:cxn>
                  <a:cxn ang="0">
                    <a:pos x="379" y="200"/>
                  </a:cxn>
                  <a:cxn ang="0">
                    <a:pos x="294" y="240"/>
                  </a:cxn>
                  <a:cxn ang="0">
                    <a:pos x="223" y="273"/>
                  </a:cxn>
                  <a:cxn ang="0">
                    <a:pos x="141" y="317"/>
                  </a:cxn>
                  <a:cxn ang="0">
                    <a:pos x="89" y="346"/>
                  </a:cxn>
                  <a:cxn ang="0">
                    <a:pos x="62" y="344"/>
                  </a:cxn>
                  <a:cxn ang="0">
                    <a:pos x="39" y="334"/>
                  </a:cxn>
                  <a:cxn ang="0">
                    <a:pos x="23" y="319"/>
                  </a:cxn>
                  <a:cxn ang="0">
                    <a:pos x="2" y="321"/>
                  </a:cxn>
                  <a:cxn ang="0">
                    <a:pos x="2" y="310"/>
                  </a:cxn>
                  <a:cxn ang="0">
                    <a:pos x="2" y="300"/>
                  </a:cxn>
                  <a:cxn ang="0">
                    <a:pos x="4" y="285"/>
                  </a:cxn>
                </a:cxnLst>
                <a:rect l="0" t="0" r="r" b="b"/>
                <a:pathLst>
                  <a:path w="475" h="348">
                    <a:moveTo>
                      <a:pt x="4" y="285"/>
                    </a:moveTo>
                    <a:lnTo>
                      <a:pt x="4" y="283"/>
                    </a:lnTo>
                    <a:lnTo>
                      <a:pt x="4" y="283"/>
                    </a:lnTo>
                    <a:lnTo>
                      <a:pt x="4" y="283"/>
                    </a:lnTo>
                    <a:lnTo>
                      <a:pt x="2" y="283"/>
                    </a:lnTo>
                    <a:lnTo>
                      <a:pt x="0" y="283"/>
                    </a:lnTo>
                    <a:lnTo>
                      <a:pt x="2" y="281"/>
                    </a:lnTo>
                    <a:lnTo>
                      <a:pt x="10" y="277"/>
                    </a:lnTo>
                    <a:lnTo>
                      <a:pt x="12" y="277"/>
                    </a:lnTo>
                    <a:lnTo>
                      <a:pt x="12" y="275"/>
                    </a:lnTo>
                    <a:lnTo>
                      <a:pt x="14" y="275"/>
                    </a:lnTo>
                    <a:lnTo>
                      <a:pt x="14" y="273"/>
                    </a:lnTo>
                    <a:lnTo>
                      <a:pt x="16" y="271"/>
                    </a:lnTo>
                    <a:lnTo>
                      <a:pt x="18" y="271"/>
                    </a:lnTo>
                    <a:lnTo>
                      <a:pt x="20" y="269"/>
                    </a:lnTo>
                    <a:lnTo>
                      <a:pt x="23" y="267"/>
                    </a:lnTo>
                    <a:lnTo>
                      <a:pt x="29" y="261"/>
                    </a:lnTo>
                    <a:lnTo>
                      <a:pt x="31" y="260"/>
                    </a:lnTo>
                    <a:lnTo>
                      <a:pt x="29" y="256"/>
                    </a:lnTo>
                    <a:lnTo>
                      <a:pt x="25" y="256"/>
                    </a:lnTo>
                    <a:lnTo>
                      <a:pt x="23" y="254"/>
                    </a:lnTo>
                    <a:lnTo>
                      <a:pt x="25" y="250"/>
                    </a:lnTo>
                    <a:lnTo>
                      <a:pt x="29" y="246"/>
                    </a:lnTo>
                    <a:lnTo>
                      <a:pt x="33" y="242"/>
                    </a:lnTo>
                    <a:lnTo>
                      <a:pt x="44" y="240"/>
                    </a:lnTo>
                    <a:lnTo>
                      <a:pt x="52" y="242"/>
                    </a:lnTo>
                    <a:lnTo>
                      <a:pt x="54" y="242"/>
                    </a:lnTo>
                    <a:lnTo>
                      <a:pt x="54" y="240"/>
                    </a:lnTo>
                    <a:lnTo>
                      <a:pt x="52" y="238"/>
                    </a:lnTo>
                    <a:lnTo>
                      <a:pt x="50" y="238"/>
                    </a:lnTo>
                    <a:lnTo>
                      <a:pt x="46" y="236"/>
                    </a:lnTo>
                    <a:lnTo>
                      <a:pt x="50" y="231"/>
                    </a:lnTo>
                    <a:lnTo>
                      <a:pt x="52" y="231"/>
                    </a:lnTo>
                    <a:lnTo>
                      <a:pt x="56" y="227"/>
                    </a:lnTo>
                    <a:lnTo>
                      <a:pt x="64" y="223"/>
                    </a:lnTo>
                    <a:lnTo>
                      <a:pt x="71" y="215"/>
                    </a:lnTo>
                    <a:lnTo>
                      <a:pt x="69" y="213"/>
                    </a:lnTo>
                    <a:lnTo>
                      <a:pt x="66" y="206"/>
                    </a:lnTo>
                    <a:lnTo>
                      <a:pt x="64" y="200"/>
                    </a:lnTo>
                    <a:lnTo>
                      <a:pt x="60" y="196"/>
                    </a:lnTo>
                    <a:lnTo>
                      <a:pt x="58" y="194"/>
                    </a:lnTo>
                    <a:lnTo>
                      <a:pt x="52" y="194"/>
                    </a:lnTo>
                    <a:lnTo>
                      <a:pt x="52" y="192"/>
                    </a:lnTo>
                    <a:lnTo>
                      <a:pt x="56" y="190"/>
                    </a:lnTo>
                    <a:lnTo>
                      <a:pt x="60" y="188"/>
                    </a:lnTo>
                    <a:lnTo>
                      <a:pt x="60" y="187"/>
                    </a:lnTo>
                    <a:lnTo>
                      <a:pt x="54" y="185"/>
                    </a:lnTo>
                    <a:lnTo>
                      <a:pt x="48" y="185"/>
                    </a:lnTo>
                    <a:lnTo>
                      <a:pt x="37" y="185"/>
                    </a:lnTo>
                    <a:lnTo>
                      <a:pt x="35" y="185"/>
                    </a:lnTo>
                    <a:lnTo>
                      <a:pt x="35" y="185"/>
                    </a:lnTo>
                    <a:lnTo>
                      <a:pt x="33" y="185"/>
                    </a:lnTo>
                    <a:lnTo>
                      <a:pt x="29" y="185"/>
                    </a:lnTo>
                    <a:lnTo>
                      <a:pt x="25" y="185"/>
                    </a:lnTo>
                    <a:lnTo>
                      <a:pt x="23" y="181"/>
                    </a:lnTo>
                    <a:lnTo>
                      <a:pt x="23" y="179"/>
                    </a:lnTo>
                    <a:lnTo>
                      <a:pt x="20" y="169"/>
                    </a:lnTo>
                    <a:lnTo>
                      <a:pt x="20" y="165"/>
                    </a:lnTo>
                    <a:lnTo>
                      <a:pt x="20" y="162"/>
                    </a:lnTo>
                    <a:lnTo>
                      <a:pt x="20" y="156"/>
                    </a:lnTo>
                    <a:lnTo>
                      <a:pt x="20" y="152"/>
                    </a:lnTo>
                    <a:lnTo>
                      <a:pt x="21" y="148"/>
                    </a:lnTo>
                    <a:lnTo>
                      <a:pt x="25" y="146"/>
                    </a:lnTo>
                    <a:lnTo>
                      <a:pt x="23" y="144"/>
                    </a:lnTo>
                    <a:lnTo>
                      <a:pt x="23" y="142"/>
                    </a:lnTo>
                    <a:lnTo>
                      <a:pt x="23" y="140"/>
                    </a:lnTo>
                    <a:lnTo>
                      <a:pt x="21" y="131"/>
                    </a:lnTo>
                    <a:lnTo>
                      <a:pt x="18" y="127"/>
                    </a:lnTo>
                    <a:lnTo>
                      <a:pt x="12" y="125"/>
                    </a:lnTo>
                    <a:lnTo>
                      <a:pt x="8" y="119"/>
                    </a:lnTo>
                    <a:lnTo>
                      <a:pt x="12" y="115"/>
                    </a:lnTo>
                    <a:lnTo>
                      <a:pt x="16" y="110"/>
                    </a:lnTo>
                    <a:lnTo>
                      <a:pt x="16" y="108"/>
                    </a:lnTo>
                    <a:lnTo>
                      <a:pt x="20" y="100"/>
                    </a:lnTo>
                    <a:lnTo>
                      <a:pt x="21" y="94"/>
                    </a:lnTo>
                    <a:lnTo>
                      <a:pt x="29" y="96"/>
                    </a:lnTo>
                    <a:lnTo>
                      <a:pt x="35" y="100"/>
                    </a:lnTo>
                    <a:lnTo>
                      <a:pt x="37" y="100"/>
                    </a:lnTo>
                    <a:lnTo>
                      <a:pt x="37" y="102"/>
                    </a:lnTo>
                    <a:lnTo>
                      <a:pt x="39" y="102"/>
                    </a:lnTo>
                    <a:lnTo>
                      <a:pt x="39" y="102"/>
                    </a:lnTo>
                    <a:lnTo>
                      <a:pt x="41" y="100"/>
                    </a:lnTo>
                    <a:lnTo>
                      <a:pt x="41" y="98"/>
                    </a:lnTo>
                    <a:lnTo>
                      <a:pt x="41" y="96"/>
                    </a:lnTo>
                    <a:lnTo>
                      <a:pt x="43" y="92"/>
                    </a:lnTo>
                    <a:lnTo>
                      <a:pt x="48" y="92"/>
                    </a:lnTo>
                    <a:lnTo>
                      <a:pt x="54" y="90"/>
                    </a:lnTo>
                    <a:lnTo>
                      <a:pt x="54" y="87"/>
                    </a:lnTo>
                    <a:lnTo>
                      <a:pt x="54" y="83"/>
                    </a:lnTo>
                    <a:lnTo>
                      <a:pt x="54" y="77"/>
                    </a:lnTo>
                    <a:lnTo>
                      <a:pt x="54" y="75"/>
                    </a:lnTo>
                    <a:lnTo>
                      <a:pt x="64" y="73"/>
                    </a:lnTo>
                    <a:lnTo>
                      <a:pt x="66" y="73"/>
                    </a:lnTo>
                    <a:lnTo>
                      <a:pt x="68" y="73"/>
                    </a:lnTo>
                    <a:lnTo>
                      <a:pt x="71" y="75"/>
                    </a:lnTo>
                    <a:lnTo>
                      <a:pt x="75" y="73"/>
                    </a:lnTo>
                    <a:lnTo>
                      <a:pt x="75" y="69"/>
                    </a:lnTo>
                    <a:lnTo>
                      <a:pt x="73" y="67"/>
                    </a:lnTo>
                    <a:lnTo>
                      <a:pt x="68" y="62"/>
                    </a:lnTo>
                    <a:lnTo>
                      <a:pt x="68" y="60"/>
                    </a:lnTo>
                    <a:lnTo>
                      <a:pt x="66" y="56"/>
                    </a:lnTo>
                    <a:lnTo>
                      <a:pt x="68" y="46"/>
                    </a:lnTo>
                    <a:lnTo>
                      <a:pt x="73" y="33"/>
                    </a:lnTo>
                    <a:lnTo>
                      <a:pt x="73" y="31"/>
                    </a:lnTo>
                    <a:lnTo>
                      <a:pt x="73" y="31"/>
                    </a:lnTo>
                    <a:lnTo>
                      <a:pt x="77" y="31"/>
                    </a:lnTo>
                    <a:lnTo>
                      <a:pt x="92" y="35"/>
                    </a:lnTo>
                    <a:lnTo>
                      <a:pt x="96" y="37"/>
                    </a:lnTo>
                    <a:lnTo>
                      <a:pt x="100" y="39"/>
                    </a:lnTo>
                    <a:lnTo>
                      <a:pt x="106" y="44"/>
                    </a:lnTo>
                    <a:lnTo>
                      <a:pt x="116" y="42"/>
                    </a:lnTo>
                    <a:lnTo>
                      <a:pt x="116" y="42"/>
                    </a:lnTo>
                    <a:lnTo>
                      <a:pt x="123" y="44"/>
                    </a:lnTo>
                    <a:lnTo>
                      <a:pt x="135" y="42"/>
                    </a:lnTo>
                    <a:lnTo>
                      <a:pt x="137" y="40"/>
                    </a:lnTo>
                    <a:lnTo>
                      <a:pt x="144" y="39"/>
                    </a:lnTo>
                    <a:lnTo>
                      <a:pt x="146" y="37"/>
                    </a:lnTo>
                    <a:lnTo>
                      <a:pt x="148" y="37"/>
                    </a:lnTo>
                    <a:lnTo>
                      <a:pt x="152" y="37"/>
                    </a:lnTo>
                    <a:lnTo>
                      <a:pt x="160" y="35"/>
                    </a:lnTo>
                    <a:lnTo>
                      <a:pt x="162" y="35"/>
                    </a:lnTo>
                    <a:lnTo>
                      <a:pt x="164" y="33"/>
                    </a:lnTo>
                    <a:lnTo>
                      <a:pt x="167" y="33"/>
                    </a:lnTo>
                    <a:lnTo>
                      <a:pt x="169" y="31"/>
                    </a:lnTo>
                    <a:lnTo>
                      <a:pt x="171" y="31"/>
                    </a:lnTo>
                    <a:lnTo>
                      <a:pt x="175" y="29"/>
                    </a:lnTo>
                    <a:lnTo>
                      <a:pt x="181" y="27"/>
                    </a:lnTo>
                    <a:lnTo>
                      <a:pt x="185" y="25"/>
                    </a:lnTo>
                    <a:lnTo>
                      <a:pt x="194" y="27"/>
                    </a:lnTo>
                    <a:lnTo>
                      <a:pt x="198" y="27"/>
                    </a:lnTo>
                    <a:lnTo>
                      <a:pt x="204" y="29"/>
                    </a:lnTo>
                    <a:lnTo>
                      <a:pt x="206" y="31"/>
                    </a:lnTo>
                    <a:lnTo>
                      <a:pt x="212" y="37"/>
                    </a:lnTo>
                    <a:lnTo>
                      <a:pt x="215" y="39"/>
                    </a:lnTo>
                    <a:lnTo>
                      <a:pt x="217" y="40"/>
                    </a:lnTo>
                    <a:lnTo>
                      <a:pt x="221" y="40"/>
                    </a:lnTo>
                    <a:lnTo>
                      <a:pt x="231" y="40"/>
                    </a:lnTo>
                    <a:lnTo>
                      <a:pt x="235" y="40"/>
                    </a:lnTo>
                    <a:lnTo>
                      <a:pt x="238" y="40"/>
                    </a:lnTo>
                    <a:lnTo>
                      <a:pt x="240" y="40"/>
                    </a:lnTo>
                    <a:lnTo>
                      <a:pt x="242" y="40"/>
                    </a:lnTo>
                    <a:lnTo>
                      <a:pt x="244" y="40"/>
                    </a:lnTo>
                    <a:lnTo>
                      <a:pt x="246" y="42"/>
                    </a:lnTo>
                    <a:lnTo>
                      <a:pt x="250" y="42"/>
                    </a:lnTo>
                    <a:lnTo>
                      <a:pt x="254" y="42"/>
                    </a:lnTo>
                    <a:lnTo>
                      <a:pt x="256" y="42"/>
                    </a:lnTo>
                    <a:lnTo>
                      <a:pt x="260" y="42"/>
                    </a:lnTo>
                    <a:lnTo>
                      <a:pt x="269" y="40"/>
                    </a:lnTo>
                    <a:lnTo>
                      <a:pt x="279" y="39"/>
                    </a:lnTo>
                    <a:lnTo>
                      <a:pt x="294" y="37"/>
                    </a:lnTo>
                    <a:lnTo>
                      <a:pt x="302" y="35"/>
                    </a:lnTo>
                    <a:lnTo>
                      <a:pt x="304" y="35"/>
                    </a:lnTo>
                    <a:lnTo>
                      <a:pt x="308" y="33"/>
                    </a:lnTo>
                    <a:lnTo>
                      <a:pt x="323" y="27"/>
                    </a:lnTo>
                    <a:lnTo>
                      <a:pt x="327" y="25"/>
                    </a:lnTo>
                    <a:lnTo>
                      <a:pt x="327" y="25"/>
                    </a:lnTo>
                    <a:lnTo>
                      <a:pt x="336" y="19"/>
                    </a:lnTo>
                    <a:lnTo>
                      <a:pt x="338" y="19"/>
                    </a:lnTo>
                    <a:lnTo>
                      <a:pt x="342" y="17"/>
                    </a:lnTo>
                    <a:lnTo>
                      <a:pt x="344" y="17"/>
                    </a:lnTo>
                    <a:lnTo>
                      <a:pt x="352" y="15"/>
                    </a:lnTo>
                    <a:lnTo>
                      <a:pt x="354" y="14"/>
                    </a:lnTo>
                    <a:lnTo>
                      <a:pt x="356" y="14"/>
                    </a:lnTo>
                    <a:lnTo>
                      <a:pt x="361" y="12"/>
                    </a:lnTo>
                    <a:lnTo>
                      <a:pt x="363" y="12"/>
                    </a:lnTo>
                    <a:lnTo>
                      <a:pt x="371" y="10"/>
                    </a:lnTo>
                    <a:lnTo>
                      <a:pt x="373" y="10"/>
                    </a:lnTo>
                    <a:lnTo>
                      <a:pt x="386" y="14"/>
                    </a:lnTo>
                    <a:lnTo>
                      <a:pt x="392" y="14"/>
                    </a:lnTo>
                    <a:lnTo>
                      <a:pt x="404" y="14"/>
                    </a:lnTo>
                    <a:lnTo>
                      <a:pt x="409" y="14"/>
                    </a:lnTo>
                    <a:lnTo>
                      <a:pt x="411" y="14"/>
                    </a:lnTo>
                    <a:lnTo>
                      <a:pt x="415" y="14"/>
                    </a:lnTo>
                    <a:lnTo>
                      <a:pt x="436" y="10"/>
                    </a:lnTo>
                    <a:lnTo>
                      <a:pt x="448" y="8"/>
                    </a:lnTo>
                    <a:lnTo>
                      <a:pt x="452" y="6"/>
                    </a:lnTo>
                    <a:lnTo>
                      <a:pt x="454" y="6"/>
                    </a:lnTo>
                    <a:lnTo>
                      <a:pt x="457" y="2"/>
                    </a:lnTo>
                    <a:lnTo>
                      <a:pt x="459" y="0"/>
                    </a:lnTo>
                    <a:lnTo>
                      <a:pt x="463" y="0"/>
                    </a:lnTo>
                    <a:lnTo>
                      <a:pt x="469" y="0"/>
                    </a:lnTo>
                    <a:lnTo>
                      <a:pt x="473" y="4"/>
                    </a:lnTo>
                    <a:lnTo>
                      <a:pt x="473" y="10"/>
                    </a:lnTo>
                    <a:lnTo>
                      <a:pt x="473" y="12"/>
                    </a:lnTo>
                    <a:lnTo>
                      <a:pt x="475" y="14"/>
                    </a:lnTo>
                    <a:lnTo>
                      <a:pt x="475" y="15"/>
                    </a:lnTo>
                    <a:lnTo>
                      <a:pt x="473" y="15"/>
                    </a:lnTo>
                    <a:lnTo>
                      <a:pt x="436" y="48"/>
                    </a:lnTo>
                    <a:lnTo>
                      <a:pt x="406" y="52"/>
                    </a:lnTo>
                    <a:lnTo>
                      <a:pt x="404" y="56"/>
                    </a:lnTo>
                    <a:lnTo>
                      <a:pt x="398" y="65"/>
                    </a:lnTo>
                    <a:lnTo>
                      <a:pt x="396" y="87"/>
                    </a:lnTo>
                    <a:lnTo>
                      <a:pt x="396" y="89"/>
                    </a:lnTo>
                    <a:lnTo>
                      <a:pt x="402" y="98"/>
                    </a:lnTo>
                    <a:lnTo>
                      <a:pt x="404" y="102"/>
                    </a:lnTo>
                    <a:lnTo>
                      <a:pt x="404" y="115"/>
                    </a:lnTo>
                    <a:lnTo>
                      <a:pt x="400" y="121"/>
                    </a:lnTo>
                    <a:lnTo>
                      <a:pt x="398" y="125"/>
                    </a:lnTo>
                    <a:lnTo>
                      <a:pt x="396" y="127"/>
                    </a:lnTo>
                    <a:lnTo>
                      <a:pt x="396" y="129"/>
                    </a:lnTo>
                    <a:lnTo>
                      <a:pt x="396" y="133"/>
                    </a:lnTo>
                    <a:lnTo>
                      <a:pt x="396" y="135"/>
                    </a:lnTo>
                    <a:lnTo>
                      <a:pt x="396" y="137"/>
                    </a:lnTo>
                    <a:lnTo>
                      <a:pt x="394" y="138"/>
                    </a:lnTo>
                    <a:lnTo>
                      <a:pt x="394" y="142"/>
                    </a:lnTo>
                    <a:lnTo>
                      <a:pt x="392" y="144"/>
                    </a:lnTo>
                    <a:lnTo>
                      <a:pt x="392" y="146"/>
                    </a:lnTo>
                    <a:lnTo>
                      <a:pt x="392" y="146"/>
                    </a:lnTo>
                    <a:lnTo>
                      <a:pt x="392" y="152"/>
                    </a:lnTo>
                    <a:lnTo>
                      <a:pt x="392" y="156"/>
                    </a:lnTo>
                    <a:lnTo>
                      <a:pt x="394" y="165"/>
                    </a:lnTo>
                    <a:lnTo>
                      <a:pt x="394" y="175"/>
                    </a:lnTo>
                    <a:lnTo>
                      <a:pt x="384" y="187"/>
                    </a:lnTo>
                    <a:lnTo>
                      <a:pt x="381" y="196"/>
                    </a:lnTo>
                    <a:lnTo>
                      <a:pt x="379" y="200"/>
                    </a:lnTo>
                    <a:lnTo>
                      <a:pt x="354" y="211"/>
                    </a:lnTo>
                    <a:lnTo>
                      <a:pt x="321" y="227"/>
                    </a:lnTo>
                    <a:lnTo>
                      <a:pt x="319" y="229"/>
                    </a:lnTo>
                    <a:lnTo>
                      <a:pt x="308" y="233"/>
                    </a:lnTo>
                    <a:lnTo>
                      <a:pt x="294" y="240"/>
                    </a:lnTo>
                    <a:lnTo>
                      <a:pt x="279" y="248"/>
                    </a:lnTo>
                    <a:lnTo>
                      <a:pt x="265" y="254"/>
                    </a:lnTo>
                    <a:lnTo>
                      <a:pt x="235" y="267"/>
                    </a:lnTo>
                    <a:lnTo>
                      <a:pt x="225" y="273"/>
                    </a:lnTo>
                    <a:lnTo>
                      <a:pt x="223" y="273"/>
                    </a:lnTo>
                    <a:lnTo>
                      <a:pt x="215" y="277"/>
                    </a:lnTo>
                    <a:lnTo>
                      <a:pt x="204" y="283"/>
                    </a:lnTo>
                    <a:lnTo>
                      <a:pt x="190" y="290"/>
                    </a:lnTo>
                    <a:lnTo>
                      <a:pt x="165" y="304"/>
                    </a:lnTo>
                    <a:lnTo>
                      <a:pt x="141" y="317"/>
                    </a:lnTo>
                    <a:lnTo>
                      <a:pt x="133" y="321"/>
                    </a:lnTo>
                    <a:lnTo>
                      <a:pt x="133" y="321"/>
                    </a:lnTo>
                    <a:lnTo>
                      <a:pt x="133" y="321"/>
                    </a:lnTo>
                    <a:lnTo>
                      <a:pt x="108" y="334"/>
                    </a:lnTo>
                    <a:lnTo>
                      <a:pt x="89" y="346"/>
                    </a:lnTo>
                    <a:lnTo>
                      <a:pt x="87" y="348"/>
                    </a:lnTo>
                    <a:lnTo>
                      <a:pt x="79" y="346"/>
                    </a:lnTo>
                    <a:lnTo>
                      <a:pt x="73" y="346"/>
                    </a:lnTo>
                    <a:lnTo>
                      <a:pt x="64" y="344"/>
                    </a:lnTo>
                    <a:lnTo>
                      <a:pt x="62" y="344"/>
                    </a:lnTo>
                    <a:lnTo>
                      <a:pt x="56" y="344"/>
                    </a:lnTo>
                    <a:lnTo>
                      <a:pt x="52" y="340"/>
                    </a:lnTo>
                    <a:lnTo>
                      <a:pt x="50" y="338"/>
                    </a:lnTo>
                    <a:lnTo>
                      <a:pt x="41" y="333"/>
                    </a:lnTo>
                    <a:lnTo>
                      <a:pt x="39" y="334"/>
                    </a:lnTo>
                    <a:lnTo>
                      <a:pt x="37" y="333"/>
                    </a:lnTo>
                    <a:lnTo>
                      <a:pt x="33" y="333"/>
                    </a:lnTo>
                    <a:lnTo>
                      <a:pt x="29" y="327"/>
                    </a:lnTo>
                    <a:lnTo>
                      <a:pt x="27" y="323"/>
                    </a:lnTo>
                    <a:lnTo>
                      <a:pt x="23" y="319"/>
                    </a:lnTo>
                    <a:lnTo>
                      <a:pt x="14" y="317"/>
                    </a:lnTo>
                    <a:lnTo>
                      <a:pt x="10" y="317"/>
                    </a:lnTo>
                    <a:lnTo>
                      <a:pt x="6" y="319"/>
                    </a:lnTo>
                    <a:lnTo>
                      <a:pt x="2" y="321"/>
                    </a:lnTo>
                    <a:lnTo>
                      <a:pt x="2" y="321"/>
                    </a:lnTo>
                    <a:lnTo>
                      <a:pt x="2" y="319"/>
                    </a:lnTo>
                    <a:lnTo>
                      <a:pt x="4" y="317"/>
                    </a:lnTo>
                    <a:lnTo>
                      <a:pt x="4" y="313"/>
                    </a:lnTo>
                    <a:lnTo>
                      <a:pt x="2" y="313"/>
                    </a:lnTo>
                    <a:lnTo>
                      <a:pt x="2" y="310"/>
                    </a:lnTo>
                    <a:lnTo>
                      <a:pt x="0" y="308"/>
                    </a:lnTo>
                    <a:lnTo>
                      <a:pt x="0" y="308"/>
                    </a:lnTo>
                    <a:lnTo>
                      <a:pt x="0" y="306"/>
                    </a:lnTo>
                    <a:lnTo>
                      <a:pt x="2" y="304"/>
                    </a:lnTo>
                    <a:lnTo>
                      <a:pt x="2" y="300"/>
                    </a:lnTo>
                    <a:lnTo>
                      <a:pt x="2" y="296"/>
                    </a:lnTo>
                    <a:lnTo>
                      <a:pt x="2" y="294"/>
                    </a:lnTo>
                    <a:lnTo>
                      <a:pt x="2" y="290"/>
                    </a:lnTo>
                    <a:lnTo>
                      <a:pt x="4" y="285"/>
                    </a:lnTo>
                    <a:lnTo>
                      <a:pt x="4" y="285"/>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6" name="Freeform 26">
                <a:extLst>
                  <a:ext uri="{FF2B5EF4-FFF2-40B4-BE49-F238E27FC236}">
                    <a16:creationId xmlns:a16="http://schemas.microsoft.com/office/drawing/2014/main" id="{29B8F301-58C6-4041-8E82-8FF92BE057E3}"/>
                  </a:ext>
                </a:extLst>
              </p:cNvPr>
              <p:cNvSpPr>
                <a:spLocks noEditPoints="1"/>
              </p:cNvSpPr>
              <p:nvPr/>
            </p:nvSpPr>
            <p:spPr bwMode="gray">
              <a:xfrm>
                <a:off x="4574038" y="4105934"/>
                <a:ext cx="872336" cy="1076567"/>
              </a:xfrm>
              <a:custGeom>
                <a:avLst/>
                <a:gdLst/>
                <a:ahLst/>
                <a:cxnLst>
                  <a:cxn ang="0">
                    <a:pos x="226" y="242"/>
                  </a:cxn>
                  <a:cxn ang="0">
                    <a:pos x="234" y="215"/>
                  </a:cxn>
                  <a:cxn ang="0">
                    <a:pos x="246" y="167"/>
                  </a:cxn>
                  <a:cxn ang="0">
                    <a:pos x="276" y="150"/>
                  </a:cxn>
                  <a:cxn ang="0">
                    <a:pos x="267" y="133"/>
                  </a:cxn>
                  <a:cxn ang="0">
                    <a:pos x="269" y="104"/>
                  </a:cxn>
                  <a:cxn ang="0">
                    <a:pos x="280" y="96"/>
                  </a:cxn>
                  <a:cxn ang="0">
                    <a:pos x="286" y="113"/>
                  </a:cxn>
                  <a:cxn ang="0">
                    <a:pos x="299" y="106"/>
                  </a:cxn>
                  <a:cxn ang="0">
                    <a:pos x="305" y="98"/>
                  </a:cxn>
                  <a:cxn ang="0">
                    <a:pos x="317" y="121"/>
                  </a:cxn>
                  <a:cxn ang="0">
                    <a:pos x="336" y="144"/>
                  </a:cxn>
                  <a:cxn ang="0">
                    <a:pos x="359" y="167"/>
                  </a:cxn>
                  <a:cxn ang="0">
                    <a:pos x="417" y="186"/>
                  </a:cxn>
                  <a:cxn ang="0">
                    <a:pos x="436" y="188"/>
                  </a:cxn>
                  <a:cxn ang="0">
                    <a:pos x="455" y="192"/>
                  </a:cxn>
                  <a:cxn ang="0">
                    <a:pos x="491" y="221"/>
                  </a:cxn>
                  <a:cxn ang="0">
                    <a:pos x="505" y="236"/>
                  </a:cxn>
                  <a:cxn ang="0">
                    <a:pos x="524" y="263"/>
                  </a:cxn>
                  <a:cxn ang="0">
                    <a:pos x="549" y="284"/>
                  </a:cxn>
                  <a:cxn ang="0">
                    <a:pos x="528" y="319"/>
                  </a:cxn>
                  <a:cxn ang="0">
                    <a:pos x="513" y="346"/>
                  </a:cxn>
                  <a:cxn ang="0">
                    <a:pos x="480" y="373"/>
                  </a:cxn>
                  <a:cxn ang="0">
                    <a:pos x="463" y="400"/>
                  </a:cxn>
                  <a:cxn ang="0">
                    <a:pos x="442" y="419"/>
                  </a:cxn>
                  <a:cxn ang="0">
                    <a:pos x="440" y="403"/>
                  </a:cxn>
                  <a:cxn ang="0">
                    <a:pos x="418" y="419"/>
                  </a:cxn>
                  <a:cxn ang="0">
                    <a:pos x="407" y="448"/>
                  </a:cxn>
                  <a:cxn ang="0">
                    <a:pos x="405" y="486"/>
                  </a:cxn>
                  <a:cxn ang="0">
                    <a:pos x="409" y="513"/>
                  </a:cxn>
                  <a:cxn ang="0">
                    <a:pos x="374" y="521"/>
                  </a:cxn>
                  <a:cxn ang="0">
                    <a:pos x="338" y="534"/>
                  </a:cxn>
                  <a:cxn ang="0">
                    <a:pos x="324" y="555"/>
                  </a:cxn>
                  <a:cxn ang="0">
                    <a:pos x="317" y="578"/>
                  </a:cxn>
                  <a:cxn ang="0">
                    <a:pos x="299" y="590"/>
                  </a:cxn>
                  <a:cxn ang="0">
                    <a:pos x="255" y="594"/>
                  </a:cxn>
                  <a:cxn ang="0">
                    <a:pos x="236" y="607"/>
                  </a:cxn>
                  <a:cxn ang="0">
                    <a:pos x="230" y="624"/>
                  </a:cxn>
                  <a:cxn ang="0">
                    <a:pos x="217" y="653"/>
                  </a:cxn>
                  <a:cxn ang="0">
                    <a:pos x="188" y="655"/>
                  </a:cxn>
                  <a:cxn ang="0">
                    <a:pos x="148" y="655"/>
                  </a:cxn>
                  <a:cxn ang="0">
                    <a:pos x="113" y="674"/>
                  </a:cxn>
                  <a:cxn ang="0">
                    <a:pos x="79" y="680"/>
                  </a:cxn>
                  <a:cxn ang="0">
                    <a:pos x="309" y="6"/>
                  </a:cxn>
                  <a:cxn ang="0">
                    <a:pos x="303" y="17"/>
                  </a:cxn>
                  <a:cxn ang="0">
                    <a:pos x="303" y="42"/>
                  </a:cxn>
                  <a:cxn ang="0">
                    <a:pos x="292" y="48"/>
                  </a:cxn>
                  <a:cxn ang="0">
                    <a:pos x="286" y="21"/>
                  </a:cxn>
                  <a:cxn ang="0">
                    <a:pos x="303" y="11"/>
                  </a:cxn>
                  <a:cxn ang="0">
                    <a:pos x="303" y="6"/>
                  </a:cxn>
                  <a:cxn ang="0">
                    <a:pos x="465" y="427"/>
                  </a:cxn>
                  <a:cxn ang="0">
                    <a:pos x="472" y="415"/>
                  </a:cxn>
                  <a:cxn ang="0">
                    <a:pos x="486" y="398"/>
                  </a:cxn>
                  <a:cxn ang="0">
                    <a:pos x="480" y="415"/>
                  </a:cxn>
                  <a:cxn ang="0">
                    <a:pos x="472" y="430"/>
                  </a:cxn>
                </a:cxnLst>
                <a:rect l="0" t="0" r="r" b="b"/>
                <a:pathLst>
                  <a:path w="551" h="680">
                    <a:moveTo>
                      <a:pt x="240" y="357"/>
                    </a:moveTo>
                    <a:lnTo>
                      <a:pt x="257" y="305"/>
                    </a:lnTo>
                    <a:lnTo>
                      <a:pt x="225" y="257"/>
                    </a:lnTo>
                    <a:lnTo>
                      <a:pt x="226" y="250"/>
                    </a:lnTo>
                    <a:lnTo>
                      <a:pt x="226" y="248"/>
                    </a:lnTo>
                    <a:lnTo>
                      <a:pt x="226" y="246"/>
                    </a:lnTo>
                    <a:lnTo>
                      <a:pt x="226" y="242"/>
                    </a:lnTo>
                    <a:lnTo>
                      <a:pt x="226" y="242"/>
                    </a:lnTo>
                    <a:lnTo>
                      <a:pt x="226" y="234"/>
                    </a:lnTo>
                    <a:lnTo>
                      <a:pt x="228" y="227"/>
                    </a:lnTo>
                    <a:lnTo>
                      <a:pt x="230" y="225"/>
                    </a:lnTo>
                    <a:lnTo>
                      <a:pt x="232" y="221"/>
                    </a:lnTo>
                    <a:lnTo>
                      <a:pt x="234" y="219"/>
                    </a:lnTo>
                    <a:lnTo>
                      <a:pt x="234" y="215"/>
                    </a:lnTo>
                    <a:lnTo>
                      <a:pt x="236" y="213"/>
                    </a:lnTo>
                    <a:lnTo>
                      <a:pt x="240" y="200"/>
                    </a:lnTo>
                    <a:lnTo>
                      <a:pt x="246" y="190"/>
                    </a:lnTo>
                    <a:lnTo>
                      <a:pt x="249" y="182"/>
                    </a:lnTo>
                    <a:lnTo>
                      <a:pt x="249" y="173"/>
                    </a:lnTo>
                    <a:lnTo>
                      <a:pt x="248" y="173"/>
                    </a:lnTo>
                    <a:lnTo>
                      <a:pt x="246" y="167"/>
                    </a:lnTo>
                    <a:lnTo>
                      <a:pt x="255" y="163"/>
                    </a:lnTo>
                    <a:lnTo>
                      <a:pt x="259" y="163"/>
                    </a:lnTo>
                    <a:lnTo>
                      <a:pt x="267" y="163"/>
                    </a:lnTo>
                    <a:lnTo>
                      <a:pt x="273" y="163"/>
                    </a:lnTo>
                    <a:lnTo>
                      <a:pt x="282" y="161"/>
                    </a:lnTo>
                    <a:lnTo>
                      <a:pt x="282" y="159"/>
                    </a:lnTo>
                    <a:lnTo>
                      <a:pt x="276" y="150"/>
                    </a:lnTo>
                    <a:lnTo>
                      <a:pt x="274" y="148"/>
                    </a:lnTo>
                    <a:lnTo>
                      <a:pt x="273" y="150"/>
                    </a:lnTo>
                    <a:lnTo>
                      <a:pt x="271" y="150"/>
                    </a:lnTo>
                    <a:lnTo>
                      <a:pt x="265" y="148"/>
                    </a:lnTo>
                    <a:lnTo>
                      <a:pt x="269" y="144"/>
                    </a:lnTo>
                    <a:lnTo>
                      <a:pt x="269" y="136"/>
                    </a:lnTo>
                    <a:lnTo>
                      <a:pt x="267" y="133"/>
                    </a:lnTo>
                    <a:lnTo>
                      <a:pt x="265" y="125"/>
                    </a:lnTo>
                    <a:lnTo>
                      <a:pt x="267" y="123"/>
                    </a:lnTo>
                    <a:lnTo>
                      <a:pt x="271" y="119"/>
                    </a:lnTo>
                    <a:lnTo>
                      <a:pt x="269" y="117"/>
                    </a:lnTo>
                    <a:lnTo>
                      <a:pt x="269" y="115"/>
                    </a:lnTo>
                    <a:lnTo>
                      <a:pt x="267" y="106"/>
                    </a:lnTo>
                    <a:lnTo>
                      <a:pt x="269" y="104"/>
                    </a:lnTo>
                    <a:lnTo>
                      <a:pt x="271" y="102"/>
                    </a:lnTo>
                    <a:lnTo>
                      <a:pt x="271" y="100"/>
                    </a:lnTo>
                    <a:lnTo>
                      <a:pt x="273" y="98"/>
                    </a:lnTo>
                    <a:lnTo>
                      <a:pt x="274" y="98"/>
                    </a:lnTo>
                    <a:lnTo>
                      <a:pt x="276" y="96"/>
                    </a:lnTo>
                    <a:lnTo>
                      <a:pt x="278" y="96"/>
                    </a:lnTo>
                    <a:lnTo>
                      <a:pt x="280" y="96"/>
                    </a:lnTo>
                    <a:lnTo>
                      <a:pt x="282" y="98"/>
                    </a:lnTo>
                    <a:lnTo>
                      <a:pt x="284" y="100"/>
                    </a:lnTo>
                    <a:lnTo>
                      <a:pt x="284" y="106"/>
                    </a:lnTo>
                    <a:lnTo>
                      <a:pt x="282" y="104"/>
                    </a:lnTo>
                    <a:lnTo>
                      <a:pt x="280" y="104"/>
                    </a:lnTo>
                    <a:lnTo>
                      <a:pt x="280" y="104"/>
                    </a:lnTo>
                    <a:lnTo>
                      <a:pt x="286" y="113"/>
                    </a:lnTo>
                    <a:lnTo>
                      <a:pt x="286" y="113"/>
                    </a:lnTo>
                    <a:lnTo>
                      <a:pt x="288" y="113"/>
                    </a:lnTo>
                    <a:lnTo>
                      <a:pt x="292" y="113"/>
                    </a:lnTo>
                    <a:lnTo>
                      <a:pt x="294" y="111"/>
                    </a:lnTo>
                    <a:lnTo>
                      <a:pt x="294" y="108"/>
                    </a:lnTo>
                    <a:lnTo>
                      <a:pt x="297" y="108"/>
                    </a:lnTo>
                    <a:lnTo>
                      <a:pt x="299" y="106"/>
                    </a:lnTo>
                    <a:lnTo>
                      <a:pt x="301" y="106"/>
                    </a:lnTo>
                    <a:lnTo>
                      <a:pt x="301" y="104"/>
                    </a:lnTo>
                    <a:lnTo>
                      <a:pt x="301" y="104"/>
                    </a:lnTo>
                    <a:lnTo>
                      <a:pt x="303" y="102"/>
                    </a:lnTo>
                    <a:lnTo>
                      <a:pt x="305" y="102"/>
                    </a:lnTo>
                    <a:lnTo>
                      <a:pt x="305" y="100"/>
                    </a:lnTo>
                    <a:lnTo>
                      <a:pt x="305" y="98"/>
                    </a:lnTo>
                    <a:lnTo>
                      <a:pt x="305" y="98"/>
                    </a:lnTo>
                    <a:lnTo>
                      <a:pt x="305" y="98"/>
                    </a:lnTo>
                    <a:lnTo>
                      <a:pt x="307" y="96"/>
                    </a:lnTo>
                    <a:lnTo>
                      <a:pt x="307" y="98"/>
                    </a:lnTo>
                    <a:lnTo>
                      <a:pt x="309" y="104"/>
                    </a:lnTo>
                    <a:lnTo>
                      <a:pt x="317" y="117"/>
                    </a:lnTo>
                    <a:lnTo>
                      <a:pt x="317" y="121"/>
                    </a:lnTo>
                    <a:lnTo>
                      <a:pt x="319" y="123"/>
                    </a:lnTo>
                    <a:lnTo>
                      <a:pt x="322" y="131"/>
                    </a:lnTo>
                    <a:lnTo>
                      <a:pt x="324" y="133"/>
                    </a:lnTo>
                    <a:lnTo>
                      <a:pt x="326" y="134"/>
                    </a:lnTo>
                    <a:lnTo>
                      <a:pt x="328" y="134"/>
                    </a:lnTo>
                    <a:lnTo>
                      <a:pt x="330" y="136"/>
                    </a:lnTo>
                    <a:lnTo>
                      <a:pt x="336" y="144"/>
                    </a:lnTo>
                    <a:lnTo>
                      <a:pt x="338" y="146"/>
                    </a:lnTo>
                    <a:lnTo>
                      <a:pt x="340" y="148"/>
                    </a:lnTo>
                    <a:lnTo>
                      <a:pt x="342" y="152"/>
                    </a:lnTo>
                    <a:lnTo>
                      <a:pt x="344" y="156"/>
                    </a:lnTo>
                    <a:lnTo>
                      <a:pt x="349" y="161"/>
                    </a:lnTo>
                    <a:lnTo>
                      <a:pt x="355" y="165"/>
                    </a:lnTo>
                    <a:lnTo>
                      <a:pt x="359" y="167"/>
                    </a:lnTo>
                    <a:lnTo>
                      <a:pt x="363" y="171"/>
                    </a:lnTo>
                    <a:lnTo>
                      <a:pt x="388" y="179"/>
                    </a:lnTo>
                    <a:lnTo>
                      <a:pt x="409" y="184"/>
                    </a:lnTo>
                    <a:lnTo>
                      <a:pt x="411" y="184"/>
                    </a:lnTo>
                    <a:lnTo>
                      <a:pt x="413" y="184"/>
                    </a:lnTo>
                    <a:lnTo>
                      <a:pt x="417" y="186"/>
                    </a:lnTo>
                    <a:lnTo>
                      <a:pt x="417" y="186"/>
                    </a:lnTo>
                    <a:lnTo>
                      <a:pt x="420" y="184"/>
                    </a:lnTo>
                    <a:lnTo>
                      <a:pt x="422" y="184"/>
                    </a:lnTo>
                    <a:lnTo>
                      <a:pt x="426" y="184"/>
                    </a:lnTo>
                    <a:lnTo>
                      <a:pt x="428" y="184"/>
                    </a:lnTo>
                    <a:lnTo>
                      <a:pt x="432" y="186"/>
                    </a:lnTo>
                    <a:lnTo>
                      <a:pt x="434" y="186"/>
                    </a:lnTo>
                    <a:lnTo>
                      <a:pt x="436" y="188"/>
                    </a:lnTo>
                    <a:lnTo>
                      <a:pt x="438" y="190"/>
                    </a:lnTo>
                    <a:lnTo>
                      <a:pt x="440" y="190"/>
                    </a:lnTo>
                    <a:lnTo>
                      <a:pt x="442" y="192"/>
                    </a:lnTo>
                    <a:lnTo>
                      <a:pt x="445" y="192"/>
                    </a:lnTo>
                    <a:lnTo>
                      <a:pt x="449" y="192"/>
                    </a:lnTo>
                    <a:lnTo>
                      <a:pt x="451" y="192"/>
                    </a:lnTo>
                    <a:lnTo>
                      <a:pt x="455" y="192"/>
                    </a:lnTo>
                    <a:lnTo>
                      <a:pt x="455" y="190"/>
                    </a:lnTo>
                    <a:lnTo>
                      <a:pt x="461" y="190"/>
                    </a:lnTo>
                    <a:lnTo>
                      <a:pt x="463" y="192"/>
                    </a:lnTo>
                    <a:lnTo>
                      <a:pt x="476" y="202"/>
                    </a:lnTo>
                    <a:lnTo>
                      <a:pt x="482" y="209"/>
                    </a:lnTo>
                    <a:lnTo>
                      <a:pt x="486" y="213"/>
                    </a:lnTo>
                    <a:lnTo>
                      <a:pt x="491" y="221"/>
                    </a:lnTo>
                    <a:lnTo>
                      <a:pt x="491" y="225"/>
                    </a:lnTo>
                    <a:lnTo>
                      <a:pt x="491" y="225"/>
                    </a:lnTo>
                    <a:lnTo>
                      <a:pt x="493" y="227"/>
                    </a:lnTo>
                    <a:lnTo>
                      <a:pt x="497" y="232"/>
                    </a:lnTo>
                    <a:lnTo>
                      <a:pt x="499" y="234"/>
                    </a:lnTo>
                    <a:lnTo>
                      <a:pt x="503" y="236"/>
                    </a:lnTo>
                    <a:lnTo>
                      <a:pt x="505" y="236"/>
                    </a:lnTo>
                    <a:lnTo>
                      <a:pt x="507" y="240"/>
                    </a:lnTo>
                    <a:lnTo>
                      <a:pt x="511" y="248"/>
                    </a:lnTo>
                    <a:lnTo>
                      <a:pt x="511" y="250"/>
                    </a:lnTo>
                    <a:lnTo>
                      <a:pt x="513" y="252"/>
                    </a:lnTo>
                    <a:lnTo>
                      <a:pt x="518" y="257"/>
                    </a:lnTo>
                    <a:lnTo>
                      <a:pt x="522" y="261"/>
                    </a:lnTo>
                    <a:lnTo>
                      <a:pt x="524" y="263"/>
                    </a:lnTo>
                    <a:lnTo>
                      <a:pt x="528" y="265"/>
                    </a:lnTo>
                    <a:lnTo>
                      <a:pt x="532" y="265"/>
                    </a:lnTo>
                    <a:lnTo>
                      <a:pt x="536" y="265"/>
                    </a:lnTo>
                    <a:lnTo>
                      <a:pt x="547" y="267"/>
                    </a:lnTo>
                    <a:lnTo>
                      <a:pt x="549" y="271"/>
                    </a:lnTo>
                    <a:lnTo>
                      <a:pt x="551" y="275"/>
                    </a:lnTo>
                    <a:lnTo>
                      <a:pt x="549" y="284"/>
                    </a:lnTo>
                    <a:lnTo>
                      <a:pt x="549" y="284"/>
                    </a:lnTo>
                    <a:lnTo>
                      <a:pt x="547" y="290"/>
                    </a:lnTo>
                    <a:lnTo>
                      <a:pt x="545" y="294"/>
                    </a:lnTo>
                    <a:lnTo>
                      <a:pt x="541" y="298"/>
                    </a:lnTo>
                    <a:lnTo>
                      <a:pt x="536" y="309"/>
                    </a:lnTo>
                    <a:lnTo>
                      <a:pt x="532" y="313"/>
                    </a:lnTo>
                    <a:lnTo>
                      <a:pt x="528" y="319"/>
                    </a:lnTo>
                    <a:lnTo>
                      <a:pt x="526" y="321"/>
                    </a:lnTo>
                    <a:lnTo>
                      <a:pt x="526" y="323"/>
                    </a:lnTo>
                    <a:lnTo>
                      <a:pt x="526" y="323"/>
                    </a:lnTo>
                    <a:lnTo>
                      <a:pt x="524" y="329"/>
                    </a:lnTo>
                    <a:lnTo>
                      <a:pt x="522" y="332"/>
                    </a:lnTo>
                    <a:lnTo>
                      <a:pt x="515" y="344"/>
                    </a:lnTo>
                    <a:lnTo>
                      <a:pt x="513" y="346"/>
                    </a:lnTo>
                    <a:lnTo>
                      <a:pt x="511" y="348"/>
                    </a:lnTo>
                    <a:lnTo>
                      <a:pt x="505" y="350"/>
                    </a:lnTo>
                    <a:lnTo>
                      <a:pt x="503" y="350"/>
                    </a:lnTo>
                    <a:lnTo>
                      <a:pt x="497" y="355"/>
                    </a:lnTo>
                    <a:lnTo>
                      <a:pt x="486" y="367"/>
                    </a:lnTo>
                    <a:lnTo>
                      <a:pt x="480" y="371"/>
                    </a:lnTo>
                    <a:lnTo>
                      <a:pt x="480" y="373"/>
                    </a:lnTo>
                    <a:lnTo>
                      <a:pt x="478" y="377"/>
                    </a:lnTo>
                    <a:lnTo>
                      <a:pt x="470" y="386"/>
                    </a:lnTo>
                    <a:lnTo>
                      <a:pt x="472" y="390"/>
                    </a:lnTo>
                    <a:lnTo>
                      <a:pt x="472" y="392"/>
                    </a:lnTo>
                    <a:lnTo>
                      <a:pt x="470" y="394"/>
                    </a:lnTo>
                    <a:lnTo>
                      <a:pt x="466" y="396"/>
                    </a:lnTo>
                    <a:lnTo>
                      <a:pt x="463" y="400"/>
                    </a:lnTo>
                    <a:lnTo>
                      <a:pt x="461" y="402"/>
                    </a:lnTo>
                    <a:lnTo>
                      <a:pt x="461" y="407"/>
                    </a:lnTo>
                    <a:lnTo>
                      <a:pt x="457" y="417"/>
                    </a:lnTo>
                    <a:lnTo>
                      <a:pt x="453" y="421"/>
                    </a:lnTo>
                    <a:lnTo>
                      <a:pt x="449" y="421"/>
                    </a:lnTo>
                    <a:lnTo>
                      <a:pt x="440" y="419"/>
                    </a:lnTo>
                    <a:lnTo>
                      <a:pt x="442" y="419"/>
                    </a:lnTo>
                    <a:lnTo>
                      <a:pt x="440" y="419"/>
                    </a:lnTo>
                    <a:lnTo>
                      <a:pt x="436" y="417"/>
                    </a:lnTo>
                    <a:lnTo>
                      <a:pt x="436" y="417"/>
                    </a:lnTo>
                    <a:lnTo>
                      <a:pt x="436" y="413"/>
                    </a:lnTo>
                    <a:lnTo>
                      <a:pt x="438" y="411"/>
                    </a:lnTo>
                    <a:lnTo>
                      <a:pt x="440" y="405"/>
                    </a:lnTo>
                    <a:lnTo>
                      <a:pt x="440" y="403"/>
                    </a:lnTo>
                    <a:lnTo>
                      <a:pt x="438" y="403"/>
                    </a:lnTo>
                    <a:lnTo>
                      <a:pt x="436" y="403"/>
                    </a:lnTo>
                    <a:lnTo>
                      <a:pt x="430" y="405"/>
                    </a:lnTo>
                    <a:lnTo>
                      <a:pt x="426" y="407"/>
                    </a:lnTo>
                    <a:lnTo>
                      <a:pt x="426" y="411"/>
                    </a:lnTo>
                    <a:lnTo>
                      <a:pt x="424" y="413"/>
                    </a:lnTo>
                    <a:lnTo>
                      <a:pt x="418" y="419"/>
                    </a:lnTo>
                    <a:lnTo>
                      <a:pt x="411" y="428"/>
                    </a:lnTo>
                    <a:lnTo>
                      <a:pt x="409" y="430"/>
                    </a:lnTo>
                    <a:lnTo>
                      <a:pt x="409" y="432"/>
                    </a:lnTo>
                    <a:lnTo>
                      <a:pt x="409" y="434"/>
                    </a:lnTo>
                    <a:lnTo>
                      <a:pt x="409" y="436"/>
                    </a:lnTo>
                    <a:lnTo>
                      <a:pt x="409" y="440"/>
                    </a:lnTo>
                    <a:lnTo>
                      <a:pt x="407" y="448"/>
                    </a:lnTo>
                    <a:lnTo>
                      <a:pt x="405" y="455"/>
                    </a:lnTo>
                    <a:lnTo>
                      <a:pt x="403" y="459"/>
                    </a:lnTo>
                    <a:lnTo>
                      <a:pt x="399" y="463"/>
                    </a:lnTo>
                    <a:lnTo>
                      <a:pt x="399" y="467"/>
                    </a:lnTo>
                    <a:lnTo>
                      <a:pt x="399" y="467"/>
                    </a:lnTo>
                    <a:lnTo>
                      <a:pt x="403" y="482"/>
                    </a:lnTo>
                    <a:lnTo>
                      <a:pt x="405" y="486"/>
                    </a:lnTo>
                    <a:lnTo>
                      <a:pt x="405" y="488"/>
                    </a:lnTo>
                    <a:lnTo>
                      <a:pt x="405" y="490"/>
                    </a:lnTo>
                    <a:lnTo>
                      <a:pt x="405" y="492"/>
                    </a:lnTo>
                    <a:lnTo>
                      <a:pt x="403" y="496"/>
                    </a:lnTo>
                    <a:lnTo>
                      <a:pt x="403" y="498"/>
                    </a:lnTo>
                    <a:lnTo>
                      <a:pt x="407" y="507"/>
                    </a:lnTo>
                    <a:lnTo>
                      <a:pt x="409" y="513"/>
                    </a:lnTo>
                    <a:lnTo>
                      <a:pt x="407" y="517"/>
                    </a:lnTo>
                    <a:lnTo>
                      <a:pt x="401" y="521"/>
                    </a:lnTo>
                    <a:lnTo>
                      <a:pt x="397" y="521"/>
                    </a:lnTo>
                    <a:lnTo>
                      <a:pt x="394" y="519"/>
                    </a:lnTo>
                    <a:lnTo>
                      <a:pt x="388" y="519"/>
                    </a:lnTo>
                    <a:lnTo>
                      <a:pt x="386" y="519"/>
                    </a:lnTo>
                    <a:lnTo>
                      <a:pt x="374" y="521"/>
                    </a:lnTo>
                    <a:lnTo>
                      <a:pt x="370" y="521"/>
                    </a:lnTo>
                    <a:lnTo>
                      <a:pt x="363" y="523"/>
                    </a:lnTo>
                    <a:lnTo>
                      <a:pt x="361" y="523"/>
                    </a:lnTo>
                    <a:lnTo>
                      <a:pt x="353" y="526"/>
                    </a:lnTo>
                    <a:lnTo>
                      <a:pt x="346" y="528"/>
                    </a:lnTo>
                    <a:lnTo>
                      <a:pt x="344" y="530"/>
                    </a:lnTo>
                    <a:lnTo>
                      <a:pt x="338" y="534"/>
                    </a:lnTo>
                    <a:lnTo>
                      <a:pt x="336" y="534"/>
                    </a:lnTo>
                    <a:lnTo>
                      <a:pt x="332" y="538"/>
                    </a:lnTo>
                    <a:lnTo>
                      <a:pt x="330" y="540"/>
                    </a:lnTo>
                    <a:lnTo>
                      <a:pt x="326" y="544"/>
                    </a:lnTo>
                    <a:lnTo>
                      <a:pt x="326" y="546"/>
                    </a:lnTo>
                    <a:lnTo>
                      <a:pt x="326" y="548"/>
                    </a:lnTo>
                    <a:lnTo>
                      <a:pt x="324" y="555"/>
                    </a:lnTo>
                    <a:lnTo>
                      <a:pt x="324" y="563"/>
                    </a:lnTo>
                    <a:lnTo>
                      <a:pt x="322" y="567"/>
                    </a:lnTo>
                    <a:lnTo>
                      <a:pt x="321" y="571"/>
                    </a:lnTo>
                    <a:lnTo>
                      <a:pt x="319" y="573"/>
                    </a:lnTo>
                    <a:lnTo>
                      <a:pt x="321" y="576"/>
                    </a:lnTo>
                    <a:lnTo>
                      <a:pt x="321" y="576"/>
                    </a:lnTo>
                    <a:lnTo>
                      <a:pt x="317" y="578"/>
                    </a:lnTo>
                    <a:lnTo>
                      <a:pt x="315" y="580"/>
                    </a:lnTo>
                    <a:lnTo>
                      <a:pt x="313" y="580"/>
                    </a:lnTo>
                    <a:lnTo>
                      <a:pt x="309" y="584"/>
                    </a:lnTo>
                    <a:lnTo>
                      <a:pt x="305" y="588"/>
                    </a:lnTo>
                    <a:lnTo>
                      <a:pt x="305" y="590"/>
                    </a:lnTo>
                    <a:lnTo>
                      <a:pt x="301" y="590"/>
                    </a:lnTo>
                    <a:lnTo>
                      <a:pt x="299" y="590"/>
                    </a:lnTo>
                    <a:lnTo>
                      <a:pt x="297" y="590"/>
                    </a:lnTo>
                    <a:lnTo>
                      <a:pt x="294" y="590"/>
                    </a:lnTo>
                    <a:lnTo>
                      <a:pt x="282" y="590"/>
                    </a:lnTo>
                    <a:lnTo>
                      <a:pt x="280" y="592"/>
                    </a:lnTo>
                    <a:lnTo>
                      <a:pt x="271" y="592"/>
                    </a:lnTo>
                    <a:lnTo>
                      <a:pt x="267" y="592"/>
                    </a:lnTo>
                    <a:lnTo>
                      <a:pt x="255" y="594"/>
                    </a:lnTo>
                    <a:lnTo>
                      <a:pt x="248" y="596"/>
                    </a:lnTo>
                    <a:lnTo>
                      <a:pt x="244" y="598"/>
                    </a:lnTo>
                    <a:lnTo>
                      <a:pt x="242" y="598"/>
                    </a:lnTo>
                    <a:lnTo>
                      <a:pt x="240" y="599"/>
                    </a:lnTo>
                    <a:lnTo>
                      <a:pt x="240" y="601"/>
                    </a:lnTo>
                    <a:lnTo>
                      <a:pt x="238" y="605"/>
                    </a:lnTo>
                    <a:lnTo>
                      <a:pt x="236" y="607"/>
                    </a:lnTo>
                    <a:lnTo>
                      <a:pt x="234" y="609"/>
                    </a:lnTo>
                    <a:lnTo>
                      <a:pt x="232" y="611"/>
                    </a:lnTo>
                    <a:lnTo>
                      <a:pt x="230" y="613"/>
                    </a:lnTo>
                    <a:lnTo>
                      <a:pt x="226" y="617"/>
                    </a:lnTo>
                    <a:lnTo>
                      <a:pt x="226" y="621"/>
                    </a:lnTo>
                    <a:lnTo>
                      <a:pt x="226" y="623"/>
                    </a:lnTo>
                    <a:lnTo>
                      <a:pt x="230" y="624"/>
                    </a:lnTo>
                    <a:lnTo>
                      <a:pt x="232" y="626"/>
                    </a:lnTo>
                    <a:lnTo>
                      <a:pt x="232" y="628"/>
                    </a:lnTo>
                    <a:lnTo>
                      <a:pt x="232" y="630"/>
                    </a:lnTo>
                    <a:lnTo>
                      <a:pt x="228" y="638"/>
                    </a:lnTo>
                    <a:lnTo>
                      <a:pt x="226" y="642"/>
                    </a:lnTo>
                    <a:lnTo>
                      <a:pt x="217" y="651"/>
                    </a:lnTo>
                    <a:lnTo>
                      <a:pt x="217" y="653"/>
                    </a:lnTo>
                    <a:lnTo>
                      <a:pt x="213" y="655"/>
                    </a:lnTo>
                    <a:lnTo>
                      <a:pt x="207" y="657"/>
                    </a:lnTo>
                    <a:lnTo>
                      <a:pt x="203" y="659"/>
                    </a:lnTo>
                    <a:lnTo>
                      <a:pt x="198" y="659"/>
                    </a:lnTo>
                    <a:lnTo>
                      <a:pt x="192" y="659"/>
                    </a:lnTo>
                    <a:lnTo>
                      <a:pt x="190" y="657"/>
                    </a:lnTo>
                    <a:lnTo>
                      <a:pt x="188" y="655"/>
                    </a:lnTo>
                    <a:lnTo>
                      <a:pt x="186" y="653"/>
                    </a:lnTo>
                    <a:lnTo>
                      <a:pt x="184" y="653"/>
                    </a:lnTo>
                    <a:lnTo>
                      <a:pt x="182" y="653"/>
                    </a:lnTo>
                    <a:lnTo>
                      <a:pt x="177" y="653"/>
                    </a:lnTo>
                    <a:lnTo>
                      <a:pt x="171" y="653"/>
                    </a:lnTo>
                    <a:lnTo>
                      <a:pt x="169" y="653"/>
                    </a:lnTo>
                    <a:lnTo>
                      <a:pt x="148" y="655"/>
                    </a:lnTo>
                    <a:lnTo>
                      <a:pt x="142" y="657"/>
                    </a:lnTo>
                    <a:lnTo>
                      <a:pt x="136" y="663"/>
                    </a:lnTo>
                    <a:lnTo>
                      <a:pt x="128" y="663"/>
                    </a:lnTo>
                    <a:lnTo>
                      <a:pt x="123" y="665"/>
                    </a:lnTo>
                    <a:lnTo>
                      <a:pt x="119" y="669"/>
                    </a:lnTo>
                    <a:lnTo>
                      <a:pt x="119" y="671"/>
                    </a:lnTo>
                    <a:lnTo>
                      <a:pt x="113" y="674"/>
                    </a:lnTo>
                    <a:lnTo>
                      <a:pt x="111" y="674"/>
                    </a:lnTo>
                    <a:lnTo>
                      <a:pt x="109" y="674"/>
                    </a:lnTo>
                    <a:lnTo>
                      <a:pt x="102" y="674"/>
                    </a:lnTo>
                    <a:lnTo>
                      <a:pt x="96" y="674"/>
                    </a:lnTo>
                    <a:lnTo>
                      <a:pt x="84" y="678"/>
                    </a:lnTo>
                    <a:lnTo>
                      <a:pt x="80" y="680"/>
                    </a:lnTo>
                    <a:lnTo>
                      <a:pt x="79" y="680"/>
                    </a:lnTo>
                    <a:lnTo>
                      <a:pt x="57" y="636"/>
                    </a:lnTo>
                    <a:lnTo>
                      <a:pt x="56" y="632"/>
                    </a:lnTo>
                    <a:lnTo>
                      <a:pt x="0" y="515"/>
                    </a:lnTo>
                    <a:lnTo>
                      <a:pt x="211" y="446"/>
                    </a:lnTo>
                    <a:lnTo>
                      <a:pt x="240" y="357"/>
                    </a:lnTo>
                    <a:close/>
                    <a:moveTo>
                      <a:pt x="309" y="0"/>
                    </a:moveTo>
                    <a:lnTo>
                      <a:pt x="309" y="6"/>
                    </a:lnTo>
                    <a:lnTo>
                      <a:pt x="313" y="8"/>
                    </a:lnTo>
                    <a:lnTo>
                      <a:pt x="315" y="8"/>
                    </a:lnTo>
                    <a:lnTo>
                      <a:pt x="315" y="15"/>
                    </a:lnTo>
                    <a:lnTo>
                      <a:pt x="307" y="13"/>
                    </a:lnTo>
                    <a:lnTo>
                      <a:pt x="307" y="11"/>
                    </a:lnTo>
                    <a:lnTo>
                      <a:pt x="303" y="13"/>
                    </a:lnTo>
                    <a:lnTo>
                      <a:pt x="303" y="17"/>
                    </a:lnTo>
                    <a:lnTo>
                      <a:pt x="307" y="19"/>
                    </a:lnTo>
                    <a:lnTo>
                      <a:pt x="311" y="21"/>
                    </a:lnTo>
                    <a:lnTo>
                      <a:pt x="311" y="29"/>
                    </a:lnTo>
                    <a:lnTo>
                      <a:pt x="309" y="33"/>
                    </a:lnTo>
                    <a:lnTo>
                      <a:pt x="309" y="35"/>
                    </a:lnTo>
                    <a:lnTo>
                      <a:pt x="307" y="38"/>
                    </a:lnTo>
                    <a:lnTo>
                      <a:pt x="303" y="42"/>
                    </a:lnTo>
                    <a:lnTo>
                      <a:pt x="301" y="42"/>
                    </a:lnTo>
                    <a:lnTo>
                      <a:pt x="299" y="44"/>
                    </a:lnTo>
                    <a:lnTo>
                      <a:pt x="299" y="50"/>
                    </a:lnTo>
                    <a:lnTo>
                      <a:pt x="299" y="50"/>
                    </a:lnTo>
                    <a:lnTo>
                      <a:pt x="297" y="52"/>
                    </a:lnTo>
                    <a:lnTo>
                      <a:pt x="294" y="50"/>
                    </a:lnTo>
                    <a:lnTo>
                      <a:pt x="292" y="48"/>
                    </a:lnTo>
                    <a:lnTo>
                      <a:pt x="292" y="48"/>
                    </a:lnTo>
                    <a:lnTo>
                      <a:pt x="290" y="44"/>
                    </a:lnTo>
                    <a:lnTo>
                      <a:pt x="290" y="36"/>
                    </a:lnTo>
                    <a:lnTo>
                      <a:pt x="292" y="33"/>
                    </a:lnTo>
                    <a:lnTo>
                      <a:pt x="294" y="25"/>
                    </a:lnTo>
                    <a:lnTo>
                      <a:pt x="292" y="19"/>
                    </a:lnTo>
                    <a:lnTo>
                      <a:pt x="286" y="21"/>
                    </a:lnTo>
                    <a:lnTo>
                      <a:pt x="286" y="19"/>
                    </a:lnTo>
                    <a:lnTo>
                      <a:pt x="288" y="17"/>
                    </a:lnTo>
                    <a:lnTo>
                      <a:pt x="294" y="10"/>
                    </a:lnTo>
                    <a:lnTo>
                      <a:pt x="296" y="8"/>
                    </a:lnTo>
                    <a:lnTo>
                      <a:pt x="297" y="10"/>
                    </a:lnTo>
                    <a:lnTo>
                      <a:pt x="301" y="11"/>
                    </a:lnTo>
                    <a:lnTo>
                      <a:pt x="303" y="11"/>
                    </a:lnTo>
                    <a:lnTo>
                      <a:pt x="305" y="10"/>
                    </a:lnTo>
                    <a:lnTo>
                      <a:pt x="309" y="10"/>
                    </a:lnTo>
                    <a:lnTo>
                      <a:pt x="307" y="8"/>
                    </a:lnTo>
                    <a:lnTo>
                      <a:pt x="305" y="8"/>
                    </a:lnTo>
                    <a:lnTo>
                      <a:pt x="305" y="10"/>
                    </a:lnTo>
                    <a:lnTo>
                      <a:pt x="303" y="10"/>
                    </a:lnTo>
                    <a:lnTo>
                      <a:pt x="303" y="6"/>
                    </a:lnTo>
                    <a:lnTo>
                      <a:pt x="305" y="2"/>
                    </a:lnTo>
                    <a:lnTo>
                      <a:pt x="309" y="0"/>
                    </a:lnTo>
                    <a:close/>
                    <a:moveTo>
                      <a:pt x="466" y="434"/>
                    </a:moveTo>
                    <a:lnTo>
                      <a:pt x="466" y="434"/>
                    </a:lnTo>
                    <a:lnTo>
                      <a:pt x="465" y="428"/>
                    </a:lnTo>
                    <a:lnTo>
                      <a:pt x="465" y="428"/>
                    </a:lnTo>
                    <a:lnTo>
                      <a:pt x="465" y="427"/>
                    </a:lnTo>
                    <a:lnTo>
                      <a:pt x="466" y="423"/>
                    </a:lnTo>
                    <a:lnTo>
                      <a:pt x="466" y="421"/>
                    </a:lnTo>
                    <a:lnTo>
                      <a:pt x="466" y="419"/>
                    </a:lnTo>
                    <a:lnTo>
                      <a:pt x="470" y="415"/>
                    </a:lnTo>
                    <a:lnTo>
                      <a:pt x="470" y="415"/>
                    </a:lnTo>
                    <a:lnTo>
                      <a:pt x="472" y="415"/>
                    </a:lnTo>
                    <a:lnTo>
                      <a:pt x="472" y="415"/>
                    </a:lnTo>
                    <a:lnTo>
                      <a:pt x="474" y="415"/>
                    </a:lnTo>
                    <a:lnTo>
                      <a:pt x="474" y="415"/>
                    </a:lnTo>
                    <a:lnTo>
                      <a:pt x="476" y="413"/>
                    </a:lnTo>
                    <a:lnTo>
                      <a:pt x="478" y="405"/>
                    </a:lnTo>
                    <a:lnTo>
                      <a:pt x="482" y="398"/>
                    </a:lnTo>
                    <a:lnTo>
                      <a:pt x="484" y="398"/>
                    </a:lnTo>
                    <a:lnTo>
                      <a:pt x="486" y="398"/>
                    </a:lnTo>
                    <a:lnTo>
                      <a:pt x="488" y="409"/>
                    </a:lnTo>
                    <a:lnTo>
                      <a:pt x="488" y="411"/>
                    </a:lnTo>
                    <a:lnTo>
                      <a:pt x="486" y="413"/>
                    </a:lnTo>
                    <a:lnTo>
                      <a:pt x="484" y="413"/>
                    </a:lnTo>
                    <a:lnTo>
                      <a:pt x="482" y="413"/>
                    </a:lnTo>
                    <a:lnTo>
                      <a:pt x="482" y="413"/>
                    </a:lnTo>
                    <a:lnTo>
                      <a:pt x="480" y="415"/>
                    </a:lnTo>
                    <a:lnTo>
                      <a:pt x="478" y="417"/>
                    </a:lnTo>
                    <a:lnTo>
                      <a:pt x="478" y="419"/>
                    </a:lnTo>
                    <a:lnTo>
                      <a:pt x="476" y="421"/>
                    </a:lnTo>
                    <a:lnTo>
                      <a:pt x="476" y="423"/>
                    </a:lnTo>
                    <a:lnTo>
                      <a:pt x="476" y="425"/>
                    </a:lnTo>
                    <a:lnTo>
                      <a:pt x="476" y="427"/>
                    </a:lnTo>
                    <a:lnTo>
                      <a:pt x="472" y="430"/>
                    </a:lnTo>
                    <a:lnTo>
                      <a:pt x="468" y="434"/>
                    </a:lnTo>
                    <a:lnTo>
                      <a:pt x="466" y="434"/>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7" name="Freeform 32">
                <a:extLst>
                  <a:ext uri="{FF2B5EF4-FFF2-40B4-BE49-F238E27FC236}">
                    <a16:creationId xmlns:a16="http://schemas.microsoft.com/office/drawing/2014/main" id="{35CB5A3B-9214-4FE2-9871-8530F7844B8B}"/>
                  </a:ext>
                </a:extLst>
              </p:cNvPr>
              <p:cNvSpPr>
                <a:spLocks noEditPoints="1"/>
              </p:cNvSpPr>
              <p:nvPr/>
            </p:nvSpPr>
            <p:spPr bwMode="gray">
              <a:xfrm>
                <a:off x="3527550" y="4921277"/>
                <a:ext cx="1323544" cy="759929"/>
              </a:xfrm>
              <a:custGeom>
                <a:avLst/>
                <a:gdLst/>
                <a:ahLst/>
                <a:cxnLst>
                  <a:cxn ang="0">
                    <a:pos x="302" y="386"/>
                  </a:cxn>
                  <a:cxn ang="0">
                    <a:pos x="263" y="392"/>
                  </a:cxn>
                  <a:cxn ang="0">
                    <a:pos x="215" y="398"/>
                  </a:cxn>
                  <a:cxn ang="0">
                    <a:pos x="200" y="417"/>
                  </a:cxn>
                  <a:cxn ang="0">
                    <a:pos x="186" y="421"/>
                  </a:cxn>
                  <a:cxn ang="0">
                    <a:pos x="175" y="438"/>
                  </a:cxn>
                  <a:cxn ang="0">
                    <a:pos x="165" y="438"/>
                  </a:cxn>
                  <a:cxn ang="0">
                    <a:pos x="142" y="434"/>
                  </a:cxn>
                  <a:cxn ang="0">
                    <a:pos x="123" y="446"/>
                  </a:cxn>
                  <a:cxn ang="0">
                    <a:pos x="81" y="440"/>
                  </a:cxn>
                  <a:cxn ang="0">
                    <a:pos x="65" y="444"/>
                  </a:cxn>
                  <a:cxn ang="0">
                    <a:pos x="56" y="417"/>
                  </a:cxn>
                  <a:cxn ang="0">
                    <a:pos x="50" y="382"/>
                  </a:cxn>
                  <a:cxn ang="0">
                    <a:pos x="46" y="357"/>
                  </a:cxn>
                  <a:cxn ang="0">
                    <a:pos x="39" y="338"/>
                  </a:cxn>
                  <a:cxn ang="0">
                    <a:pos x="27" y="296"/>
                  </a:cxn>
                  <a:cxn ang="0">
                    <a:pos x="21" y="271"/>
                  </a:cxn>
                  <a:cxn ang="0">
                    <a:pos x="10" y="261"/>
                  </a:cxn>
                  <a:cxn ang="0">
                    <a:pos x="17" y="248"/>
                  </a:cxn>
                  <a:cxn ang="0">
                    <a:pos x="12" y="229"/>
                  </a:cxn>
                  <a:cxn ang="0">
                    <a:pos x="21" y="206"/>
                  </a:cxn>
                  <a:cxn ang="0">
                    <a:pos x="25" y="181"/>
                  </a:cxn>
                  <a:cxn ang="0">
                    <a:pos x="46" y="163"/>
                  </a:cxn>
                  <a:cxn ang="0">
                    <a:pos x="50" y="111"/>
                  </a:cxn>
                  <a:cxn ang="0">
                    <a:pos x="67" y="104"/>
                  </a:cxn>
                  <a:cxn ang="0">
                    <a:pos x="85" y="117"/>
                  </a:cxn>
                  <a:cxn ang="0">
                    <a:pos x="140" y="113"/>
                  </a:cxn>
                  <a:cxn ang="0">
                    <a:pos x="294" y="121"/>
                  </a:cxn>
                  <a:cxn ang="0">
                    <a:pos x="371" y="88"/>
                  </a:cxn>
                  <a:cxn ang="0">
                    <a:pos x="717" y="117"/>
                  </a:cxn>
                  <a:cxn ang="0">
                    <a:pos x="724" y="171"/>
                  </a:cxn>
                  <a:cxn ang="0">
                    <a:pos x="701" y="179"/>
                  </a:cxn>
                  <a:cxn ang="0">
                    <a:pos x="678" y="200"/>
                  </a:cxn>
                  <a:cxn ang="0">
                    <a:pos x="665" y="242"/>
                  </a:cxn>
                  <a:cxn ang="0">
                    <a:pos x="626" y="261"/>
                  </a:cxn>
                  <a:cxn ang="0">
                    <a:pos x="582" y="273"/>
                  </a:cxn>
                  <a:cxn ang="0">
                    <a:pos x="553" y="281"/>
                  </a:cxn>
                  <a:cxn ang="0">
                    <a:pos x="501" y="298"/>
                  </a:cxn>
                  <a:cxn ang="0">
                    <a:pos x="457" y="315"/>
                  </a:cxn>
                  <a:cxn ang="0">
                    <a:pos x="430" y="348"/>
                  </a:cxn>
                  <a:cxn ang="0">
                    <a:pos x="402" y="352"/>
                  </a:cxn>
                  <a:cxn ang="0">
                    <a:pos x="382" y="348"/>
                  </a:cxn>
                  <a:cxn ang="0">
                    <a:pos x="371" y="355"/>
                  </a:cxn>
                  <a:cxn ang="0">
                    <a:pos x="355" y="363"/>
                  </a:cxn>
                  <a:cxn ang="0">
                    <a:pos x="332" y="377"/>
                  </a:cxn>
                  <a:cxn ang="0">
                    <a:pos x="830" y="457"/>
                  </a:cxn>
                  <a:cxn ang="0">
                    <a:pos x="788" y="469"/>
                  </a:cxn>
                  <a:cxn ang="0">
                    <a:pos x="755" y="453"/>
                  </a:cxn>
                  <a:cxn ang="0">
                    <a:pos x="766" y="440"/>
                  </a:cxn>
                  <a:cxn ang="0">
                    <a:pos x="807" y="444"/>
                  </a:cxn>
                  <a:cxn ang="0">
                    <a:pos x="686" y="480"/>
                  </a:cxn>
                  <a:cxn ang="0">
                    <a:pos x="669" y="475"/>
                  </a:cxn>
                  <a:cxn ang="0">
                    <a:pos x="676" y="477"/>
                  </a:cxn>
                  <a:cxn ang="0">
                    <a:pos x="688" y="477"/>
                  </a:cxn>
                  <a:cxn ang="0">
                    <a:pos x="2" y="261"/>
                  </a:cxn>
                  <a:cxn ang="0">
                    <a:pos x="6" y="250"/>
                  </a:cxn>
                  <a:cxn ang="0">
                    <a:pos x="2" y="261"/>
                  </a:cxn>
                  <a:cxn ang="0">
                    <a:pos x="16" y="346"/>
                  </a:cxn>
                </a:cxnLst>
                <a:rect l="0" t="0" r="r" b="b"/>
                <a:pathLst>
                  <a:path w="836" h="480">
                    <a:moveTo>
                      <a:pt x="329" y="379"/>
                    </a:moveTo>
                    <a:lnTo>
                      <a:pt x="323" y="380"/>
                    </a:lnTo>
                    <a:lnTo>
                      <a:pt x="311" y="382"/>
                    </a:lnTo>
                    <a:lnTo>
                      <a:pt x="306" y="384"/>
                    </a:lnTo>
                    <a:lnTo>
                      <a:pt x="304" y="384"/>
                    </a:lnTo>
                    <a:lnTo>
                      <a:pt x="302" y="386"/>
                    </a:lnTo>
                    <a:lnTo>
                      <a:pt x="298" y="388"/>
                    </a:lnTo>
                    <a:lnTo>
                      <a:pt x="296" y="390"/>
                    </a:lnTo>
                    <a:lnTo>
                      <a:pt x="290" y="392"/>
                    </a:lnTo>
                    <a:lnTo>
                      <a:pt x="275" y="392"/>
                    </a:lnTo>
                    <a:lnTo>
                      <a:pt x="267" y="392"/>
                    </a:lnTo>
                    <a:lnTo>
                      <a:pt x="263" y="392"/>
                    </a:lnTo>
                    <a:lnTo>
                      <a:pt x="254" y="392"/>
                    </a:lnTo>
                    <a:lnTo>
                      <a:pt x="244" y="392"/>
                    </a:lnTo>
                    <a:lnTo>
                      <a:pt x="238" y="394"/>
                    </a:lnTo>
                    <a:lnTo>
                      <a:pt x="229" y="394"/>
                    </a:lnTo>
                    <a:lnTo>
                      <a:pt x="217" y="398"/>
                    </a:lnTo>
                    <a:lnTo>
                      <a:pt x="215" y="398"/>
                    </a:lnTo>
                    <a:lnTo>
                      <a:pt x="211" y="403"/>
                    </a:lnTo>
                    <a:lnTo>
                      <a:pt x="210" y="403"/>
                    </a:lnTo>
                    <a:lnTo>
                      <a:pt x="206" y="407"/>
                    </a:lnTo>
                    <a:lnTo>
                      <a:pt x="206" y="409"/>
                    </a:lnTo>
                    <a:lnTo>
                      <a:pt x="204" y="411"/>
                    </a:lnTo>
                    <a:lnTo>
                      <a:pt x="200" y="417"/>
                    </a:lnTo>
                    <a:lnTo>
                      <a:pt x="198" y="417"/>
                    </a:lnTo>
                    <a:lnTo>
                      <a:pt x="196" y="419"/>
                    </a:lnTo>
                    <a:lnTo>
                      <a:pt x="194" y="419"/>
                    </a:lnTo>
                    <a:lnTo>
                      <a:pt x="192" y="419"/>
                    </a:lnTo>
                    <a:lnTo>
                      <a:pt x="188" y="419"/>
                    </a:lnTo>
                    <a:lnTo>
                      <a:pt x="186" y="421"/>
                    </a:lnTo>
                    <a:lnTo>
                      <a:pt x="185" y="421"/>
                    </a:lnTo>
                    <a:lnTo>
                      <a:pt x="181" y="423"/>
                    </a:lnTo>
                    <a:lnTo>
                      <a:pt x="179" y="425"/>
                    </a:lnTo>
                    <a:lnTo>
                      <a:pt x="179" y="425"/>
                    </a:lnTo>
                    <a:lnTo>
                      <a:pt x="177" y="430"/>
                    </a:lnTo>
                    <a:lnTo>
                      <a:pt x="175" y="438"/>
                    </a:lnTo>
                    <a:lnTo>
                      <a:pt x="173" y="432"/>
                    </a:lnTo>
                    <a:lnTo>
                      <a:pt x="169" y="432"/>
                    </a:lnTo>
                    <a:lnTo>
                      <a:pt x="163" y="434"/>
                    </a:lnTo>
                    <a:lnTo>
                      <a:pt x="163" y="436"/>
                    </a:lnTo>
                    <a:lnTo>
                      <a:pt x="165" y="438"/>
                    </a:lnTo>
                    <a:lnTo>
                      <a:pt x="165" y="438"/>
                    </a:lnTo>
                    <a:lnTo>
                      <a:pt x="165" y="440"/>
                    </a:lnTo>
                    <a:lnTo>
                      <a:pt x="162" y="440"/>
                    </a:lnTo>
                    <a:lnTo>
                      <a:pt x="152" y="438"/>
                    </a:lnTo>
                    <a:lnTo>
                      <a:pt x="150" y="434"/>
                    </a:lnTo>
                    <a:lnTo>
                      <a:pt x="144" y="434"/>
                    </a:lnTo>
                    <a:lnTo>
                      <a:pt x="142" y="434"/>
                    </a:lnTo>
                    <a:lnTo>
                      <a:pt x="140" y="434"/>
                    </a:lnTo>
                    <a:lnTo>
                      <a:pt x="138" y="436"/>
                    </a:lnTo>
                    <a:lnTo>
                      <a:pt x="135" y="440"/>
                    </a:lnTo>
                    <a:lnTo>
                      <a:pt x="133" y="442"/>
                    </a:lnTo>
                    <a:lnTo>
                      <a:pt x="131" y="444"/>
                    </a:lnTo>
                    <a:lnTo>
                      <a:pt x="123" y="446"/>
                    </a:lnTo>
                    <a:lnTo>
                      <a:pt x="115" y="448"/>
                    </a:lnTo>
                    <a:lnTo>
                      <a:pt x="98" y="450"/>
                    </a:lnTo>
                    <a:lnTo>
                      <a:pt x="96" y="448"/>
                    </a:lnTo>
                    <a:lnTo>
                      <a:pt x="94" y="446"/>
                    </a:lnTo>
                    <a:lnTo>
                      <a:pt x="89" y="444"/>
                    </a:lnTo>
                    <a:lnTo>
                      <a:pt x="81" y="440"/>
                    </a:lnTo>
                    <a:lnTo>
                      <a:pt x="73" y="438"/>
                    </a:lnTo>
                    <a:lnTo>
                      <a:pt x="71" y="440"/>
                    </a:lnTo>
                    <a:lnTo>
                      <a:pt x="69" y="442"/>
                    </a:lnTo>
                    <a:lnTo>
                      <a:pt x="67" y="444"/>
                    </a:lnTo>
                    <a:lnTo>
                      <a:pt x="67" y="444"/>
                    </a:lnTo>
                    <a:lnTo>
                      <a:pt x="65" y="444"/>
                    </a:lnTo>
                    <a:lnTo>
                      <a:pt x="64" y="444"/>
                    </a:lnTo>
                    <a:lnTo>
                      <a:pt x="65" y="438"/>
                    </a:lnTo>
                    <a:lnTo>
                      <a:pt x="65" y="436"/>
                    </a:lnTo>
                    <a:lnTo>
                      <a:pt x="65" y="434"/>
                    </a:lnTo>
                    <a:lnTo>
                      <a:pt x="60" y="423"/>
                    </a:lnTo>
                    <a:lnTo>
                      <a:pt x="56" y="417"/>
                    </a:lnTo>
                    <a:lnTo>
                      <a:pt x="50" y="409"/>
                    </a:lnTo>
                    <a:lnTo>
                      <a:pt x="48" y="407"/>
                    </a:lnTo>
                    <a:lnTo>
                      <a:pt x="48" y="402"/>
                    </a:lnTo>
                    <a:lnTo>
                      <a:pt x="48" y="400"/>
                    </a:lnTo>
                    <a:lnTo>
                      <a:pt x="48" y="398"/>
                    </a:lnTo>
                    <a:lnTo>
                      <a:pt x="50" y="382"/>
                    </a:lnTo>
                    <a:lnTo>
                      <a:pt x="52" y="379"/>
                    </a:lnTo>
                    <a:lnTo>
                      <a:pt x="52" y="375"/>
                    </a:lnTo>
                    <a:lnTo>
                      <a:pt x="52" y="375"/>
                    </a:lnTo>
                    <a:lnTo>
                      <a:pt x="52" y="371"/>
                    </a:lnTo>
                    <a:lnTo>
                      <a:pt x="48" y="359"/>
                    </a:lnTo>
                    <a:lnTo>
                      <a:pt x="46" y="357"/>
                    </a:lnTo>
                    <a:lnTo>
                      <a:pt x="44" y="357"/>
                    </a:lnTo>
                    <a:lnTo>
                      <a:pt x="41" y="354"/>
                    </a:lnTo>
                    <a:lnTo>
                      <a:pt x="37" y="352"/>
                    </a:lnTo>
                    <a:lnTo>
                      <a:pt x="39" y="346"/>
                    </a:lnTo>
                    <a:lnTo>
                      <a:pt x="39" y="340"/>
                    </a:lnTo>
                    <a:lnTo>
                      <a:pt x="39" y="338"/>
                    </a:lnTo>
                    <a:lnTo>
                      <a:pt x="37" y="330"/>
                    </a:lnTo>
                    <a:lnTo>
                      <a:pt x="33" y="321"/>
                    </a:lnTo>
                    <a:lnTo>
                      <a:pt x="33" y="313"/>
                    </a:lnTo>
                    <a:lnTo>
                      <a:pt x="31" y="307"/>
                    </a:lnTo>
                    <a:lnTo>
                      <a:pt x="29" y="302"/>
                    </a:lnTo>
                    <a:lnTo>
                      <a:pt x="27" y="296"/>
                    </a:lnTo>
                    <a:lnTo>
                      <a:pt x="27" y="294"/>
                    </a:lnTo>
                    <a:lnTo>
                      <a:pt x="29" y="290"/>
                    </a:lnTo>
                    <a:lnTo>
                      <a:pt x="27" y="286"/>
                    </a:lnTo>
                    <a:lnTo>
                      <a:pt x="27" y="284"/>
                    </a:lnTo>
                    <a:lnTo>
                      <a:pt x="23" y="273"/>
                    </a:lnTo>
                    <a:lnTo>
                      <a:pt x="21" y="271"/>
                    </a:lnTo>
                    <a:lnTo>
                      <a:pt x="17" y="269"/>
                    </a:lnTo>
                    <a:lnTo>
                      <a:pt x="14" y="267"/>
                    </a:lnTo>
                    <a:lnTo>
                      <a:pt x="12" y="267"/>
                    </a:lnTo>
                    <a:lnTo>
                      <a:pt x="10" y="267"/>
                    </a:lnTo>
                    <a:lnTo>
                      <a:pt x="10" y="265"/>
                    </a:lnTo>
                    <a:lnTo>
                      <a:pt x="10" y="261"/>
                    </a:lnTo>
                    <a:lnTo>
                      <a:pt x="12" y="259"/>
                    </a:lnTo>
                    <a:lnTo>
                      <a:pt x="16" y="265"/>
                    </a:lnTo>
                    <a:lnTo>
                      <a:pt x="17" y="265"/>
                    </a:lnTo>
                    <a:lnTo>
                      <a:pt x="17" y="263"/>
                    </a:lnTo>
                    <a:lnTo>
                      <a:pt x="17" y="257"/>
                    </a:lnTo>
                    <a:lnTo>
                      <a:pt x="17" y="248"/>
                    </a:lnTo>
                    <a:lnTo>
                      <a:pt x="14" y="244"/>
                    </a:lnTo>
                    <a:lnTo>
                      <a:pt x="12" y="240"/>
                    </a:lnTo>
                    <a:lnTo>
                      <a:pt x="12" y="236"/>
                    </a:lnTo>
                    <a:lnTo>
                      <a:pt x="10" y="232"/>
                    </a:lnTo>
                    <a:lnTo>
                      <a:pt x="10" y="231"/>
                    </a:lnTo>
                    <a:lnTo>
                      <a:pt x="12" y="229"/>
                    </a:lnTo>
                    <a:lnTo>
                      <a:pt x="14" y="229"/>
                    </a:lnTo>
                    <a:lnTo>
                      <a:pt x="16" y="223"/>
                    </a:lnTo>
                    <a:lnTo>
                      <a:pt x="17" y="221"/>
                    </a:lnTo>
                    <a:lnTo>
                      <a:pt x="19" y="219"/>
                    </a:lnTo>
                    <a:lnTo>
                      <a:pt x="21" y="213"/>
                    </a:lnTo>
                    <a:lnTo>
                      <a:pt x="21" y="206"/>
                    </a:lnTo>
                    <a:lnTo>
                      <a:pt x="21" y="204"/>
                    </a:lnTo>
                    <a:lnTo>
                      <a:pt x="19" y="188"/>
                    </a:lnTo>
                    <a:lnTo>
                      <a:pt x="17" y="186"/>
                    </a:lnTo>
                    <a:lnTo>
                      <a:pt x="17" y="184"/>
                    </a:lnTo>
                    <a:lnTo>
                      <a:pt x="19" y="184"/>
                    </a:lnTo>
                    <a:lnTo>
                      <a:pt x="25" y="181"/>
                    </a:lnTo>
                    <a:lnTo>
                      <a:pt x="37" y="173"/>
                    </a:lnTo>
                    <a:lnTo>
                      <a:pt x="37" y="171"/>
                    </a:lnTo>
                    <a:lnTo>
                      <a:pt x="37" y="169"/>
                    </a:lnTo>
                    <a:lnTo>
                      <a:pt x="39" y="163"/>
                    </a:lnTo>
                    <a:lnTo>
                      <a:pt x="41" y="163"/>
                    </a:lnTo>
                    <a:lnTo>
                      <a:pt x="46" y="163"/>
                    </a:lnTo>
                    <a:lnTo>
                      <a:pt x="46" y="161"/>
                    </a:lnTo>
                    <a:lnTo>
                      <a:pt x="42" y="152"/>
                    </a:lnTo>
                    <a:lnTo>
                      <a:pt x="41" y="146"/>
                    </a:lnTo>
                    <a:lnTo>
                      <a:pt x="42" y="133"/>
                    </a:lnTo>
                    <a:lnTo>
                      <a:pt x="44" y="117"/>
                    </a:lnTo>
                    <a:lnTo>
                      <a:pt x="50" y="111"/>
                    </a:lnTo>
                    <a:lnTo>
                      <a:pt x="54" y="109"/>
                    </a:lnTo>
                    <a:lnTo>
                      <a:pt x="56" y="108"/>
                    </a:lnTo>
                    <a:lnTo>
                      <a:pt x="58" y="106"/>
                    </a:lnTo>
                    <a:lnTo>
                      <a:pt x="60" y="106"/>
                    </a:lnTo>
                    <a:lnTo>
                      <a:pt x="64" y="104"/>
                    </a:lnTo>
                    <a:lnTo>
                      <a:pt x="67" y="104"/>
                    </a:lnTo>
                    <a:lnTo>
                      <a:pt x="75" y="108"/>
                    </a:lnTo>
                    <a:lnTo>
                      <a:pt x="77" y="108"/>
                    </a:lnTo>
                    <a:lnTo>
                      <a:pt x="77" y="109"/>
                    </a:lnTo>
                    <a:lnTo>
                      <a:pt x="79" y="111"/>
                    </a:lnTo>
                    <a:lnTo>
                      <a:pt x="83" y="115"/>
                    </a:lnTo>
                    <a:lnTo>
                      <a:pt x="85" y="117"/>
                    </a:lnTo>
                    <a:lnTo>
                      <a:pt x="98" y="119"/>
                    </a:lnTo>
                    <a:lnTo>
                      <a:pt x="108" y="117"/>
                    </a:lnTo>
                    <a:lnTo>
                      <a:pt x="115" y="111"/>
                    </a:lnTo>
                    <a:lnTo>
                      <a:pt x="127" y="111"/>
                    </a:lnTo>
                    <a:lnTo>
                      <a:pt x="135" y="111"/>
                    </a:lnTo>
                    <a:lnTo>
                      <a:pt x="140" y="113"/>
                    </a:lnTo>
                    <a:lnTo>
                      <a:pt x="146" y="111"/>
                    </a:lnTo>
                    <a:lnTo>
                      <a:pt x="186" y="111"/>
                    </a:lnTo>
                    <a:lnTo>
                      <a:pt x="200" y="117"/>
                    </a:lnTo>
                    <a:lnTo>
                      <a:pt x="248" y="123"/>
                    </a:lnTo>
                    <a:lnTo>
                      <a:pt x="267" y="125"/>
                    </a:lnTo>
                    <a:lnTo>
                      <a:pt x="294" y="121"/>
                    </a:lnTo>
                    <a:lnTo>
                      <a:pt x="311" y="144"/>
                    </a:lnTo>
                    <a:lnTo>
                      <a:pt x="325" y="144"/>
                    </a:lnTo>
                    <a:lnTo>
                      <a:pt x="342" y="134"/>
                    </a:lnTo>
                    <a:lnTo>
                      <a:pt x="344" y="133"/>
                    </a:lnTo>
                    <a:lnTo>
                      <a:pt x="354" y="109"/>
                    </a:lnTo>
                    <a:lnTo>
                      <a:pt x="371" y="88"/>
                    </a:lnTo>
                    <a:lnTo>
                      <a:pt x="394" y="60"/>
                    </a:lnTo>
                    <a:lnTo>
                      <a:pt x="459" y="27"/>
                    </a:lnTo>
                    <a:lnTo>
                      <a:pt x="576" y="15"/>
                    </a:lnTo>
                    <a:lnTo>
                      <a:pt x="607" y="10"/>
                    </a:lnTo>
                    <a:lnTo>
                      <a:pt x="661" y="0"/>
                    </a:lnTo>
                    <a:lnTo>
                      <a:pt x="717" y="117"/>
                    </a:lnTo>
                    <a:lnTo>
                      <a:pt x="718" y="121"/>
                    </a:lnTo>
                    <a:lnTo>
                      <a:pt x="740" y="165"/>
                    </a:lnTo>
                    <a:lnTo>
                      <a:pt x="734" y="167"/>
                    </a:lnTo>
                    <a:lnTo>
                      <a:pt x="728" y="169"/>
                    </a:lnTo>
                    <a:lnTo>
                      <a:pt x="726" y="171"/>
                    </a:lnTo>
                    <a:lnTo>
                      <a:pt x="724" y="171"/>
                    </a:lnTo>
                    <a:lnTo>
                      <a:pt x="722" y="171"/>
                    </a:lnTo>
                    <a:lnTo>
                      <a:pt x="713" y="175"/>
                    </a:lnTo>
                    <a:lnTo>
                      <a:pt x="707" y="177"/>
                    </a:lnTo>
                    <a:lnTo>
                      <a:pt x="705" y="177"/>
                    </a:lnTo>
                    <a:lnTo>
                      <a:pt x="703" y="177"/>
                    </a:lnTo>
                    <a:lnTo>
                      <a:pt x="701" y="179"/>
                    </a:lnTo>
                    <a:lnTo>
                      <a:pt x="697" y="181"/>
                    </a:lnTo>
                    <a:lnTo>
                      <a:pt x="695" y="182"/>
                    </a:lnTo>
                    <a:lnTo>
                      <a:pt x="693" y="182"/>
                    </a:lnTo>
                    <a:lnTo>
                      <a:pt x="693" y="184"/>
                    </a:lnTo>
                    <a:lnTo>
                      <a:pt x="682" y="192"/>
                    </a:lnTo>
                    <a:lnTo>
                      <a:pt x="678" y="200"/>
                    </a:lnTo>
                    <a:lnTo>
                      <a:pt x="672" y="211"/>
                    </a:lnTo>
                    <a:lnTo>
                      <a:pt x="674" y="221"/>
                    </a:lnTo>
                    <a:lnTo>
                      <a:pt x="676" y="229"/>
                    </a:lnTo>
                    <a:lnTo>
                      <a:pt x="678" y="234"/>
                    </a:lnTo>
                    <a:lnTo>
                      <a:pt x="674" y="238"/>
                    </a:lnTo>
                    <a:lnTo>
                      <a:pt x="665" y="242"/>
                    </a:lnTo>
                    <a:lnTo>
                      <a:pt x="659" y="244"/>
                    </a:lnTo>
                    <a:lnTo>
                      <a:pt x="642" y="252"/>
                    </a:lnTo>
                    <a:lnTo>
                      <a:pt x="638" y="254"/>
                    </a:lnTo>
                    <a:lnTo>
                      <a:pt x="638" y="256"/>
                    </a:lnTo>
                    <a:lnTo>
                      <a:pt x="632" y="257"/>
                    </a:lnTo>
                    <a:lnTo>
                      <a:pt x="626" y="261"/>
                    </a:lnTo>
                    <a:lnTo>
                      <a:pt x="611" y="267"/>
                    </a:lnTo>
                    <a:lnTo>
                      <a:pt x="609" y="267"/>
                    </a:lnTo>
                    <a:lnTo>
                      <a:pt x="603" y="269"/>
                    </a:lnTo>
                    <a:lnTo>
                      <a:pt x="597" y="271"/>
                    </a:lnTo>
                    <a:lnTo>
                      <a:pt x="592" y="271"/>
                    </a:lnTo>
                    <a:lnTo>
                      <a:pt x="582" y="273"/>
                    </a:lnTo>
                    <a:lnTo>
                      <a:pt x="574" y="277"/>
                    </a:lnTo>
                    <a:lnTo>
                      <a:pt x="572" y="277"/>
                    </a:lnTo>
                    <a:lnTo>
                      <a:pt x="571" y="277"/>
                    </a:lnTo>
                    <a:lnTo>
                      <a:pt x="561" y="279"/>
                    </a:lnTo>
                    <a:lnTo>
                      <a:pt x="555" y="281"/>
                    </a:lnTo>
                    <a:lnTo>
                      <a:pt x="553" y="281"/>
                    </a:lnTo>
                    <a:lnTo>
                      <a:pt x="549" y="282"/>
                    </a:lnTo>
                    <a:lnTo>
                      <a:pt x="534" y="292"/>
                    </a:lnTo>
                    <a:lnTo>
                      <a:pt x="524" y="294"/>
                    </a:lnTo>
                    <a:lnTo>
                      <a:pt x="524" y="292"/>
                    </a:lnTo>
                    <a:lnTo>
                      <a:pt x="519" y="292"/>
                    </a:lnTo>
                    <a:lnTo>
                      <a:pt x="501" y="298"/>
                    </a:lnTo>
                    <a:lnTo>
                      <a:pt x="490" y="302"/>
                    </a:lnTo>
                    <a:lnTo>
                      <a:pt x="480" y="305"/>
                    </a:lnTo>
                    <a:lnTo>
                      <a:pt x="469" y="309"/>
                    </a:lnTo>
                    <a:lnTo>
                      <a:pt x="459" y="315"/>
                    </a:lnTo>
                    <a:lnTo>
                      <a:pt x="459" y="315"/>
                    </a:lnTo>
                    <a:lnTo>
                      <a:pt x="457" y="315"/>
                    </a:lnTo>
                    <a:lnTo>
                      <a:pt x="453" y="321"/>
                    </a:lnTo>
                    <a:lnTo>
                      <a:pt x="451" y="327"/>
                    </a:lnTo>
                    <a:lnTo>
                      <a:pt x="451" y="329"/>
                    </a:lnTo>
                    <a:lnTo>
                      <a:pt x="440" y="340"/>
                    </a:lnTo>
                    <a:lnTo>
                      <a:pt x="432" y="348"/>
                    </a:lnTo>
                    <a:lnTo>
                      <a:pt x="430" y="348"/>
                    </a:lnTo>
                    <a:lnTo>
                      <a:pt x="430" y="348"/>
                    </a:lnTo>
                    <a:lnTo>
                      <a:pt x="425" y="348"/>
                    </a:lnTo>
                    <a:lnTo>
                      <a:pt x="421" y="348"/>
                    </a:lnTo>
                    <a:lnTo>
                      <a:pt x="411" y="350"/>
                    </a:lnTo>
                    <a:lnTo>
                      <a:pt x="403" y="352"/>
                    </a:lnTo>
                    <a:lnTo>
                      <a:pt x="402" y="352"/>
                    </a:lnTo>
                    <a:lnTo>
                      <a:pt x="398" y="352"/>
                    </a:lnTo>
                    <a:lnTo>
                      <a:pt x="396" y="352"/>
                    </a:lnTo>
                    <a:lnTo>
                      <a:pt x="392" y="350"/>
                    </a:lnTo>
                    <a:lnTo>
                      <a:pt x="386" y="348"/>
                    </a:lnTo>
                    <a:lnTo>
                      <a:pt x="384" y="348"/>
                    </a:lnTo>
                    <a:lnTo>
                      <a:pt x="382" y="348"/>
                    </a:lnTo>
                    <a:lnTo>
                      <a:pt x="380" y="348"/>
                    </a:lnTo>
                    <a:lnTo>
                      <a:pt x="379" y="348"/>
                    </a:lnTo>
                    <a:lnTo>
                      <a:pt x="377" y="350"/>
                    </a:lnTo>
                    <a:lnTo>
                      <a:pt x="375" y="352"/>
                    </a:lnTo>
                    <a:lnTo>
                      <a:pt x="375" y="352"/>
                    </a:lnTo>
                    <a:lnTo>
                      <a:pt x="371" y="355"/>
                    </a:lnTo>
                    <a:lnTo>
                      <a:pt x="369" y="355"/>
                    </a:lnTo>
                    <a:lnTo>
                      <a:pt x="365" y="357"/>
                    </a:lnTo>
                    <a:lnTo>
                      <a:pt x="361" y="357"/>
                    </a:lnTo>
                    <a:lnTo>
                      <a:pt x="357" y="359"/>
                    </a:lnTo>
                    <a:lnTo>
                      <a:pt x="355" y="361"/>
                    </a:lnTo>
                    <a:lnTo>
                      <a:pt x="355" y="363"/>
                    </a:lnTo>
                    <a:lnTo>
                      <a:pt x="354" y="363"/>
                    </a:lnTo>
                    <a:lnTo>
                      <a:pt x="344" y="373"/>
                    </a:lnTo>
                    <a:lnTo>
                      <a:pt x="340" y="375"/>
                    </a:lnTo>
                    <a:lnTo>
                      <a:pt x="340" y="377"/>
                    </a:lnTo>
                    <a:lnTo>
                      <a:pt x="334" y="377"/>
                    </a:lnTo>
                    <a:lnTo>
                      <a:pt x="332" y="377"/>
                    </a:lnTo>
                    <a:lnTo>
                      <a:pt x="329" y="379"/>
                    </a:lnTo>
                    <a:close/>
                    <a:moveTo>
                      <a:pt x="816" y="446"/>
                    </a:moveTo>
                    <a:lnTo>
                      <a:pt x="820" y="446"/>
                    </a:lnTo>
                    <a:lnTo>
                      <a:pt x="834" y="452"/>
                    </a:lnTo>
                    <a:lnTo>
                      <a:pt x="836" y="453"/>
                    </a:lnTo>
                    <a:lnTo>
                      <a:pt x="830" y="457"/>
                    </a:lnTo>
                    <a:lnTo>
                      <a:pt x="818" y="463"/>
                    </a:lnTo>
                    <a:lnTo>
                      <a:pt x="814" y="465"/>
                    </a:lnTo>
                    <a:lnTo>
                      <a:pt x="813" y="467"/>
                    </a:lnTo>
                    <a:lnTo>
                      <a:pt x="811" y="467"/>
                    </a:lnTo>
                    <a:lnTo>
                      <a:pt x="803" y="467"/>
                    </a:lnTo>
                    <a:lnTo>
                      <a:pt x="788" y="469"/>
                    </a:lnTo>
                    <a:lnTo>
                      <a:pt x="784" y="469"/>
                    </a:lnTo>
                    <a:lnTo>
                      <a:pt x="776" y="469"/>
                    </a:lnTo>
                    <a:lnTo>
                      <a:pt x="774" y="467"/>
                    </a:lnTo>
                    <a:lnTo>
                      <a:pt x="772" y="467"/>
                    </a:lnTo>
                    <a:lnTo>
                      <a:pt x="759" y="457"/>
                    </a:lnTo>
                    <a:lnTo>
                      <a:pt x="755" y="453"/>
                    </a:lnTo>
                    <a:lnTo>
                      <a:pt x="759" y="452"/>
                    </a:lnTo>
                    <a:lnTo>
                      <a:pt x="759" y="452"/>
                    </a:lnTo>
                    <a:lnTo>
                      <a:pt x="761" y="450"/>
                    </a:lnTo>
                    <a:lnTo>
                      <a:pt x="761" y="448"/>
                    </a:lnTo>
                    <a:lnTo>
                      <a:pt x="761" y="446"/>
                    </a:lnTo>
                    <a:lnTo>
                      <a:pt x="766" y="440"/>
                    </a:lnTo>
                    <a:lnTo>
                      <a:pt x="778" y="442"/>
                    </a:lnTo>
                    <a:lnTo>
                      <a:pt x="782" y="444"/>
                    </a:lnTo>
                    <a:lnTo>
                      <a:pt x="786" y="448"/>
                    </a:lnTo>
                    <a:lnTo>
                      <a:pt x="789" y="450"/>
                    </a:lnTo>
                    <a:lnTo>
                      <a:pt x="803" y="446"/>
                    </a:lnTo>
                    <a:lnTo>
                      <a:pt x="807" y="444"/>
                    </a:lnTo>
                    <a:lnTo>
                      <a:pt x="809" y="442"/>
                    </a:lnTo>
                    <a:lnTo>
                      <a:pt x="811" y="442"/>
                    </a:lnTo>
                    <a:lnTo>
                      <a:pt x="813" y="442"/>
                    </a:lnTo>
                    <a:lnTo>
                      <a:pt x="814" y="444"/>
                    </a:lnTo>
                    <a:lnTo>
                      <a:pt x="816" y="446"/>
                    </a:lnTo>
                    <a:close/>
                    <a:moveTo>
                      <a:pt x="686" y="480"/>
                    </a:moveTo>
                    <a:lnTo>
                      <a:pt x="680" y="480"/>
                    </a:lnTo>
                    <a:lnTo>
                      <a:pt x="674" y="478"/>
                    </a:lnTo>
                    <a:lnTo>
                      <a:pt x="670" y="478"/>
                    </a:lnTo>
                    <a:lnTo>
                      <a:pt x="670" y="477"/>
                    </a:lnTo>
                    <a:lnTo>
                      <a:pt x="669" y="477"/>
                    </a:lnTo>
                    <a:lnTo>
                      <a:pt x="669" y="475"/>
                    </a:lnTo>
                    <a:lnTo>
                      <a:pt x="669" y="475"/>
                    </a:lnTo>
                    <a:lnTo>
                      <a:pt x="672" y="475"/>
                    </a:lnTo>
                    <a:lnTo>
                      <a:pt x="672" y="475"/>
                    </a:lnTo>
                    <a:lnTo>
                      <a:pt x="674" y="475"/>
                    </a:lnTo>
                    <a:lnTo>
                      <a:pt x="674" y="477"/>
                    </a:lnTo>
                    <a:lnTo>
                      <a:pt x="676" y="477"/>
                    </a:lnTo>
                    <a:lnTo>
                      <a:pt x="676" y="477"/>
                    </a:lnTo>
                    <a:lnTo>
                      <a:pt x="678" y="477"/>
                    </a:lnTo>
                    <a:lnTo>
                      <a:pt x="678" y="477"/>
                    </a:lnTo>
                    <a:lnTo>
                      <a:pt x="682" y="477"/>
                    </a:lnTo>
                    <a:lnTo>
                      <a:pt x="682" y="477"/>
                    </a:lnTo>
                    <a:lnTo>
                      <a:pt x="688" y="477"/>
                    </a:lnTo>
                    <a:lnTo>
                      <a:pt x="690" y="477"/>
                    </a:lnTo>
                    <a:lnTo>
                      <a:pt x="690" y="480"/>
                    </a:lnTo>
                    <a:lnTo>
                      <a:pt x="688" y="480"/>
                    </a:lnTo>
                    <a:lnTo>
                      <a:pt x="686" y="480"/>
                    </a:lnTo>
                    <a:close/>
                    <a:moveTo>
                      <a:pt x="2" y="261"/>
                    </a:moveTo>
                    <a:lnTo>
                      <a:pt x="2" y="261"/>
                    </a:lnTo>
                    <a:lnTo>
                      <a:pt x="0" y="261"/>
                    </a:lnTo>
                    <a:lnTo>
                      <a:pt x="0" y="259"/>
                    </a:lnTo>
                    <a:lnTo>
                      <a:pt x="2" y="254"/>
                    </a:lnTo>
                    <a:lnTo>
                      <a:pt x="2" y="252"/>
                    </a:lnTo>
                    <a:lnTo>
                      <a:pt x="4" y="250"/>
                    </a:lnTo>
                    <a:lnTo>
                      <a:pt x="6" y="250"/>
                    </a:lnTo>
                    <a:lnTo>
                      <a:pt x="8" y="250"/>
                    </a:lnTo>
                    <a:lnTo>
                      <a:pt x="8" y="254"/>
                    </a:lnTo>
                    <a:lnTo>
                      <a:pt x="6" y="257"/>
                    </a:lnTo>
                    <a:lnTo>
                      <a:pt x="4" y="259"/>
                    </a:lnTo>
                    <a:lnTo>
                      <a:pt x="4" y="261"/>
                    </a:lnTo>
                    <a:lnTo>
                      <a:pt x="2" y="261"/>
                    </a:lnTo>
                    <a:close/>
                    <a:moveTo>
                      <a:pt x="16" y="357"/>
                    </a:moveTo>
                    <a:lnTo>
                      <a:pt x="16" y="357"/>
                    </a:lnTo>
                    <a:lnTo>
                      <a:pt x="10" y="352"/>
                    </a:lnTo>
                    <a:lnTo>
                      <a:pt x="10" y="350"/>
                    </a:lnTo>
                    <a:lnTo>
                      <a:pt x="14" y="348"/>
                    </a:lnTo>
                    <a:lnTo>
                      <a:pt x="16" y="346"/>
                    </a:lnTo>
                    <a:lnTo>
                      <a:pt x="17" y="348"/>
                    </a:lnTo>
                    <a:lnTo>
                      <a:pt x="17" y="350"/>
                    </a:lnTo>
                    <a:lnTo>
                      <a:pt x="17" y="352"/>
                    </a:lnTo>
                    <a:lnTo>
                      <a:pt x="17" y="357"/>
                    </a:lnTo>
                    <a:lnTo>
                      <a:pt x="16" y="357"/>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8" name="Freeform 35">
                <a:extLst>
                  <a:ext uri="{FF2B5EF4-FFF2-40B4-BE49-F238E27FC236}">
                    <a16:creationId xmlns:a16="http://schemas.microsoft.com/office/drawing/2014/main" id="{DA16D549-0F8F-4F20-98C0-A985465B559E}"/>
                  </a:ext>
                </a:extLst>
              </p:cNvPr>
              <p:cNvSpPr>
                <a:spLocks noEditPoints="1"/>
              </p:cNvSpPr>
              <p:nvPr/>
            </p:nvSpPr>
            <p:spPr bwMode="gray">
              <a:xfrm>
                <a:off x="4403054" y="4157638"/>
                <a:ext cx="39580" cy="79159"/>
              </a:xfrm>
              <a:custGeom>
                <a:avLst/>
                <a:gdLst/>
                <a:ahLst/>
                <a:cxnLst>
                  <a:cxn ang="0">
                    <a:pos x="12" y="9"/>
                  </a:cxn>
                  <a:cxn ang="0">
                    <a:pos x="12" y="11"/>
                  </a:cxn>
                  <a:cxn ang="0">
                    <a:pos x="12" y="13"/>
                  </a:cxn>
                  <a:cxn ang="0">
                    <a:pos x="12" y="21"/>
                  </a:cxn>
                  <a:cxn ang="0">
                    <a:pos x="12" y="29"/>
                  </a:cxn>
                  <a:cxn ang="0">
                    <a:pos x="10" y="30"/>
                  </a:cxn>
                  <a:cxn ang="0">
                    <a:pos x="8" y="32"/>
                  </a:cxn>
                  <a:cxn ang="0">
                    <a:pos x="2" y="23"/>
                  </a:cxn>
                  <a:cxn ang="0">
                    <a:pos x="0" y="21"/>
                  </a:cxn>
                  <a:cxn ang="0">
                    <a:pos x="2" y="21"/>
                  </a:cxn>
                  <a:cxn ang="0">
                    <a:pos x="2" y="17"/>
                  </a:cxn>
                  <a:cxn ang="0">
                    <a:pos x="2" y="15"/>
                  </a:cxn>
                  <a:cxn ang="0">
                    <a:pos x="2" y="13"/>
                  </a:cxn>
                  <a:cxn ang="0">
                    <a:pos x="0" y="5"/>
                  </a:cxn>
                  <a:cxn ang="0">
                    <a:pos x="0" y="4"/>
                  </a:cxn>
                  <a:cxn ang="0">
                    <a:pos x="4" y="2"/>
                  </a:cxn>
                  <a:cxn ang="0">
                    <a:pos x="6" y="4"/>
                  </a:cxn>
                  <a:cxn ang="0">
                    <a:pos x="10" y="2"/>
                  </a:cxn>
                  <a:cxn ang="0">
                    <a:pos x="12" y="5"/>
                  </a:cxn>
                  <a:cxn ang="0">
                    <a:pos x="8" y="5"/>
                  </a:cxn>
                  <a:cxn ang="0">
                    <a:pos x="8" y="7"/>
                  </a:cxn>
                  <a:cxn ang="0">
                    <a:pos x="23" y="50"/>
                  </a:cxn>
                  <a:cxn ang="0">
                    <a:pos x="21" y="48"/>
                  </a:cxn>
                  <a:cxn ang="0">
                    <a:pos x="21" y="42"/>
                  </a:cxn>
                  <a:cxn ang="0">
                    <a:pos x="21" y="40"/>
                  </a:cxn>
                  <a:cxn ang="0">
                    <a:pos x="23" y="40"/>
                  </a:cxn>
                  <a:cxn ang="0">
                    <a:pos x="25" y="40"/>
                  </a:cxn>
                  <a:cxn ang="0">
                    <a:pos x="23" y="42"/>
                  </a:cxn>
                  <a:cxn ang="0">
                    <a:pos x="21" y="48"/>
                  </a:cxn>
                  <a:cxn ang="0">
                    <a:pos x="14" y="2"/>
                  </a:cxn>
                  <a:cxn ang="0">
                    <a:pos x="12" y="2"/>
                  </a:cxn>
                  <a:cxn ang="0">
                    <a:pos x="12" y="0"/>
                  </a:cxn>
                  <a:cxn ang="0">
                    <a:pos x="14" y="0"/>
                  </a:cxn>
                  <a:cxn ang="0">
                    <a:pos x="14" y="2"/>
                  </a:cxn>
                </a:cxnLst>
                <a:rect l="0" t="0" r="r" b="b"/>
                <a:pathLst>
                  <a:path w="25" h="50">
                    <a:moveTo>
                      <a:pt x="10" y="9"/>
                    </a:moveTo>
                    <a:lnTo>
                      <a:pt x="12" y="9"/>
                    </a:lnTo>
                    <a:lnTo>
                      <a:pt x="12" y="11"/>
                    </a:lnTo>
                    <a:lnTo>
                      <a:pt x="12" y="11"/>
                    </a:lnTo>
                    <a:lnTo>
                      <a:pt x="12" y="11"/>
                    </a:lnTo>
                    <a:lnTo>
                      <a:pt x="12" y="13"/>
                    </a:lnTo>
                    <a:lnTo>
                      <a:pt x="12" y="15"/>
                    </a:lnTo>
                    <a:lnTo>
                      <a:pt x="12" y="21"/>
                    </a:lnTo>
                    <a:lnTo>
                      <a:pt x="12" y="21"/>
                    </a:lnTo>
                    <a:lnTo>
                      <a:pt x="12" y="29"/>
                    </a:lnTo>
                    <a:lnTo>
                      <a:pt x="12" y="30"/>
                    </a:lnTo>
                    <a:lnTo>
                      <a:pt x="10" y="30"/>
                    </a:lnTo>
                    <a:lnTo>
                      <a:pt x="10" y="30"/>
                    </a:lnTo>
                    <a:lnTo>
                      <a:pt x="8" y="32"/>
                    </a:lnTo>
                    <a:lnTo>
                      <a:pt x="8" y="32"/>
                    </a:lnTo>
                    <a:lnTo>
                      <a:pt x="2" y="23"/>
                    </a:lnTo>
                    <a:lnTo>
                      <a:pt x="0" y="23"/>
                    </a:lnTo>
                    <a:lnTo>
                      <a:pt x="0" y="21"/>
                    </a:lnTo>
                    <a:lnTo>
                      <a:pt x="0" y="21"/>
                    </a:lnTo>
                    <a:lnTo>
                      <a:pt x="2" y="21"/>
                    </a:lnTo>
                    <a:lnTo>
                      <a:pt x="2" y="19"/>
                    </a:lnTo>
                    <a:lnTo>
                      <a:pt x="2" y="17"/>
                    </a:lnTo>
                    <a:lnTo>
                      <a:pt x="2" y="17"/>
                    </a:lnTo>
                    <a:lnTo>
                      <a:pt x="2" y="15"/>
                    </a:lnTo>
                    <a:lnTo>
                      <a:pt x="2" y="15"/>
                    </a:lnTo>
                    <a:lnTo>
                      <a:pt x="2" y="13"/>
                    </a:lnTo>
                    <a:lnTo>
                      <a:pt x="2" y="11"/>
                    </a:lnTo>
                    <a:lnTo>
                      <a:pt x="0" y="5"/>
                    </a:lnTo>
                    <a:lnTo>
                      <a:pt x="0" y="4"/>
                    </a:lnTo>
                    <a:lnTo>
                      <a:pt x="0" y="4"/>
                    </a:lnTo>
                    <a:lnTo>
                      <a:pt x="2" y="4"/>
                    </a:lnTo>
                    <a:lnTo>
                      <a:pt x="4" y="2"/>
                    </a:lnTo>
                    <a:lnTo>
                      <a:pt x="4" y="2"/>
                    </a:lnTo>
                    <a:lnTo>
                      <a:pt x="6" y="4"/>
                    </a:lnTo>
                    <a:lnTo>
                      <a:pt x="8" y="4"/>
                    </a:lnTo>
                    <a:lnTo>
                      <a:pt x="10" y="2"/>
                    </a:lnTo>
                    <a:lnTo>
                      <a:pt x="10" y="4"/>
                    </a:lnTo>
                    <a:lnTo>
                      <a:pt x="12" y="5"/>
                    </a:lnTo>
                    <a:lnTo>
                      <a:pt x="10" y="5"/>
                    </a:lnTo>
                    <a:lnTo>
                      <a:pt x="8" y="5"/>
                    </a:lnTo>
                    <a:lnTo>
                      <a:pt x="8" y="5"/>
                    </a:lnTo>
                    <a:lnTo>
                      <a:pt x="8" y="7"/>
                    </a:lnTo>
                    <a:lnTo>
                      <a:pt x="10" y="9"/>
                    </a:lnTo>
                    <a:moveTo>
                      <a:pt x="23" y="50"/>
                    </a:moveTo>
                    <a:lnTo>
                      <a:pt x="21" y="48"/>
                    </a:lnTo>
                    <a:lnTo>
                      <a:pt x="21" y="48"/>
                    </a:lnTo>
                    <a:lnTo>
                      <a:pt x="21" y="48"/>
                    </a:lnTo>
                    <a:lnTo>
                      <a:pt x="21" y="42"/>
                    </a:lnTo>
                    <a:lnTo>
                      <a:pt x="21" y="42"/>
                    </a:lnTo>
                    <a:lnTo>
                      <a:pt x="21" y="40"/>
                    </a:lnTo>
                    <a:lnTo>
                      <a:pt x="21" y="40"/>
                    </a:lnTo>
                    <a:lnTo>
                      <a:pt x="23" y="40"/>
                    </a:lnTo>
                    <a:lnTo>
                      <a:pt x="25" y="38"/>
                    </a:lnTo>
                    <a:lnTo>
                      <a:pt x="25" y="40"/>
                    </a:lnTo>
                    <a:lnTo>
                      <a:pt x="23" y="42"/>
                    </a:lnTo>
                    <a:lnTo>
                      <a:pt x="23" y="42"/>
                    </a:lnTo>
                    <a:lnTo>
                      <a:pt x="21" y="44"/>
                    </a:lnTo>
                    <a:lnTo>
                      <a:pt x="21" y="48"/>
                    </a:lnTo>
                    <a:lnTo>
                      <a:pt x="23" y="50"/>
                    </a:lnTo>
                    <a:moveTo>
                      <a:pt x="14" y="2"/>
                    </a:moveTo>
                    <a:lnTo>
                      <a:pt x="12" y="2"/>
                    </a:lnTo>
                    <a:lnTo>
                      <a:pt x="12" y="2"/>
                    </a:lnTo>
                    <a:lnTo>
                      <a:pt x="12" y="0"/>
                    </a:lnTo>
                    <a:lnTo>
                      <a:pt x="12" y="0"/>
                    </a:lnTo>
                    <a:lnTo>
                      <a:pt x="14" y="0"/>
                    </a:lnTo>
                    <a:lnTo>
                      <a:pt x="14" y="0"/>
                    </a:lnTo>
                    <a:lnTo>
                      <a:pt x="14" y="2"/>
                    </a:lnTo>
                    <a:lnTo>
                      <a:pt x="14" y="2"/>
                    </a:lnTo>
                  </a:path>
                </a:pathLst>
              </a:custGeom>
              <a:grpFill/>
              <a:ln w="3175">
                <a:solidFill>
                  <a:sysClr val="window" lastClr="FFFFFF">
                    <a:lumMod val="7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59" name="Freeform 40">
                <a:extLst>
                  <a:ext uri="{FF2B5EF4-FFF2-40B4-BE49-F238E27FC236}">
                    <a16:creationId xmlns:a16="http://schemas.microsoft.com/office/drawing/2014/main" id="{E7BBBF2F-E86C-4C96-B574-7477ED88306E}"/>
                  </a:ext>
                </a:extLst>
              </p:cNvPr>
              <p:cNvSpPr>
                <a:spLocks/>
              </p:cNvSpPr>
              <p:nvPr/>
            </p:nvSpPr>
            <p:spPr bwMode="gray">
              <a:xfrm>
                <a:off x="4436300" y="4129683"/>
                <a:ext cx="94991" cy="177317"/>
              </a:xfrm>
              <a:custGeom>
                <a:avLst/>
                <a:gdLst/>
                <a:ahLst/>
                <a:cxnLst>
                  <a:cxn ang="0">
                    <a:pos x="48" y="104"/>
                  </a:cxn>
                  <a:cxn ang="0">
                    <a:pos x="41" y="110"/>
                  </a:cxn>
                  <a:cxn ang="0">
                    <a:pos x="43" y="106"/>
                  </a:cxn>
                  <a:cxn ang="0">
                    <a:pos x="37" y="104"/>
                  </a:cxn>
                  <a:cxn ang="0">
                    <a:pos x="33" y="106"/>
                  </a:cxn>
                  <a:cxn ang="0">
                    <a:pos x="31" y="110"/>
                  </a:cxn>
                  <a:cxn ang="0">
                    <a:pos x="16" y="110"/>
                  </a:cxn>
                  <a:cxn ang="0">
                    <a:pos x="6" y="98"/>
                  </a:cxn>
                  <a:cxn ang="0">
                    <a:pos x="8" y="94"/>
                  </a:cxn>
                  <a:cxn ang="0">
                    <a:pos x="8" y="87"/>
                  </a:cxn>
                  <a:cxn ang="0">
                    <a:pos x="2" y="71"/>
                  </a:cxn>
                  <a:cxn ang="0">
                    <a:pos x="0" y="68"/>
                  </a:cxn>
                  <a:cxn ang="0">
                    <a:pos x="0" y="50"/>
                  </a:cxn>
                  <a:cxn ang="0">
                    <a:pos x="2" y="45"/>
                  </a:cxn>
                  <a:cxn ang="0">
                    <a:pos x="4" y="48"/>
                  </a:cxn>
                  <a:cxn ang="0">
                    <a:pos x="6" y="46"/>
                  </a:cxn>
                  <a:cxn ang="0">
                    <a:pos x="6" y="39"/>
                  </a:cxn>
                  <a:cxn ang="0">
                    <a:pos x="14" y="39"/>
                  </a:cxn>
                  <a:cxn ang="0">
                    <a:pos x="14" y="37"/>
                  </a:cxn>
                  <a:cxn ang="0">
                    <a:pos x="10" y="35"/>
                  </a:cxn>
                  <a:cxn ang="0">
                    <a:pos x="10" y="29"/>
                  </a:cxn>
                  <a:cxn ang="0">
                    <a:pos x="14" y="23"/>
                  </a:cxn>
                  <a:cxn ang="0">
                    <a:pos x="16" y="23"/>
                  </a:cxn>
                  <a:cxn ang="0">
                    <a:pos x="16" y="23"/>
                  </a:cxn>
                  <a:cxn ang="0">
                    <a:pos x="14" y="20"/>
                  </a:cxn>
                  <a:cxn ang="0">
                    <a:pos x="20" y="8"/>
                  </a:cxn>
                  <a:cxn ang="0">
                    <a:pos x="35" y="0"/>
                  </a:cxn>
                  <a:cxn ang="0">
                    <a:pos x="41" y="2"/>
                  </a:cxn>
                  <a:cxn ang="0">
                    <a:pos x="43" y="8"/>
                  </a:cxn>
                  <a:cxn ang="0">
                    <a:pos x="46" y="14"/>
                  </a:cxn>
                  <a:cxn ang="0">
                    <a:pos x="52" y="14"/>
                  </a:cxn>
                  <a:cxn ang="0">
                    <a:pos x="60" y="25"/>
                  </a:cxn>
                  <a:cxn ang="0">
                    <a:pos x="58" y="31"/>
                  </a:cxn>
                  <a:cxn ang="0">
                    <a:pos x="54" y="37"/>
                  </a:cxn>
                  <a:cxn ang="0">
                    <a:pos x="52" y="39"/>
                  </a:cxn>
                  <a:cxn ang="0">
                    <a:pos x="50" y="45"/>
                  </a:cxn>
                  <a:cxn ang="0">
                    <a:pos x="52" y="48"/>
                  </a:cxn>
                  <a:cxn ang="0">
                    <a:pos x="54" y="54"/>
                  </a:cxn>
                  <a:cxn ang="0">
                    <a:pos x="54" y="60"/>
                  </a:cxn>
                  <a:cxn ang="0">
                    <a:pos x="58" y="60"/>
                  </a:cxn>
                  <a:cxn ang="0">
                    <a:pos x="60" y="64"/>
                  </a:cxn>
                  <a:cxn ang="0">
                    <a:pos x="60" y="68"/>
                  </a:cxn>
                  <a:cxn ang="0">
                    <a:pos x="58" y="85"/>
                  </a:cxn>
                  <a:cxn ang="0">
                    <a:pos x="52" y="91"/>
                  </a:cxn>
                  <a:cxn ang="0">
                    <a:pos x="50" y="96"/>
                  </a:cxn>
                </a:cxnLst>
                <a:rect l="0" t="0" r="r" b="b"/>
                <a:pathLst>
                  <a:path w="60" h="112">
                    <a:moveTo>
                      <a:pt x="50" y="96"/>
                    </a:moveTo>
                    <a:lnTo>
                      <a:pt x="48" y="104"/>
                    </a:lnTo>
                    <a:lnTo>
                      <a:pt x="43" y="110"/>
                    </a:lnTo>
                    <a:lnTo>
                      <a:pt x="41" y="110"/>
                    </a:lnTo>
                    <a:lnTo>
                      <a:pt x="41" y="108"/>
                    </a:lnTo>
                    <a:lnTo>
                      <a:pt x="43" y="106"/>
                    </a:lnTo>
                    <a:lnTo>
                      <a:pt x="41" y="104"/>
                    </a:lnTo>
                    <a:lnTo>
                      <a:pt x="37" y="104"/>
                    </a:lnTo>
                    <a:lnTo>
                      <a:pt x="33" y="106"/>
                    </a:lnTo>
                    <a:lnTo>
                      <a:pt x="33" y="106"/>
                    </a:lnTo>
                    <a:lnTo>
                      <a:pt x="31" y="108"/>
                    </a:lnTo>
                    <a:lnTo>
                      <a:pt x="31" y="110"/>
                    </a:lnTo>
                    <a:lnTo>
                      <a:pt x="25" y="112"/>
                    </a:lnTo>
                    <a:lnTo>
                      <a:pt x="16" y="110"/>
                    </a:lnTo>
                    <a:lnTo>
                      <a:pt x="8" y="102"/>
                    </a:lnTo>
                    <a:lnTo>
                      <a:pt x="6" y="98"/>
                    </a:lnTo>
                    <a:lnTo>
                      <a:pt x="6" y="96"/>
                    </a:lnTo>
                    <a:lnTo>
                      <a:pt x="8" y="94"/>
                    </a:lnTo>
                    <a:lnTo>
                      <a:pt x="8" y="89"/>
                    </a:lnTo>
                    <a:lnTo>
                      <a:pt x="8" y="87"/>
                    </a:lnTo>
                    <a:lnTo>
                      <a:pt x="4" y="75"/>
                    </a:lnTo>
                    <a:lnTo>
                      <a:pt x="2" y="71"/>
                    </a:lnTo>
                    <a:lnTo>
                      <a:pt x="2" y="71"/>
                    </a:lnTo>
                    <a:lnTo>
                      <a:pt x="0" y="68"/>
                    </a:lnTo>
                    <a:lnTo>
                      <a:pt x="0" y="62"/>
                    </a:lnTo>
                    <a:lnTo>
                      <a:pt x="0" y="50"/>
                    </a:lnTo>
                    <a:lnTo>
                      <a:pt x="0" y="45"/>
                    </a:lnTo>
                    <a:lnTo>
                      <a:pt x="2" y="45"/>
                    </a:lnTo>
                    <a:lnTo>
                      <a:pt x="4" y="46"/>
                    </a:lnTo>
                    <a:lnTo>
                      <a:pt x="4" y="48"/>
                    </a:lnTo>
                    <a:lnTo>
                      <a:pt x="6" y="48"/>
                    </a:lnTo>
                    <a:lnTo>
                      <a:pt x="6" y="46"/>
                    </a:lnTo>
                    <a:lnTo>
                      <a:pt x="6" y="41"/>
                    </a:lnTo>
                    <a:lnTo>
                      <a:pt x="6" y="39"/>
                    </a:lnTo>
                    <a:lnTo>
                      <a:pt x="12" y="39"/>
                    </a:lnTo>
                    <a:lnTo>
                      <a:pt x="14" y="39"/>
                    </a:lnTo>
                    <a:lnTo>
                      <a:pt x="16" y="35"/>
                    </a:lnTo>
                    <a:lnTo>
                      <a:pt x="14" y="37"/>
                    </a:lnTo>
                    <a:lnTo>
                      <a:pt x="12" y="37"/>
                    </a:lnTo>
                    <a:lnTo>
                      <a:pt x="10" y="35"/>
                    </a:lnTo>
                    <a:lnTo>
                      <a:pt x="10" y="29"/>
                    </a:lnTo>
                    <a:lnTo>
                      <a:pt x="10" y="29"/>
                    </a:lnTo>
                    <a:lnTo>
                      <a:pt x="10" y="25"/>
                    </a:lnTo>
                    <a:lnTo>
                      <a:pt x="14" y="23"/>
                    </a:lnTo>
                    <a:lnTo>
                      <a:pt x="14" y="25"/>
                    </a:lnTo>
                    <a:lnTo>
                      <a:pt x="16" y="23"/>
                    </a:lnTo>
                    <a:lnTo>
                      <a:pt x="16" y="23"/>
                    </a:lnTo>
                    <a:lnTo>
                      <a:pt x="16" y="23"/>
                    </a:lnTo>
                    <a:lnTo>
                      <a:pt x="14" y="21"/>
                    </a:lnTo>
                    <a:lnTo>
                      <a:pt x="14" y="20"/>
                    </a:lnTo>
                    <a:lnTo>
                      <a:pt x="18" y="12"/>
                    </a:lnTo>
                    <a:lnTo>
                      <a:pt x="20" y="8"/>
                    </a:lnTo>
                    <a:lnTo>
                      <a:pt x="29" y="2"/>
                    </a:lnTo>
                    <a:lnTo>
                      <a:pt x="35" y="0"/>
                    </a:lnTo>
                    <a:lnTo>
                      <a:pt x="39" y="2"/>
                    </a:lnTo>
                    <a:lnTo>
                      <a:pt x="41" y="2"/>
                    </a:lnTo>
                    <a:lnTo>
                      <a:pt x="43" y="4"/>
                    </a:lnTo>
                    <a:lnTo>
                      <a:pt x="43" y="8"/>
                    </a:lnTo>
                    <a:lnTo>
                      <a:pt x="45" y="14"/>
                    </a:lnTo>
                    <a:lnTo>
                      <a:pt x="46" y="14"/>
                    </a:lnTo>
                    <a:lnTo>
                      <a:pt x="50" y="14"/>
                    </a:lnTo>
                    <a:lnTo>
                      <a:pt x="52" y="14"/>
                    </a:lnTo>
                    <a:lnTo>
                      <a:pt x="58" y="18"/>
                    </a:lnTo>
                    <a:lnTo>
                      <a:pt x="60" y="25"/>
                    </a:lnTo>
                    <a:lnTo>
                      <a:pt x="60" y="27"/>
                    </a:lnTo>
                    <a:lnTo>
                      <a:pt x="58" y="31"/>
                    </a:lnTo>
                    <a:lnTo>
                      <a:pt x="56" y="37"/>
                    </a:lnTo>
                    <a:lnTo>
                      <a:pt x="54" y="37"/>
                    </a:lnTo>
                    <a:lnTo>
                      <a:pt x="52" y="37"/>
                    </a:lnTo>
                    <a:lnTo>
                      <a:pt x="52" y="39"/>
                    </a:lnTo>
                    <a:lnTo>
                      <a:pt x="52" y="43"/>
                    </a:lnTo>
                    <a:lnTo>
                      <a:pt x="50" y="45"/>
                    </a:lnTo>
                    <a:lnTo>
                      <a:pt x="52" y="46"/>
                    </a:lnTo>
                    <a:lnTo>
                      <a:pt x="52" y="48"/>
                    </a:lnTo>
                    <a:lnTo>
                      <a:pt x="54" y="50"/>
                    </a:lnTo>
                    <a:lnTo>
                      <a:pt x="54" y="54"/>
                    </a:lnTo>
                    <a:lnTo>
                      <a:pt x="54" y="58"/>
                    </a:lnTo>
                    <a:lnTo>
                      <a:pt x="54" y="60"/>
                    </a:lnTo>
                    <a:lnTo>
                      <a:pt x="54" y="60"/>
                    </a:lnTo>
                    <a:lnTo>
                      <a:pt x="58" y="60"/>
                    </a:lnTo>
                    <a:lnTo>
                      <a:pt x="60" y="62"/>
                    </a:lnTo>
                    <a:lnTo>
                      <a:pt x="60" y="64"/>
                    </a:lnTo>
                    <a:lnTo>
                      <a:pt x="60" y="66"/>
                    </a:lnTo>
                    <a:lnTo>
                      <a:pt x="60" y="68"/>
                    </a:lnTo>
                    <a:lnTo>
                      <a:pt x="60" y="79"/>
                    </a:lnTo>
                    <a:lnTo>
                      <a:pt x="58" y="85"/>
                    </a:lnTo>
                    <a:lnTo>
                      <a:pt x="54" y="89"/>
                    </a:lnTo>
                    <a:lnTo>
                      <a:pt x="52" y="91"/>
                    </a:lnTo>
                    <a:lnTo>
                      <a:pt x="50" y="96"/>
                    </a:lnTo>
                    <a:lnTo>
                      <a:pt x="50" y="96"/>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60" name="Freeform 42">
                <a:extLst>
                  <a:ext uri="{FF2B5EF4-FFF2-40B4-BE49-F238E27FC236}">
                    <a16:creationId xmlns:a16="http://schemas.microsoft.com/office/drawing/2014/main" id="{3A5A11D9-D245-492D-A7AD-185B8F860B01}"/>
                  </a:ext>
                </a:extLst>
              </p:cNvPr>
              <p:cNvSpPr>
                <a:spLocks noEditPoints="1"/>
              </p:cNvSpPr>
              <p:nvPr/>
            </p:nvSpPr>
            <p:spPr bwMode="gray">
              <a:xfrm>
                <a:off x="2642550" y="3463161"/>
                <a:ext cx="2338367" cy="1749422"/>
              </a:xfrm>
              <a:custGeom>
                <a:avLst/>
                <a:gdLst/>
                <a:ahLst/>
                <a:cxnLst>
                  <a:cxn ang="0">
                    <a:pos x="903" y="1054"/>
                  </a:cxn>
                  <a:cxn ang="0">
                    <a:pos x="705" y="1032"/>
                  </a:cxn>
                  <a:cxn ang="0">
                    <a:pos x="638" y="1032"/>
                  </a:cxn>
                  <a:cxn ang="0">
                    <a:pos x="613" y="1030"/>
                  </a:cxn>
                  <a:cxn ang="0">
                    <a:pos x="598" y="1084"/>
                  </a:cxn>
                  <a:cxn ang="0">
                    <a:pos x="571" y="1092"/>
                  </a:cxn>
                  <a:cxn ang="0">
                    <a:pos x="559" y="1061"/>
                  </a:cxn>
                  <a:cxn ang="0">
                    <a:pos x="544" y="1034"/>
                  </a:cxn>
                  <a:cxn ang="0">
                    <a:pos x="498" y="996"/>
                  </a:cxn>
                  <a:cxn ang="0">
                    <a:pos x="480" y="959"/>
                  </a:cxn>
                  <a:cxn ang="0">
                    <a:pos x="463" y="931"/>
                  </a:cxn>
                  <a:cxn ang="0">
                    <a:pos x="448" y="890"/>
                  </a:cxn>
                  <a:cxn ang="0">
                    <a:pos x="427" y="865"/>
                  </a:cxn>
                  <a:cxn ang="0">
                    <a:pos x="377" y="833"/>
                  </a:cxn>
                  <a:cxn ang="0">
                    <a:pos x="344" y="802"/>
                  </a:cxn>
                  <a:cxn ang="0">
                    <a:pos x="329" y="785"/>
                  </a:cxn>
                  <a:cxn ang="0">
                    <a:pos x="321" y="744"/>
                  </a:cxn>
                  <a:cxn ang="0">
                    <a:pos x="317" y="685"/>
                  </a:cxn>
                  <a:cxn ang="0">
                    <a:pos x="308" y="652"/>
                  </a:cxn>
                  <a:cxn ang="0">
                    <a:pos x="288" y="613"/>
                  </a:cxn>
                  <a:cxn ang="0">
                    <a:pos x="246" y="567"/>
                  </a:cxn>
                  <a:cxn ang="0">
                    <a:pos x="204" y="550"/>
                  </a:cxn>
                  <a:cxn ang="0">
                    <a:pos x="189" y="523"/>
                  </a:cxn>
                  <a:cxn ang="0">
                    <a:pos x="189" y="490"/>
                  </a:cxn>
                  <a:cxn ang="0">
                    <a:pos x="165" y="456"/>
                  </a:cxn>
                  <a:cxn ang="0">
                    <a:pos x="150" y="435"/>
                  </a:cxn>
                  <a:cxn ang="0">
                    <a:pos x="135" y="421"/>
                  </a:cxn>
                  <a:cxn ang="0">
                    <a:pos x="102" y="369"/>
                  </a:cxn>
                  <a:cxn ang="0">
                    <a:pos x="75" y="337"/>
                  </a:cxn>
                  <a:cxn ang="0">
                    <a:pos x="58" y="306"/>
                  </a:cxn>
                  <a:cxn ang="0">
                    <a:pos x="31" y="283"/>
                  </a:cxn>
                  <a:cxn ang="0">
                    <a:pos x="6" y="289"/>
                  </a:cxn>
                  <a:cxn ang="0">
                    <a:pos x="16" y="256"/>
                  </a:cxn>
                  <a:cxn ang="0">
                    <a:pos x="23" y="204"/>
                  </a:cxn>
                  <a:cxn ang="0">
                    <a:pos x="200" y="152"/>
                  </a:cxn>
                  <a:cxn ang="0">
                    <a:pos x="204" y="37"/>
                  </a:cxn>
                  <a:cxn ang="0">
                    <a:pos x="386" y="10"/>
                  </a:cxn>
                  <a:cxn ang="0">
                    <a:pos x="830" y="218"/>
                  </a:cxn>
                  <a:cxn ang="0">
                    <a:pos x="911" y="237"/>
                  </a:cxn>
                  <a:cxn ang="0">
                    <a:pos x="978" y="262"/>
                  </a:cxn>
                  <a:cxn ang="0">
                    <a:pos x="999" y="304"/>
                  </a:cxn>
                  <a:cxn ang="0">
                    <a:pos x="1024" y="323"/>
                  </a:cxn>
                  <a:cxn ang="0">
                    <a:pos x="1039" y="352"/>
                  </a:cxn>
                  <a:cxn ang="0">
                    <a:pos x="1066" y="368"/>
                  </a:cxn>
                  <a:cxn ang="0">
                    <a:pos x="1080" y="379"/>
                  </a:cxn>
                  <a:cxn ang="0">
                    <a:pos x="1095" y="417"/>
                  </a:cxn>
                  <a:cxn ang="0">
                    <a:pos x="1089" y="441"/>
                  </a:cxn>
                  <a:cxn ang="0">
                    <a:pos x="1091" y="450"/>
                  </a:cxn>
                  <a:cxn ang="0">
                    <a:pos x="1120" y="498"/>
                  </a:cxn>
                  <a:cxn ang="0">
                    <a:pos x="1149" y="531"/>
                  </a:cxn>
                  <a:cxn ang="0">
                    <a:pos x="1176" y="533"/>
                  </a:cxn>
                  <a:cxn ang="0">
                    <a:pos x="1170" y="548"/>
                  </a:cxn>
                  <a:cxn ang="0">
                    <a:pos x="1187" y="554"/>
                  </a:cxn>
                  <a:cxn ang="0">
                    <a:pos x="1431" y="852"/>
                  </a:cxn>
                  <a:cxn ang="0">
                    <a:pos x="523" y="1084"/>
                  </a:cxn>
                  <a:cxn ang="0">
                    <a:pos x="503" y="1071"/>
                  </a:cxn>
                  <a:cxn ang="0">
                    <a:pos x="525" y="1082"/>
                  </a:cxn>
                  <a:cxn ang="0">
                    <a:pos x="532" y="1086"/>
                  </a:cxn>
                  <a:cxn ang="0">
                    <a:pos x="511" y="1075"/>
                  </a:cxn>
                  <a:cxn ang="0">
                    <a:pos x="511" y="1063"/>
                  </a:cxn>
                </a:cxnLst>
                <a:rect l="0" t="0" r="r" b="b"/>
                <a:pathLst>
                  <a:path w="1477" h="1105">
                    <a:moveTo>
                      <a:pt x="1431" y="852"/>
                    </a:moveTo>
                    <a:lnTo>
                      <a:pt x="1220" y="921"/>
                    </a:lnTo>
                    <a:lnTo>
                      <a:pt x="1166" y="931"/>
                    </a:lnTo>
                    <a:lnTo>
                      <a:pt x="1135" y="936"/>
                    </a:lnTo>
                    <a:lnTo>
                      <a:pt x="1018" y="948"/>
                    </a:lnTo>
                    <a:lnTo>
                      <a:pt x="953" y="981"/>
                    </a:lnTo>
                    <a:lnTo>
                      <a:pt x="930" y="1009"/>
                    </a:lnTo>
                    <a:lnTo>
                      <a:pt x="913" y="1030"/>
                    </a:lnTo>
                    <a:lnTo>
                      <a:pt x="903" y="1054"/>
                    </a:lnTo>
                    <a:lnTo>
                      <a:pt x="901" y="1055"/>
                    </a:lnTo>
                    <a:lnTo>
                      <a:pt x="884" y="1065"/>
                    </a:lnTo>
                    <a:lnTo>
                      <a:pt x="870" y="1065"/>
                    </a:lnTo>
                    <a:lnTo>
                      <a:pt x="853" y="1042"/>
                    </a:lnTo>
                    <a:lnTo>
                      <a:pt x="826" y="1046"/>
                    </a:lnTo>
                    <a:lnTo>
                      <a:pt x="807" y="1044"/>
                    </a:lnTo>
                    <a:lnTo>
                      <a:pt x="759" y="1038"/>
                    </a:lnTo>
                    <a:lnTo>
                      <a:pt x="745" y="1032"/>
                    </a:lnTo>
                    <a:lnTo>
                      <a:pt x="705" y="1032"/>
                    </a:lnTo>
                    <a:lnTo>
                      <a:pt x="699" y="1034"/>
                    </a:lnTo>
                    <a:lnTo>
                      <a:pt x="694" y="1032"/>
                    </a:lnTo>
                    <a:lnTo>
                      <a:pt x="686" y="1032"/>
                    </a:lnTo>
                    <a:lnTo>
                      <a:pt x="674" y="1032"/>
                    </a:lnTo>
                    <a:lnTo>
                      <a:pt x="667" y="1038"/>
                    </a:lnTo>
                    <a:lnTo>
                      <a:pt x="657" y="1040"/>
                    </a:lnTo>
                    <a:lnTo>
                      <a:pt x="644" y="1038"/>
                    </a:lnTo>
                    <a:lnTo>
                      <a:pt x="642" y="1036"/>
                    </a:lnTo>
                    <a:lnTo>
                      <a:pt x="638" y="1032"/>
                    </a:lnTo>
                    <a:lnTo>
                      <a:pt x="636" y="1030"/>
                    </a:lnTo>
                    <a:lnTo>
                      <a:pt x="636" y="1029"/>
                    </a:lnTo>
                    <a:lnTo>
                      <a:pt x="634" y="1029"/>
                    </a:lnTo>
                    <a:lnTo>
                      <a:pt x="626" y="1025"/>
                    </a:lnTo>
                    <a:lnTo>
                      <a:pt x="623" y="1025"/>
                    </a:lnTo>
                    <a:lnTo>
                      <a:pt x="619" y="1027"/>
                    </a:lnTo>
                    <a:lnTo>
                      <a:pt x="617" y="1027"/>
                    </a:lnTo>
                    <a:lnTo>
                      <a:pt x="615" y="1029"/>
                    </a:lnTo>
                    <a:lnTo>
                      <a:pt x="613" y="1030"/>
                    </a:lnTo>
                    <a:lnTo>
                      <a:pt x="609" y="1032"/>
                    </a:lnTo>
                    <a:lnTo>
                      <a:pt x="603" y="1038"/>
                    </a:lnTo>
                    <a:lnTo>
                      <a:pt x="601" y="1054"/>
                    </a:lnTo>
                    <a:lnTo>
                      <a:pt x="600" y="1067"/>
                    </a:lnTo>
                    <a:lnTo>
                      <a:pt x="601" y="1073"/>
                    </a:lnTo>
                    <a:lnTo>
                      <a:pt x="605" y="1082"/>
                    </a:lnTo>
                    <a:lnTo>
                      <a:pt x="605" y="1084"/>
                    </a:lnTo>
                    <a:lnTo>
                      <a:pt x="600" y="1084"/>
                    </a:lnTo>
                    <a:lnTo>
                      <a:pt x="598" y="1084"/>
                    </a:lnTo>
                    <a:lnTo>
                      <a:pt x="596" y="1090"/>
                    </a:lnTo>
                    <a:lnTo>
                      <a:pt x="596" y="1092"/>
                    </a:lnTo>
                    <a:lnTo>
                      <a:pt x="596" y="1094"/>
                    </a:lnTo>
                    <a:lnTo>
                      <a:pt x="584" y="1102"/>
                    </a:lnTo>
                    <a:lnTo>
                      <a:pt x="578" y="1105"/>
                    </a:lnTo>
                    <a:lnTo>
                      <a:pt x="576" y="1105"/>
                    </a:lnTo>
                    <a:lnTo>
                      <a:pt x="576" y="1100"/>
                    </a:lnTo>
                    <a:lnTo>
                      <a:pt x="573" y="1096"/>
                    </a:lnTo>
                    <a:lnTo>
                      <a:pt x="571" y="1092"/>
                    </a:lnTo>
                    <a:lnTo>
                      <a:pt x="571" y="1090"/>
                    </a:lnTo>
                    <a:lnTo>
                      <a:pt x="573" y="1088"/>
                    </a:lnTo>
                    <a:lnTo>
                      <a:pt x="573" y="1086"/>
                    </a:lnTo>
                    <a:lnTo>
                      <a:pt x="567" y="1077"/>
                    </a:lnTo>
                    <a:lnTo>
                      <a:pt x="565" y="1075"/>
                    </a:lnTo>
                    <a:lnTo>
                      <a:pt x="561" y="1073"/>
                    </a:lnTo>
                    <a:lnTo>
                      <a:pt x="559" y="1071"/>
                    </a:lnTo>
                    <a:lnTo>
                      <a:pt x="559" y="1067"/>
                    </a:lnTo>
                    <a:lnTo>
                      <a:pt x="559" y="1061"/>
                    </a:lnTo>
                    <a:lnTo>
                      <a:pt x="557" y="1059"/>
                    </a:lnTo>
                    <a:lnTo>
                      <a:pt x="550" y="1054"/>
                    </a:lnTo>
                    <a:lnTo>
                      <a:pt x="546" y="1054"/>
                    </a:lnTo>
                    <a:lnTo>
                      <a:pt x="546" y="1059"/>
                    </a:lnTo>
                    <a:lnTo>
                      <a:pt x="546" y="1055"/>
                    </a:lnTo>
                    <a:lnTo>
                      <a:pt x="544" y="1050"/>
                    </a:lnTo>
                    <a:lnTo>
                      <a:pt x="544" y="1044"/>
                    </a:lnTo>
                    <a:lnTo>
                      <a:pt x="544" y="1040"/>
                    </a:lnTo>
                    <a:lnTo>
                      <a:pt x="544" y="1034"/>
                    </a:lnTo>
                    <a:lnTo>
                      <a:pt x="542" y="1030"/>
                    </a:lnTo>
                    <a:lnTo>
                      <a:pt x="534" y="1025"/>
                    </a:lnTo>
                    <a:lnTo>
                      <a:pt x="527" y="1017"/>
                    </a:lnTo>
                    <a:lnTo>
                      <a:pt x="511" y="1005"/>
                    </a:lnTo>
                    <a:lnTo>
                      <a:pt x="509" y="1005"/>
                    </a:lnTo>
                    <a:lnTo>
                      <a:pt x="505" y="1004"/>
                    </a:lnTo>
                    <a:lnTo>
                      <a:pt x="503" y="1000"/>
                    </a:lnTo>
                    <a:lnTo>
                      <a:pt x="502" y="1000"/>
                    </a:lnTo>
                    <a:lnTo>
                      <a:pt x="498" y="996"/>
                    </a:lnTo>
                    <a:lnTo>
                      <a:pt x="492" y="986"/>
                    </a:lnTo>
                    <a:lnTo>
                      <a:pt x="492" y="982"/>
                    </a:lnTo>
                    <a:lnTo>
                      <a:pt x="488" y="979"/>
                    </a:lnTo>
                    <a:lnTo>
                      <a:pt x="486" y="977"/>
                    </a:lnTo>
                    <a:lnTo>
                      <a:pt x="484" y="971"/>
                    </a:lnTo>
                    <a:lnTo>
                      <a:pt x="482" y="969"/>
                    </a:lnTo>
                    <a:lnTo>
                      <a:pt x="482" y="965"/>
                    </a:lnTo>
                    <a:lnTo>
                      <a:pt x="482" y="963"/>
                    </a:lnTo>
                    <a:lnTo>
                      <a:pt x="480" y="959"/>
                    </a:lnTo>
                    <a:lnTo>
                      <a:pt x="479" y="957"/>
                    </a:lnTo>
                    <a:lnTo>
                      <a:pt x="475" y="952"/>
                    </a:lnTo>
                    <a:lnTo>
                      <a:pt x="473" y="952"/>
                    </a:lnTo>
                    <a:lnTo>
                      <a:pt x="469" y="950"/>
                    </a:lnTo>
                    <a:lnTo>
                      <a:pt x="465" y="942"/>
                    </a:lnTo>
                    <a:lnTo>
                      <a:pt x="465" y="938"/>
                    </a:lnTo>
                    <a:lnTo>
                      <a:pt x="467" y="934"/>
                    </a:lnTo>
                    <a:lnTo>
                      <a:pt x="465" y="931"/>
                    </a:lnTo>
                    <a:lnTo>
                      <a:pt x="463" y="931"/>
                    </a:lnTo>
                    <a:lnTo>
                      <a:pt x="459" y="925"/>
                    </a:lnTo>
                    <a:lnTo>
                      <a:pt x="461" y="923"/>
                    </a:lnTo>
                    <a:lnTo>
                      <a:pt x="463" y="917"/>
                    </a:lnTo>
                    <a:lnTo>
                      <a:pt x="461" y="915"/>
                    </a:lnTo>
                    <a:lnTo>
                      <a:pt x="459" y="915"/>
                    </a:lnTo>
                    <a:lnTo>
                      <a:pt x="457" y="913"/>
                    </a:lnTo>
                    <a:lnTo>
                      <a:pt x="455" y="911"/>
                    </a:lnTo>
                    <a:lnTo>
                      <a:pt x="454" y="909"/>
                    </a:lnTo>
                    <a:lnTo>
                      <a:pt x="448" y="890"/>
                    </a:lnTo>
                    <a:lnTo>
                      <a:pt x="440" y="884"/>
                    </a:lnTo>
                    <a:lnTo>
                      <a:pt x="434" y="879"/>
                    </a:lnTo>
                    <a:lnTo>
                      <a:pt x="436" y="879"/>
                    </a:lnTo>
                    <a:lnTo>
                      <a:pt x="436" y="875"/>
                    </a:lnTo>
                    <a:lnTo>
                      <a:pt x="436" y="871"/>
                    </a:lnTo>
                    <a:lnTo>
                      <a:pt x="434" y="869"/>
                    </a:lnTo>
                    <a:lnTo>
                      <a:pt x="432" y="867"/>
                    </a:lnTo>
                    <a:lnTo>
                      <a:pt x="429" y="865"/>
                    </a:lnTo>
                    <a:lnTo>
                      <a:pt x="427" y="865"/>
                    </a:lnTo>
                    <a:lnTo>
                      <a:pt x="417" y="854"/>
                    </a:lnTo>
                    <a:lnTo>
                      <a:pt x="411" y="852"/>
                    </a:lnTo>
                    <a:lnTo>
                      <a:pt x="404" y="846"/>
                    </a:lnTo>
                    <a:lnTo>
                      <a:pt x="400" y="844"/>
                    </a:lnTo>
                    <a:lnTo>
                      <a:pt x="392" y="838"/>
                    </a:lnTo>
                    <a:lnTo>
                      <a:pt x="390" y="834"/>
                    </a:lnTo>
                    <a:lnTo>
                      <a:pt x="386" y="833"/>
                    </a:lnTo>
                    <a:lnTo>
                      <a:pt x="384" y="833"/>
                    </a:lnTo>
                    <a:lnTo>
                      <a:pt x="377" y="833"/>
                    </a:lnTo>
                    <a:lnTo>
                      <a:pt x="375" y="833"/>
                    </a:lnTo>
                    <a:lnTo>
                      <a:pt x="373" y="831"/>
                    </a:lnTo>
                    <a:lnTo>
                      <a:pt x="367" y="829"/>
                    </a:lnTo>
                    <a:lnTo>
                      <a:pt x="358" y="821"/>
                    </a:lnTo>
                    <a:lnTo>
                      <a:pt x="356" y="819"/>
                    </a:lnTo>
                    <a:lnTo>
                      <a:pt x="352" y="815"/>
                    </a:lnTo>
                    <a:lnTo>
                      <a:pt x="350" y="811"/>
                    </a:lnTo>
                    <a:lnTo>
                      <a:pt x="348" y="809"/>
                    </a:lnTo>
                    <a:lnTo>
                      <a:pt x="344" y="802"/>
                    </a:lnTo>
                    <a:lnTo>
                      <a:pt x="340" y="800"/>
                    </a:lnTo>
                    <a:lnTo>
                      <a:pt x="340" y="798"/>
                    </a:lnTo>
                    <a:lnTo>
                      <a:pt x="340" y="796"/>
                    </a:lnTo>
                    <a:lnTo>
                      <a:pt x="342" y="796"/>
                    </a:lnTo>
                    <a:lnTo>
                      <a:pt x="342" y="794"/>
                    </a:lnTo>
                    <a:lnTo>
                      <a:pt x="340" y="792"/>
                    </a:lnTo>
                    <a:lnTo>
                      <a:pt x="336" y="792"/>
                    </a:lnTo>
                    <a:lnTo>
                      <a:pt x="334" y="790"/>
                    </a:lnTo>
                    <a:lnTo>
                      <a:pt x="329" y="785"/>
                    </a:lnTo>
                    <a:lnTo>
                      <a:pt x="323" y="775"/>
                    </a:lnTo>
                    <a:lnTo>
                      <a:pt x="321" y="771"/>
                    </a:lnTo>
                    <a:lnTo>
                      <a:pt x="317" y="761"/>
                    </a:lnTo>
                    <a:lnTo>
                      <a:pt x="321" y="756"/>
                    </a:lnTo>
                    <a:lnTo>
                      <a:pt x="323" y="754"/>
                    </a:lnTo>
                    <a:lnTo>
                      <a:pt x="323" y="752"/>
                    </a:lnTo>
                    <a:lnTo>
                      <a:pt x="323" y="750"/>
                    </a:lnTo>
                    <a:lnTo>
                      <a:pt x="321" y="746"/>
                    </a:lnTo>
                    <a:lnTo>
                      <a:pt x="321" y="744"/>
                    </a:lnTo>
                    <a:lnTo>
                      <a:pt x="317" y="738"/>
                    </a:lnTo>
                    <a:lnTo>
                      <a:pt x="317" y="736"/>
                    </a:lnTo>
                    <a:lnTo>
                      <a:pt x="315" y="731"/>
                    </a:lnTo>
                    <a:lnTo>
                      <a:pt x="313" y="727"/>
                    </a:lnTo>
                    <a:lnTo>
                      <a:pt x="311" y="725"/>
                    </a:lnTo>
                    <a:lnTo>
                      <a:pt x="310" y="723"/>
                    </a:lnTo>
                    <a:lnTo>
                      <a:pt x="311" y="704"/>
                    </a:lnTo>
                    <a:lnTo>
                      <a:pt x="313" y="696"/>
                    </a:lnTo>
                    <a:lnTo>
                      <a:pt x="317" y="685"/>
                    </a:lnTo>
                    <a:lnTo>
                      <a:pt x="315" y="671"/>
                    </a:lnTo>
                    <a:lnTo>
                      <a:pt x="308" y="660"/>
                    </a:lnTo>
                    <a:lnTo>
                      <a:pt x="308" y="658"/>
                    </a:lnTo>
                    <a:lnTo>
                      <a:pt x="304" y="652"/>
                    </a:lnTo>
                    <a:lnTo>
                      <a:pt x="300" y="646"/>
                    </a:lnTo>
                    <a:lnTo>
                      <a:pt x="302" y="648"/>
                    </a:lnTo>
                    <a:lnTo>
                      <a:pt x="304" y="650"/>
                    </a:lnTo>
                    <a:lnTo>
                      <a:pt x="304" y="652"/>
                    </a:lnTo>
                    <a:lnTo>
                      <a:pt x="308" y="652"/>
                    </a:lnTo>
                    <a:lnTo>
                      <a:pt x="308" y="650"/>
                    </a:lnTo>
                    <a:lnTo>
                      <a:pt x="306" y="648"/>
                    </a:lnTo>
                    <a:lnTo>
                      <a:pt x="304" y="644"/>
                    </a:lnTo>
                    <a:lnTo>
                      <a:pt x="302" y="642"/>
                    </a:lnTo>
                    <a:lnTo>
                      <a:pt x="294" y="629"/>
                    </a:lnTo>
                    <a:lnTo>
                      <a:pt x="290" y="625"/>
                    </a:lnTo>
                    <a:lnTo>
                      <a:pt x="288" y="621"/>
                    </a:lnTo>
                    <a:lnTo>
                      <a:pt x="288" y="617"/>
                    </a:lnTo>
                    <a:lnTo>
                      <a:pt x="288" y="613"/>
                    </a:lnTo>
                    <a:lnTo>
                      <a:pt x="288" y="612"/>
                    </a:lnTo>
                    <a:lnTo>
                      <a:pt x="286" y="610"/>
                    </a:lnTo>
                    <a:lnTo>
                      <a:pt x="281" y="606"/>
                    </a:lnTo>
                    <a:lnTo>
                      <a:pt x="279" y="604"/>
                    </a:lnTo>
                    <a:lnTo>
                      <a:pt x="275" y="592"/>
                    </a:lnTo>
                    <a:lnTo>
                      <a:pt x="271" y="587"/>
                    </a:lnTo>
                    <a:lnTo>
                      <a:pt x="258" y="575"/>
                    </a:lnTo>
                    <a:lnTo>
                      <a:pt x="250" y="569"/>
                    </a:lnTo>
                    <a:lnTo>
                      <a:pt x="246" y="567"/>
                    </a:lnTo>
                    <a:lnTo>
                      <a:pt x="242" y="565"/>
                    </a:lnTo>
                    <a:lnTo>
                      <a:pt x="233" y="560"/>
                    </a:lnTo>
                    <a:lnTo>
                      <a:pt x="223" y="554"/>
                    </a:lnTo>
                    <a:lnTo>
                      <a:pt x="217" y="550"/>
                    </a:lnTo>
                    <a:lnTo>
                      <a:pt x="214" y="552"/>
                    </a:lnTo>
                    <a:lnTo>
                      <a:pt x="214" y="554"/>
                    </a:lnTo>
                    <a:lnTo>
                      <a:pt x="212" y="554"/>
                    </a:lnTo>
                    <a:lnTo>
                      <a:pt x="208" y="552"/>
                    </a:lnTo>
                    <a:lnTo>
                      <a:pt x="204" y="550"/>
                    </a:lnTo>
                    <a:lnTo>
                      <a:pt x="202" y="544"/>
                    </a:lnTo>
                    <a:lnTo>
                      <a:pt x="202" y="542"/>
                    </a:lnTo>
                    <a:lnTo>
                      <a:pt x="202" y="540"/>
                    </a:lnTo>
                    <a:lnTo>
                      <a:pt x="198" y="533"/>
                    </a:lnTo>
                    <a:lnTo>
                      <a:pt x="196" y="533"/>
                    </a:lnTo>
                    <a:lnTo>
                      <a:pt x="196" y="531"/>
                    </a:lnTo>
                    <a:lnTo>
                      <a:pt x="194" y="527"/>
                    </a:lnTo>
                    <a:lnTo>
                      <a:pt x="192" y="525"/>
                    </a:lnTo>
                    <a:lnTo>
                      <a:pt x="189" y="523"/>
                    </a:lnTo>
                    <a:lnTo>
                      <a:pt x="187" y="521"/>
                    </a:lnTo>
                    <a:lnTo>
                      <a:pt x="181" y="512"/>
                    </a:lnTo>
                    <a:lnTo>
                      <a:pt x="183" y="512"/>
                    </a:lnTo>
                    <a:lnTo>
                      <a:pt x="185" y="514"/>
                    </a:lnTo>
                    <a:lnTo>
                      <a:pt x="187" y="512"/>
                    </a:lnTo>
                    <a:lnTo>
                      <a:pt x="189" y="510"/>
                    </a:lnTo>
                    <a:lnTo>
                      <a:pt x="190" y="504"/>
                    </a:lnTo>
                    <a:lnTo>
                      <a:pt x="189" y="492"/>
                    </a:lnTo>
                    <a:lnTo>
                      <a:pt x="189" y="490"/>
                    </a:lnTo>
                    <a:lnTo>
                      <a:pt x="187" y="489"/>
                    </a:lnTo>
                    <a:lnTo>
                      <a:pt x="185" y="487"/>
                    </a:lnTo>
                    <a:lnTo>
                      <a:pt x="183" y="485"/>
                    </a:lnTo>
                    <a:lnTo>
                      <a:pt x="179" y="481"/>
                    </a:lnTo>
                    <a:lnTo>
                      <a:pt x="177" y="477"/>
                    </a:lnTo>
                    <a:lnTo>
                      <a:pt x="177" y="475"/>
                    </a:lnTo>
                    <a:lnTo>
                      <a:pt x="175" y="473"/>
                    </a:lnTo>
                    <a:lnTo>
                      <a:pt x="175" y="471"/>
                    </a:lnTo>
                    <a:lnTo>
                      <a:pt x="165" y="456"/>
                    </a:lnTo>
                    <a:lnTo>
                      <a:pt x="158" y="450"/>
                    </a:lnTo>
                    <a:lnTo>
                      <a:pt x="156" y="448"/>
                    </a:lnTo>
                    <a:lnTo>
                      <a:pt x="156" y="450"/>
                    </a:lnTo>
                    <a:lnTo>
                      <a:pt x="152" y="448"/>
                    </a:lnTo>
                    <a:lnTo>
                      <a:pt x="150" y="446"/>
                    </a:lnTo>
                    <a:lnTo>
                      <a:pt x="148" y="444"/>
                    </a:lnTo>
                    <a:lnTo>
                      <a:pt x="146" y="441"/>
                    </a:lnTo>
                    <a:lnTo>
                      <a:pt x="148" y="439"/>
                    </a:lnTo>
                    <a:lnTo>
                      <a:pt x="150" y="435"/>
                    </a:lnTo>
                    <a:lnTo>
                      <a:pt x="150" y="433"/>
                    </a:lnTo>
                    <a:lnTo>
                      <a:pt x="150" y="431"/>
                    </a:lnTo>
                    <a:lnTo>
                      <a:pt x="148" y="429"/>
                    </a:lnTo>
                    <a:lnTo>
                      <a:pt x="146" y="427"/>
                    </a:lnTo>
                    <a:lnTo>
                      <a:pt x="144" y="427"/>
                    </a:lnTo>
                    <a:lnTo>
                      <a:pt x="142" y="427"/>
                    </a:lnTo>
                    <a:lnTo>
                      <a:pt x="139" y="425"/>
                    </a:lnTo>
                    <a:lnTo>
                      <a:pt x="137" y="423"/>
                    </a:lnTo>
                    <a:lnTo>
                      <a:pt x="135" y="421"/>
                    </a:lnTo>
                    <a:lnTo>
                      <a:pt x="135" y="417"/>
                    </a:lnTo>
                    <a:lnTo>
                      <a:pt x="121" y="396"/>
                    </a:lnTo>
                    <a:lnTo>
                      <a:pt x="116" y="387"/>
                    </a:lnTo>
                    <a:lnTo>
                      <a:pt x="110" y="381"/>
                    </a:lnTo>
                    <a:lnTo>
                      <a:pt x="108" y="381"/>
                    </a:lnTo>
                    <a:lnTo>
                      <a:pt x="108" y="379"/>
                    </a:lnTo>
                    <a:lnTo>
                      <a:pt x="104" y="373"/>
                    </a:lnTo>
                    <a:lnTo>
                      <a:pt x="104" y="369"/>
                    </a:lnTo>
                    <a:lnTo>
                      <a:pt x="102" y="369"/>
                    </a:lnTo>
                    <a:lnTo>
                      <a:pt x="100" y="366"/>
                    </a:lnTo>
                    <a:lnTo>
                      <a:pt x="96" y="364"/>
                    </a:lnTo>
                    <a:lnTo>
                      <a:pt x="94" y="362"/>
                    </a:lnTo>
                    <a:lnTo>
                      <a:pt x="89" y="354"/>
                    </a:lnTo>
                    <a:lnTo>
                      <a:pt x="87" y="350"/>
                    </a:lnTo>
                    <a:lnTo>
                      <a:pt x="87" y="348"/>
                    </a:lnTo>
                    <a:lnTo>
                      <a:pt x="87" y="346"/>
                    </a:lnTo>
                    <a:lnTo>
                      <a:pt x="81" y="341"/>
                    </a:lnTo>
                    <a:lnTo>
                      <a:pt x="75" y="337"/>
                    </a:lnTo>
                    <a:lnTo>
                      <a:pt x="73" y="335"/>
                    </a:lnTo>
                    <a:lnTo>
                      <a:pt x="69" y="331"/>
                    </a:lnTo>
                    <a:lnTo>
                      <a:pt x="68" y="327"/>
                    </a:lnTo>
                    <a:lnTo>
                      <a:pt x="68" y="325"/>
                    </a:lnTo>
                    <a:lnTo>
                      <a:pt x="66" y="323"/>
                    </a:lnTo>
                    <a:lnTo>
                      <a:pt x="66" y="321"/>
                    </a:lnTo>
                    <a:lnTo>
                      <a:pt x="66" y="319"/>
                    </a:lnTo>
                    <a:lnTo>
                      <a:pt x="66" y="318"/>
                    </a:lnTo>
                    <a:lnTo>
                      <a:pt x="58" y="306"/>
                    </a:lnTo>
                    <a:lnTo>
                      <a:pt x="54" y="300"/>
                    </a:lnTo>
                    <a:lnTo>
                      <a:pt x="52" y="300"/>
                    </a:lnTo>
                    <a:lnTo>
                      <a:pt x="50" y="298"/>
                    </a:lnTo>
                    <a:lnTo>
                      <a:pt x="46" y="294"/>
                    </a:lnTo>
                    <a:lnTo>
                      <a:pt x="46" y="293"/>
                    </a:lnTo>
                    <a:lnTo>
                      <a:pt x="43" y="291"/>
                    </a:lnTo>
                    <a:lnTo>
                      <a:pt x="43" y="287"/>
                    </a:lnTo>
                    <a:lnTo>
                      <a:pt x="35" y="283"/>
                    </a:lnTo>
                    <a:lnTo>
                      <a:pt x="31" y="283"/>
                    </a:lnTo>
                    <a:lnTo>
                      <a:pt x="29" y="285"/>
                    </a:lnTo>
                    <a:lnTo>
                      <a:pt x="25" y="285"/>
                    </a:lnTo>
                    <a:lnTo>
                      <a:pt x="23" y="285"/>
                    </a:lnTo>
                    <a:lnTo>
                      <a:pt x="20" y="287"/>
                    </a:lnTo>
                    <a:lnTo>
                      <a:pt x="10" y="281"/>
                    </a:lnTo>
                    <a:lnTo>
                      <a:pt x="8" y="283"/>
                    </a:lnTo>
                    <a:lnTo>
                      <a:pt x="6" y="285"/>
                    </a:lnTo>
                    <a:lnTo>
                      <a:pt x="6" y="287"/>
                    </a:lnTo>
                    <a:lnTo>
                      <a:pt x="6" y="289"/>
                    </a:lnTo>
                    <a:lnTo>
                      <a:pt x="4" y="289"/>
                    </a:lnTo>
                    <a:lnTo>
                      <a:pt x="0" y="285"/>
                    </a:lnTo>
                    <a:lnTo>
                      <a:pt x="2" y="283"/>
                    </a:lnTo>
                    <a:lnTo>
                      <a:pt x="4" y="279"/>
                    </a:lnTo>
                    <a:lnTo>
                      <a:pt x="8" y="271"/>
                    </a:lnTo>
                    <a:lnTo>
                      <a:pt x="12" y="264"/>
                    </a:lnTo>
                    <a:lnTo>
                      <a:pt x="12" y="262"/>
                    </a:lnTo>
                    <a:lnTo>
                      <a:pt x="14" y="258"/>
                    </a:lnTo>
                    <a:lnTo>
                      <a:pt x="16" y="256"/>
                    </a:lnTo>
                    <a:lnTo>
                      <a:pt x="18" y="254"/>
                    </a:lnTo>
                    <a:lnTo>
                      <a:pt x="16" y="246"/>
                    </a:lnTo>
                    <a:lnTo>
                      <a:pt x="16" y="245"/>
                    </a:lnTo>
                    <a:lnTo>
                      <a:pt x="20" y="231"/>
                    </a:lnTo>
                    <a:lnTo>
                      <a:pt x="20" y="229"/>
                    </a:lnTo>
                    <a:lnTo>
                      <a:pt x="21" y="214"/>
                    </a:lnTo>
                    <a:lnTo>
                      <a:pt x="21" y="212"/>
                    </a:lnTo>
                    <a:lnTo>
                      <a:pt x="23" y="208"/>
                    </a:lnTo>
                    <a:lnTo>
                      <a:pt x="23" y="204"/>
                    </a:lnTo>
                    <a:lnTo>
                      <a:pt x="27" y="196"/>
                    </a:lnTo>
                    <a:lnTo>
                      <a:pt x="43" y="198"/>
                    </a:lnTo>
                    <a:lnTo>
                      <a:pt x="68" y="202"/>
                    </a:lnTo>
                    <a:lnTo>
                      <a:pt x="106" y="208"/>
                    </a:lnTo>
                    <a:lnTo>
                      <a:pt x="119" y="198"/>
                    </a:lnTo>
                    <a:lnTo>
                      <a:pt x="135" y="185"/>
                    </a:lnTo>
                    <a:lnTo>
                      <a:pt x="152" y="160"/>
                    </a:lnTo>
                    <a:lnTo>
                      <a:pt x="173" y="156"/>
                    </a:lnTo>
                    <a:lnTo>
                      <a:pt x="200" y="152"/>
                    </a:lnTo>
                    <a:lnTo>
                      <a:pt x="206" y="150"/>
                    </a:lnTo>
                    <a:lnTo>
                      <a:pt x="217" y="127"/>
                    </a:lnTo>
                    <a:lnTo>
                      <a:pt x="240" y="116"/>
                    </a:lnTo>
                    <a:lnTo>
                      <a:pt x="210" y="85"/>
                    </a:lnTo>
                    <a:lnTo>
                      <a:pt x="204" y="79"/>
                    </a:lnTo>
                    <a:lnTo>
                      <a:pt x="190" y="66"/>
                    </a:lnTo>
                    <a:lnTo>
                      <a:pt x="171" y="45"/>
                    </a:lnTo>
                    <a:lnTo>
                      <a:pt x="185" y="43"/>
                    </a:lnTo>
                    <a:lnTo>
                      <a:pt x="204" y="37"/>
                    </a:lnTo>
                    <a:lnTo>
                      <a:pt x="219" y="33"/>
                    </a:lnTo>
                    <a:lnTo>
                      <a:pt x="238" y="29"/>
                    </a:lnTo>
                    <a:lnTo>
                      <a:pt x="240" y="27"/>
                    </a:lnTo>
                    <a:lnTo>
                      <a:pt x="275" y="20"/>
                    </a:lnTo>
                    <a:lnTo>
                      <a:pt x="311" y="10"/>
                    </a:lnTo>
                    <a:lnTo>
                      <a:pt x="315" y="6"/>
                    </a:lnTo>
                    <a:lnTo>
                      <a:pt x="325" y="0"/>
                    </a:lnTo>
                    <a:lnTo>
                      <a:pt x="344" y="4"/>
                    </a:lnTo>
                    <a:lnTo>
                      <a:pt x="386" y="10"/>
                    </a:lnTo>
                    <a:lnTo>
                      <a:pt x="409" y="14"/>
                    </a:lnTo>
                    <a:lnTo>
                      <a:pt x="480" y="54"/>
                    </a:lnTo>
                    <a:lnTo>
                      <a:pt x="527" y="73"/>
                    </a:lnTo>
                    <a:lnTo>
                      <a:pt x="586" y="116"/>
                    </a:lnTo>
                    <a:lnTo>
                      <a:pt x="596" y="122"/>
                    </a:lnTo>
                    <a:lnTo>
                      <a:pt x="648" y="160"/>
                    </a:lnTo>
                    <a:lnTo>
                      <a:pt x="711" y="208"/>
                    </a:lnTo>
                    <a:lnTo>
                      <a:pt x="809" y="216"/>
                    </a:lnTo>
                    <a:lnTo>
                      <a:pt x="830" y="218"/>
                    </a:lnTo>
                    <a:lnTo>
                      <a:pt x="840" y="214"/>
                    </a:lnTo>
                    <a:lnTo>
                      <a:pt x="841" y="214"/>
                    </a:lnTo>
                    <a:lnTo>
                      <a:pt x="857" y="216"/>
                    </a:lnTo>
                    <a:lnTo>
                      <a:pt x="870" y="218"/>
                    </a:lnTo>
                    <a:lnTo>
                      <a:pt x="903" y="221"/>
                    </a:lnTo>
                    <a:lnTo>
                      <a:pt x="907" y="227"/>
                    </a:lnTo>
                    <a:lnTo>
                      <a:pt x="909" y="231"/>
                    </a:lnTo>
                    <a:lnTo>
                      <a:pt x="911" y="235"/>
                    </a:lnTo>
                    <a:lnTo>
                      <a:pt x="911" y="237"/>
                    </a:lnTo>
                    <a:lnTo>
                      <a:pt x="911" y="241"/>
                    </a:lnTo>
                    <a:lnTo>
                      <a:pt x="911" y="243"/>
                    </a:lnTo>
                    <a:lnTo>
                      <a:pt x="913" y="246"/>
                    </a:lnTo>
                    <a:lnTo>
                      <a:pt x="914" y="248"/>
                    </a:lnTo>
                    <a:lnTo>
                      <a:pt x="918" y="254"/>
                    </a:lnTo>
                    <a:lnTo>
                      <a:pt x="962" y="252"/>
                    </a:lnTo>
                    <a:lnTo>
                      <a:pt x="970" y="252"/>
                    </a:lnTo>
                    <a:lnTo>
                      <a:pt x="976" y="256"/>
                    </a:lnTo>
                    <a:lnTo>
                      <a:pt x="978" y="262"/>
                    </a:lnTo>
                    <a:lnTo>
                      <a:pt x="978" y="268"/>
                    </a:lnTo>
                    <a:lnTo>
                      <a:pt x="984" y="283"/>
                    </a:lnTo>
                    <a:lnTo>
                      <a:pt x="986" y="289"/>
                    </a:lnTo>
                    <a:lnTo>
                      <a:pt x="1001" y="302"/>
                    </a:lnTo>
                    <a:lnTo>
                      <a:pt x="1003" y="302"/>
                    </a:lnTo>
                    <a:lnTo>
                      <a:pt x="1003" y="308"/>
                    </a:lnTo>
                    <a:lnTo>
                      <a:pt x="1001" y="310"/>
                    </a:lnTo>
                    <a:lnTo>
                      <a:pt x="1001" y="304"/>
                    </a:lnTo>
                    <a:lnTo>
                      <a:pt x="999" y="304"/>
                    </a:lnTo>
                    <a:lnTo>
                      <a:pt x="997" y="304"/>
                    </a:lnTo>
                    <a:lnTo>
                      <a:pt x="995" y="310"/>
                    </a:lnTo>
                    <a:lnTo>
                      <a:pt x="999" y="318"/>
                    </a:lnTo>
                    <a:lnTo>
                      <a:pt x="1005" y="319"/>
                    </a:lnTo>
                    <a:lnTo>
                      <a:pt x="1009" y="318"/>
                    </a:lnTo>
                    <a:lnTo>
                      <a:pt x="1012" y="319"/>
                    </a:lnTo>
                    <a:lnTo>
                      <a:pt x="1014" y="323"/>
                    </a:lnTo>
                    <a:lnTo>
                      <a:pt x="1016" y="323"/>
                    </a:lnTo>
                    <a:lnTo>
                      <a:pt x="1024" y="323"/>
                    </a:lnTo>
                    <a:lnTo>
                      <a:pt x="1028" y="323"/>
                    </a:lnTo>
                    <a:lnTo>
                      <a:pt x="1032" y="327"/>
                    </a:lnTo>
                    <a:lnTo>
                      <a:pt x="1032" y="331"/>
                    </a:lnTo>
                    <a:lnTo>
                      <a:pt x="1026" y="329"/>
                    </a:lnTo>
                    <a:lnTo>
                      <a:pt x="1022" y="329"/>
                    </a:lnTo>
                    <a:lnTo>
                      <a:pt x="1020" y="331"/>
                    </a:lnTo>
                    <a:lnTo>
                      <a:pt x="1028" y="337"/>
                    </a:lnTo>
                    <a:lnTo>
                      <a:pt x="1039" y="350"/>
                    </a:lnTo>
                    <a:lnTo>
                      <a:pt x="1039" y="352"/>
                    </a:lnTo>
                    <a:lnTo>
                      <a:pt x="1041" y="352"/>
                    </a:lnTo>
                    <a:lnTo>
                      <a:pt x="1043" y="350"/>
                    </a:lnTo>
                    <a:lnTo>
                      <a:pt x="1045" y="350"/>
                    </a:lnTo>
                    <a:lnTo>
                      <a:pt x="1047" y="348"/>
                    </a:lnTo>
                    <a:lnTo>
                      <a:pt x="1049" y="348"/>
                    </a:lnTo>
                    <a:lnTo>
                      <a:pt x="1055" y="358"/>
                    </a:lnTo>
                    <a:lnTo>
                      <a:pt x="1057" y="364"/>
                    </a:lnTo>
                    <a:lnTo>
                      <a:pt x="1060" y="366"/>
                    </a:lnTo>
                    <a:lnTo>
                      <a:pt x="1066" y="368"/>
                    </a:lnTo>
                    <a:lnTo>
                      <a:pt x="1068" y="369"/>
                    </a:lnTo>
                    <a:lnTo>
                      <a:pt x="1072" y="371"/>
                    </a:lnTo>
                    <a:lnTo>
                      <a:pt x="1074" y="371"/>
                    </a:lnTo>
                    <a:lnTo>
                      <a:pt x="1078" y="371"/>
                    </a:lnTo>
                    <a:lnTo>
                      <a:pt x="1089" y="383"/>
                    </a:lnTo>
                    <a:lnTo>
                      <a:pt x="1091" y="385"/>
                    </a:lnTo>
                    <a:lnTo>
                      <a:pt x="1091" y="387"/>
                    </a:lnTo>
                    <a:lnTo>
                      <a:pt x="1087" y="383"/>
                    </a:lnTo>
                    <a:lnTo>
                      <a:pt x="1080" y="379"/>
                    </a:lnTo>
                    <a:lnTo>
                      <a:pt x="1080" y="383"/>
                    </a:lnTo>
                    <a:lnTo>
                      <a:pt x="1082" y="392"/>
                    </a:lnTo>
                    <a:lnTo>
                      <a:pt x="1083" y="398"/>
                    </a:lnTo>
                    <a:lnTo>
                      <a:pt x="1087" y="400"/>
                    </a:lnTo>
                    <a:lnTo>
                      <a:pt x="1089" y="400"/>
                    </a:lnTo>
                    <a:lnTo>
                      <a:pt x="1093" y="402"/>
                    </a:lnTo>
                    <a:lnTo>
                      <a:pt x="1095" y="406"/>
                    </a:lnTo>
                    <a:lnTo>
                      <a:pt x="1097" y="410"/>
                    </a:lnTo>
                    <a:lnTo>
                      <a:pt x="1095" y="417"/>
                    </a:lnTo>
                    <a:lnTo>
                      <a:pt x="1095" y="419"/>
                    </a:lnTo>
                    <a:lnTo>
                      <a:pt x="1091" y="425"/>
                    </a:lnTo>
                    <a:lnTo>
                      <a:pt x="1089" y="425"/>
                    </a:lnTo>
                    <a:lnTo>
                      <a:pt x="1085" y="419"/>
                    </a:lnTo>
                    <a:lnTo>
                      <a:pt x="1083" y="417"/>
                    </a:lnTo>
                    <a:lnTo>
                      <a:pt x="1080" y="421"/>
                    </a:lnTo>
                    <a:lnTo>
                      <a:pt x="1080" y="429"/>
                    </a:lnTo>
                    <a:lnTo>
                      <a:pt x="1087" y="437"/>
                    </a:lnTo>
                    <a:lnTo>
                      <a:pt x="1089" y="441"/>
                    </a:lnTo>
                    <a:lnTo>
                      <a:pt x="1089" y="444"/>
                    </a:lnTo>
                    <a:lnTo>
                      <a:pt x="1093" y="448"/>
                    </a:lnTo>
                    <a:lnTo>
                      <a:pt x="1095" y="450"/>
                    </a:lnTo>
                    <a:lnTo>
                      <a:pt x="1099" y="454"/>
                    </a:lnTo>
                    <a:lnTo>
                      <a:pt x="1099" y="458"/>
                    </a:lnTo>
                    <a:lnTo>
                      <a:pt x="1097" y="456"/>
                    </a:lnTo>
                    <a:lnTo>
                      <a:pt x="1097" y="454"/>
                    </a:lnTo>
                    <a:lnTo>
                      <a:pt x="1093" y="450"/>
                    </a:lnTo>
                    <a:lnTo>
                      <a:pt x="1091" y="450"/>
                    </a:lnTo>
                    <a:lnTo>
                      <a:pt x="1091" y="452"/>
                    </a:lnTo>
                    <a:lnTo>
                      <a:pt x="1103" y="466"/>
                    </a:lnTo>
                    <a:lnTo>
                      <a:pt x="1105" y="467"/>
                    </a:lnTo>
                    <a:lnTo>
                      <a:pt x="1107" y="469"/>
                    </a:lnTo>
                    <a:lnTo>
                      <a:pt x="1112" y="469"/>
                    </a:lnTo>
                    <a:lnTo>
                      <a:pt x="1114" y="473"/>
                    </a:lnTo>
                    <a:lnTo>
                      <a:pt x="1118" y="481"/>
                    </a:lnTo>
                    <a:lnTo>
                      <a:pt x="1118" y="487"/>
                    </a:lnTo>
                    <a:lnTo>
                      <a:pt x="1120" y="498"/>
                    </a:lnTo>
                    <a:lnTo>
                      <a:pt x="1124" y="498"/>
                    </a:lnTo>
                    <a:lnTo>
                      <a:pt x="1126" y="502"/>
                    </a:lnTo>
                    <a:lnTo>
                      <a:pt x="1131" y="510"/>
                    </a:lnTo>
                    <a:lnTo>
                      <a:pt x="1133" y="515"/>
                    </a:lnTo>
                    <a:lnTo>
                      <a:pt x="1133" y="517"/>
                    </a:lnTo>
                    <a:lnTo>
                      <a:pt x="1135" y="521"/>
                    </a:lnTo>
                    <a:lnTo>
                      <a:pt x="1139" y="519"/>
                    </a:lnTo>
                    <a:lnTo>
                      <a:pt x="1141" y="523"/>
                    </a:lnTo>
                    <a:lnTo>
                      <a:pt x="1149" y="531"/>
                    </a:lnTo>
                    <a:lnTo>
                      <a:pt x="1158" y="533"/>
                    </a:lnTo>
                    <a:lnTo>
                      <a:pt x="1164" y="531"/>
                    </a:lnTo>
                    <a:lnTo>
                      <a:pt x="1164" y="529"/>
                    </a:lnTo>
                    <a:lnTo>
                      <a:pt x="1166" y="527"/>
                    </a:lnTo>
                    <a:lnTo>
                      <a:pt x="1168" y="529"/>
                    </a:lnTo>
                    <a:lnTo>
                      <a:pt x="1172" y="529"/>
                    </a:lnTo>
                    <a:lnTo>
                      <a:pt x="1172" y="531"/>
                    </a:lnTo>
                    <a:lnTo>
                      <a:pt x="1172" y="535"/>
                    </a:lnTo>
                    <a:lnTo>
                      <a:pt x="1176" y="533"/>
                    </a:lnTo>
                    <a:lnTo>
                      <a:pt x="1178" y="529"/>
                    </a:lnTo>
                    <a:lnTo>
                      <a:pt x="1179" y="529"/>
                    </a:lnTo>
                    <a:lnTo>
                      <a:pt x="1181" y="529"/>
                    </a:lnTo>
                    <a:lnTo>
                      <a:pt x="1185" y="531"/>
                    </a:lnTo>
                    <a:lnTo>
                      <a:pt x="1179" y="537"/>
                    </a:lnTo>
                    <a:lnTo>
                      <a:pt x="1174" y="540"/>
                    </a:lnTo>
                    <a:lnTo>
                      <a:pt x="1174" y="542"/>
                    </a:lnTo>
                    <a:lnTo>
                      <a:pt x="1172" y="542"/>
                    </a:lnTo>
                    <a:lnTo>
                      <a:pt x="1170" y="548"/>
                    </a:lnTo>
                    <a:lnTo>
                      <a:pt x="1170" y="550"/>
                    </a:lnTo>
                    <a:lnTo>
                      <a:pt x="1172" y="550"/>
                    </a:lnTo>
                    <a:lnTo>
                      <a:pt x="1176" y="550"/>
                    </a:lnTo>
                    <a:lnTo>
                      <a:pt x="1178" y="550"/>
                    </a:lnTo>
                    <a:lnTo>
                      <a:pt x="1179" y="548"/>
                    </a:lnTo>
                    <a:lnTo>
                      <a:pt x="1181" y="550"/>
                    </a:lnTo>
                    <a:lnTo>
                      <a:pt x="1183" y="550"/>
                    </a:lnTo>
                    <a:lnTo>
                      <a:pt x="1185" y="550"/>
                    </a:lnTo>
                    <a:lnTo>
                      <a:pt x="1187" y="554"/>
                    </a:lnTo>
                    <a:lnTo>
                      <a:pt x="1189" y="554"/>
                    </a:lnTo>
                    <a:lnTo>
                      <a:pt x="1191" y="554"/>
                    </a:lnTo>
                    <a:lnTo>
                      <a:pt x="1191" y="564"/>
                    </a:lnTo>
                    <a:lnTo>
                      <a:pt x="1262" y="646"/>
                    </a:lnTo>
                    <a:lnTo>
                      <a:pt x="1441" y="667"/>
                    </a:lnTo>
                    <a:lnTo>
                      <a:pt x="1445" y="663"/>
                    </a:lnTo>
                    <a:lnTo>
                      <a:pt x="1477" y="711"/>
                    </a:lnTo>
                    <a:lnTo>
                      <a:pt x="1460" y="763"/>
                    </a:lnTo>
                    <a:lnTo>
                      <a:pt x="1431" y="852"/>
                    </a:lnTo>
                    <a:close/>
                    <a:moveTo>
                      <a:pt x="532" y="1092"/>
                    </a:moveTo>
                    <a:lnTo>
                      <a:pt x="530" y="1092"/>
                    </a:lnTo>
                    <a:lnTo>
                      <a:pt x="528" y="1092"/>
                    </a:lnTo>
                    <a:lnTo>
                      <a:pt x="527" y="1088"/>
                    </a:lnTo>
                    <a:lnTo>
                      <a:pt x="528" y="1088"/>
                    </a:lnTo>
                    <a:lnTo>
                      <a:pt x="528" y="1086"/>
                    </a:lnTo>
                    <a:lnTo>
                      <a:pt x="527" y="1086"/>
                    </a:lnTo>
                    <a:lnTo>
                      <a:pt x="525" y="1084"/>
                    </a:lnTo>
                    <a:lnTo>
                      <a:pt x="523" y="1084"/>
                    </a:lnTo>
                    <a:lnTo>
                      <a:pt x="521" y="1084"/>
                    </a:lnTo>
                    <a:lnTo>
                      <a:pt x="521" y="1086"/>
                    </a:lnTo>
                    <a:lnTo>
                      <a:pt x="519" y="1086"/>
                    </a:lnTo>
                    <a:lnTo>
                      <a:pt x="517" y="1086"/>
                    </a:lnTo>
                    <a:lnTo>
                      <a:pt x="515" y="1086"/>
                    </a:lnTo>
                    <a:lnTo>
                      <a:pt x="513" y="1084"/>
                    </a:lnTo>
                    <a:lnTo>
                      <a:pt x="509" y="1082"/>
                    </a:lnTo>
                    <a:lnTo>
                      <a:pt x="505" y="1077"/>
                    </a:lnTo>
                    <a:lnTo>
                      <a:pt x="503" y="1071"/>
                    </a:lnTo>
                    <a:lnTo>
                      <a:pt x="505" y="1071"/>
                    </a:lnTo>
                    <a:lnTo>
                      <a:pt x="507" y="1073"/>
                    </a:lnTo>
                    <a:lnTo>
                      <a:pt x="509" y="1075"/>
                    </a:lnTo>
                    <a:lnTo>
                      <a:pt x="511" y="1077"/>
                    </a:lnTo>
                    <a:lnTo>
                      <a:pt x="511" y="1079"/>
                    </a:lnTo>
                    <a:lnTo>
                      <a:pt x="513" y="1080"/>
                    </a:lnTo>
                    <a:lnTo>
                      <a:pt x="515" y="1080"/>
                    </a:lnTo>
                    <a:lnTo>
                      <a:pt x="517" y="1082"/>
                    </a:lnTo>
                    <a:lnTo>
                      <a:pt x="525" y="1082"/>
                    </a:lnTo>
                    <a:lnTo>
                      <a:pt x="525" y="1080"/>
                    </a:lnTo>
                    <a:lnTo>
                      <a:pt x="523" y="1080"/>
                    </a:lnTo>
                    <a:lnTo>
                      <a:pt x="521" y="1080"/>
                    </a:lnTo>
                    <a:lnTo>
                      <a:pt x="521" y="1079"/>
                    </a:lnTo>
                    <a:lnTo>
                      <a:pt x="523" y="1075"/>
                    </a:lnTo>
                    <a:lnTo>
                      <a:pt x="525" y="1075"/>
                    </a:lnTo>
                    <a:lnTo>
                      <a:pt x="527" y="1075"/>
                    </a:lnTo>
                    <a:lnTo>
                      <a:pt x="530" y="1082"/>
                    </a:lnTo>
                    <a:lnTo>
                      <a:pt x="532" y="1086"/>
                    </a:lnTo>
                    <a:lnTo>
                      <a:pt x="532" y="1090"/>
                    </a:lnTo>
                    <a:lnTo>
                      <a:pt x="532" y="1092"/>
                    </a:lnTo>
                    <a:close/>
                    <a:moveTo>
                      <a:pt x="513" y="1061"/>
                    </a:moveTo>
                    <a:lnTo>
                      <a:pt x="515" y="1063"/>
                    </a:lnTo>
                    <a:lnTo>
                      <a:pt x="517" y="1063"/>
                    </a:lnTo>
                    <a:lnTo>
                      <a:pt x="519" y="1079"/>
                    </a:lnTo>
                    <a:lnTo>
                      <a:pt x="515" y="1079"/>
                    </a:lnTo>
                    <a:lnTo>
                      <a:pt x="513" y="1077"/>
                    </a:lnTo>
                    <a:lnTo>
                      <a:pt x="511" y="1075"/>
                    </a:lnTo>
                    <a:lnTo>
                      <a:pt x="509" y="1071"/>
                    </a:lnTo>
                    <a:lnTo>
                      <a:pt x="509" y="1069"/>
                    </a:lnTo>
                    <a:lnTo>
                      <a:pt x="511" y="1069"/>
                    </a:lnTo>
                    <a:lnTo>
                      <a:pt x="513" y="1069"/>
                    </a:lnTo>
                    <a:lnTo>
                      <a:pt x="515" y="1067"/>
                    </a:lnTo>
                    <a:lnTo>
                      <a:pt x="515" y="1065"/>
                    </a:lnTo>
                    <a:lnTo>
                      <a:pt x="515" y="1063"/>
                    </a:lnTo>
                    <a:lnTo>
                      <a:pt x="513" y="1063"/>
                    </a:lnTo>
                    <a:lnTo>
                      <a:pt x="511" y="1063"/>
                    </a:lnTo>
                    <a:lnTo>
                      <a:pt x="509" y="1061"/>
                    </a:lnTo>
                    <a:lnTo>
                      <a:pt x="511" y="1061"/>
                    </a:lnTo>
                    <a:lnTo>
                      <a:pt x="513" y="1061"/>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61" name="Freeform 44">
                <a:extLst>
                  <a:ext uri="{FF2B5EF4-FFF2-40B4-BE49-F238E27FC236}">
                    <a16:creationId xmlns:a16="http://schemas.microsoft.com/office/drawing/2014/main" id="{145FC97B-2CD2-4F9C-82C7-7512E9831DBD}"/>
                  </a:ext>
                </a:extLst>
              </p:cNvPr>
              <p:cNvSpPr>
                <a:spLocks noEditPoints="1"/>
              </p:cNvSpPr>
              <p:nvPr/>
            </p:nvSpPr>
            <p:spPr bwMode="gray">
              <a:xfrm>
                <a:off x="4528125" y="4136016"/>
                <a:ext cx="531950" cy="383131"/>
              </a:xfrm>
              <a:custGeom>
                <a:avLst/>
                <a:gdLst/>
                <a:ahLst/>
                <a:cxnLst>
                  <a:cxn ang="0">
                    <a:pos x="336" y="54"/>
                  </a:cxn>
                  <a:cxn ang="0">
                    <a:pos x="334" y="71"/>
                  </a:cxn>
                  <a:cxn ang="0">
                    <a:pos x="334" y="79"/>
                  </a:cxn>
                  <a:cxn ang="0">
                    <a:pos x="330" y="85"/>
                  </a:cxn>
                  <a:cxn ang="0">
                    <a:pos x="326" y="89"/>
                  </a:cxn>
                  <a:cxn ang="0">
                    <a:pos x="317" y="94"/>
                  </a:cxn>
                  <a:cxn ang="0">
                    <a:pos x="309" y="85"/>
                  </a:cxn>
                  <a:cxn ang="0">
                    <a:pos x="311" y="79"/>
                  </a:cxn>
                  <a:cxn ang="0">
                    <a:pos x="303" y="79"/>
                  </a:cxn>
                  <a:cxn ang="0">
                    <a:pos x="298" y="85"/>
                  </a:cxn>
                  <a:cxn ang="0">
                    <a:pos x="300" y="100"/>
                  </a:cxn>
                  <a:cxn ang="0">
                    <a:pos x="298" y="117"/>
                  </a:cxn>
                  <a:cxn ang="0">
                    <a:pos x="302" y="131"/>
                  </a:cxn>
                  <a:cxn ang="0">
                    <a:pos x="311" y="142"/>
                  </a:cxn>
                  <a:cxn ang="0">
                    <a:pos x="284" y="144"/>
                  </a:cxn>
                  <a:cxn ang="0">
                    <a:pos x="278" y="163"/>
                  </a:cxn>
                  <a:cxn ang="0">
                    <a:pos x="263" y="196"/>
                  </a:cxn>
                  <a:cxn ang="0">
                    <a:pos x="257" y="208"/>
                  </a:cxn>
                  <a:cxn ang="0">
                    <a:pos x="255" y="227"/>
                  </a:cxn>
                  <a:cxn ang="0">
                    <a:pos x="250" y="242"/>
                  </a:cxn>
                  <a:cxn ang="0">
                    <a:pos x="4" y="127"/>
                  </a:cxn>
                  <a:cxn ang="0">
                    <a:pos x="13" y="137"/>
                  </a:cxn>
                  <a:cxn ang="0">
                    <a:pos x="19" y="148"/>
                  </a:cxn>
                  <a:cxn ang="0">
                    <a:pos x="46" y="148"/>
                  </a:cxn>
                  <a:cxn ang="0">
                    <a:pos x="67" y="139"/>
                  </a:cxn>
                  <a:cxn ang="0">
                    <a:pos x="77" y="137"/>
                  </a:cxn>
                  <a:cxn ang="0">
                    <a:pos x="106" y="139"/>
                  </a:cxn>
                  <a:cxn ang="0">
                    <a:pos x="129" y="139"/>
                  </a:cxn>
                  <a:cxn ang="0">
                    <a:pos x="140" y="142"/>
                  </a:cxn>
                  <a:cxn ang="0">
                    <a:pos x="182" y="133"/>
                  </a:cxn>
                  <a:cxn ang="0">
                    <a:pos x="202" y="123"/>
                  </a:cxn>
                  <a:cxn ang="0">
                    <a:pos x="207" y="115"/>
                  </a:cxn>
                  <a:cxn ang="0">
                    <a:pos x="215" y="94"/>
                  </a:cxn>
                  <a:cxn ang="0">
                    <a:pos x="240" y="77"/>
                  </a:cxn>
                  <a:cxn ang="0">
                    <a:pos x="252" y="67"/>
                  </a:cxn>
                  <a:cxn ang="0">
                    <a:pos x="255" y="62"/>
                  </a:cxn>
                  <a:cxn ang="0">
                    <a:pos x="263" y="54"/>
                  </a:cxn>
                  <a:cxn ang="0">
                    <a:pos x="273" y="48"/>
                  </a:cxn>
                  <a:cxn ang="0">
                    <a:pos x="277" y="39"/>
                  </a:cxn>
                  <a:cxn ang="0">
                    <a:pos x="278" y="39"/>
                  </a:cxn>
                  <a:cxn ang="0">
                    <a:pos x="284" y="37"/>
                  </a:cxn>
                  <a:cxn ang="0">
                    <a:pos x="300" y="25"/>
                  </a:cxn>
                  <a:cxn ang="0">
                    <a:pos x="315" y="2"/>
                  </a:cxn>
                  <a:cxn ang="0">
                    <a:pos x="319" y="17"/>
                  </a:cxn>
                  <a:cxn ang="0">
                    <a:pos x="323" y="31"/>
                  </a:cxn>
                  <a:cxn ang="0">
                    <a:pos x="334" y="35"/>
                  </a:cxn>
                  <a:cxn ang="0">
                    <a:pos x="156" y="139"/>
                  </a:cxn>
                  <a:cxn ang="0">
                    <a:pos x="144" y="137"/>
                  </a:cxn>
                  <a:cxn ang="0">
                    <a:pos x="144" y="133"/>
                  </a:cxn>
                  <a:cxn ang="0">
                    <a:pos x="167" y="135"/>
                  </a:cxn>
                  <a:cxn ang="0">
                    <a:pos x="157" y="137"/>
                  </a:cxn>
                  <a:cxn ang="0">
                    <a:pos x="198" y="110"/>
                  </a:cxn>
                </a:cxnLst>
                <a:rect l="0" t="0" r="r" b="b"/>
                <a:pathLst>
                  <a:path w="336" h="242">
                    <a:moveTo>
                      <a:pt x="334" y="46"/>
                    </a:moveTo>
                    <a:lnTo>
                      <a:pt x="336" y="50"/>
                    </a:lnTo>
                    <a:lnTo>
                      <a:pt x="336" y="52"/>
                    </a:lnTo>
                    <a:lnTo>
                      <a:pt x="336" y="54"/>
                    </a:lnTo>
                    <a:lnTo>
                      <a:pt x="336" y="58"/>
                    </a:lnTo>
                    <a:lnTo>
                      <a:pt x="334" y="69"/>
                    </a:lnTo>
                    <a:lnTo>
                      <a:pt x="334" y="71"/>
                    </a:lnTo>
                    <a:lnTo>
                      <a:pt x="334" y="71"/>
                    </a:lnTo>
                    <a:lnTo>
                      <a:pt x="336" y="77"/>
                    </a:lnTo>
                    <a:lnTo>
                      <a:pt x="334" y="79"/>
                    </a:lnTo>
                    <a:lnTo>
                      <a:pt x="334" y="79"/>
                    </a:lnTo>
                    <a:lnTo>
                      <a:pt x="334" y="79"/>
                    </a:lnTo>
                    <a:lnTo>
                      <a:pt x="334" y="81"/>
                    </a:lnTo>
                    <a:lnTo>
                      <a:pt x="334" y="83"/>
                    </a:lnTo>
                    <a:lnTo>
                      <a:pt x="332" y="83"/>
                    </a:lnTo>
                    <a:lnTo>
                      <a:pt x="330" y="85"/>
                    </a:lnTo>
                    <a:lnTo>
                      <a:pt x="330" y="85"/>
                    </a:lnTo>
                    <a:lnTo>
                      <a:pt x="330" y="87"/>
                    </a:lnTo>
                    <a:lnTo>
                      <a:pt x="328" y="87"/>
                    </a:lnTo>
                    <a:lnTo>
                      <a:pt x="326" y="89"/>
                    </a:lnTo>
                    <a:lnTo>
                      <a:pt x="323" y="89"/>
                    </a:lnTo>
                    <a:lnTo>
                      <a:pt x="323" y="92"/>
                    </a:lnTo>
                    <a:lnTo>
                      <a:pt x="321" y="94"/>
                    </a:lnTo>
                    <a:lnTo>
                      <a:pt x="317" y="94"/>
                    </a:lnTo>
                    <a:lnTo>
                      <a:pt x="315" y="94"/>
                    </a:lnTo>
                    <a:lnTo>
                      <a:pt x="315" y="94"/>
                    </a:lnTo>
                    <a:lnTo>
                      <a:pt x="309" y="85"/>
                    </a:lnTo>
                    <a:lnTo>
                      <a:pt x="309" y="85"/>
                    </a:lnTo>
                    <a:lnTo>
                      <a:pt x="311" y="85"/>
                    </a:lnTo>
                    <a:lnTo>
                      <a:pt x="313" y="87"/>
                    </a:lnTo>
                    <a:lnTo>
                      <a:pt x="313" y="81"/>
                    </a:lnTo>
                    <a:lnTo>
                      <a:pt x="311" y="79"/>
                    </a:lnTo>
                    <a:lnTo>
                      <a:pt x="309" y="77"/>
                    </a:lnTo>
                    <a:lnTo>
                      <a:pt x="307" y="77"/>
                    </a:lnTo>
                    <a:lnTo>
                      <a:pt x="305" y="77"/>
                    </a:lnTo>
                    <a:lnTo>
                      <a:pt x="303" y="79"/>
                    </a:lnTo>
                    <a:lnTo>
                      <a:pt x="302" y="79"/>
                    </a:lnTo>
                    <a:lnTo>
                      <a:pt x="300" y="81"/>
                    </a:lnTo>
                    <a:lnTo>
                      <a:pt x="300" y="83"/>
                    </a:lnTo>
                    <a:lnTo>
                      <a:pt x="298" y="85"/>
                    </a:lnTo>
                    <a:lnTo>
                      <a:pt x="296" y="87"/>
                    </a:lnTo>
                    <a:lnTo>
                      <a:pt x="298" y="96"/>
                    </a:lnTo>
                    <a:lnTo>
                      <a:pt x="298" y="98"/>
                    </a:lnTo>
                    <a:lnTo>
                      <a:pt x="300" y="100"/>
                    </a:lnTo>
                    <a:lnTo>
                      <a:pt x="296" y="104"/>
                    </a:lnTo>
                    <a:lnTo>
                      <a:pt x="294" y="106"/>
                    </a:lnTo>
                    <a:lnTo>
                      <a:pt x="296" y="114"/>
                    </a:lnTo>
                    <a:lnTo>
                      <a:pt x="298" y="117"/>
                    </a:lnTo>
                    <a:lnTo>
                      <a:pt x="298" y="125"/>
                    </a:lnTo>
                    <a:lnTo>
                      <a:pt x="294" y="129"/>
                    </a:lnTo>
                    <a:lnTo>
                      <a:pt x="300" y="131"/>
                    </a:lnTo>
                    <a:lnTo>
                      <a:pt x="302" y="131"/>
                    </a:lnTo>
                    <a:lnTo>
                      <a:pt x="303" y="129"/>
                    </a:lnTo>
                    <a:lnTo>
                      <a:pt x="305" y="131"/>
                    </a:lnTo>
                    <a:lnTo>
                      <a:pt x="311" y="140"/>
                    </a:lnTo>
                    <a:lnTo>
                      <a:pt x="311" y="142"/>
                    </a:lnTo>
                    <a:lnTo>
                      <a:pt x="302" y="144"/>
                    </a:lnTo>
                    <a:lnTo>
                      <a:pt x="296" y="144"/>
                    </a:lnTo>
                    <a:lnTo>
                      <a:pt x="288" y="144"/>
                    </a:lnTo>
                    <a:lnTo>
                      <a:pt x="284" y="144"/>
                    </a:lnTo>
                    <a:lnTo>
                      <a:pt x="275" y="148"/>
                    </a:lnTo>
                    <a:lnTo>
                      <a:pt x="277" y="154"/>
                    </a:lnTo>
                    <a:lnTo>
                      <a:pt x="278" y="154"/>
                    </a:lnTo>
                    <a:lnTo>
                      <a:pt x="278" y="163"/>
                    </a:lnTo>
                    <a:lnTo>
                      <a:pt x="275" y="171"/>
                    </a:lnTo>
                    <a:lnTo>
                      <a:pt x="269" y="181"/>
                    </a:lnTo>
                    <a:lnTo>
                      <a:pt x="265" y="194"/>
                    </a:lnTo>
                    <a:lnTo>
                      <a:pt x="263" y="196"/>
                    </a:lnTo>
                    <a:lnTo>
                      <a:pt x="263" y="200"/>
                    </a:lnTo>
                    <a:lnTo>
                      <a:pt x="261" y="202"/>
                    </a:lnTo>
                    <a:lnTo>
                      <a:pt x="259" y="206"/>
                    </a:lnTo>
                    <a:lnTo>
                      <a:pt x="257" y="208"/>
                    </a:lnTo>
                    <a:lnTo>
                      <a:pt x="255" y="215"/>
                    </a:lnTo>
                    <a:lnTo>
                      <a:pt x="255" y="223"/>
                    </a:lnTo>
                    <a:lnTo>
                      <a:pt x="255" y="223"/>
                    </a:lnTo>
                    <a:lnTo>
                      <a:pt x="255" y="227"/>
                    </a:lnTo>
                    <a:lnTo>
                      <a:pt x="255" y="229"/>
                    </a:lnTo>
                    <a:lnTo>
                      <a:pt x="255" y="231"/>
                    </a:lnTo>
                    <a:lnTo>
                      <a:pt x="254" y="238"/>
                    </a:lnTo>
                    <a:lnTo>
                      <a:pt x="250" y="242"/>
                    </a:lnTo>
                    <a:lnTo>
                      <a:pt x="71" y="221"/>
                    </a:lnTo>
                    <a:lnTo>
                      <a:pt x="0" y="139"/>
                    </a:lnTo>
                    <a:lnTo>
                      <a:pt x="0" y="129"/>
                    </a:lnTo>
                    <a:lnTo>
                      <a:pt x="4" y="127"/>
                    </a:lnTo>
                    <a:lnTo>
                      <a:pt x="10" y="129"/>
                    </a:lnTo>
                    <a:lnTo>
                      <a:pt x="13" y="135"/>
                    </a:lnTo>
                    <a:lnTo>
                      <a:pt x="13" y="137"/>
                    </a:lnTo>
                    <a:lnTo>
                      <a:pt x="13" y="137"/>
                    </a:lnTo>
                    <a:lnTo>
                      <a:pt x="15" y="142"/>
                    </a:lnTo>
                    <a:lnTo>
                      <a:pt x="15" y="146"/>
                    </a:lnTo>
                    <a:lnTo>
                      <a:pt x="17" y="146"/>
                    </a:lnTo>
                    <a:lnTo>
                      <a:pt x="19" y="148"/>
                    </a:lnTo>
                    <a:lnTo>
                      <a:pt x="25" y="148"/>
                    </a:lnTo>
                    <a:lnTo>
                      <a:pt x="37" y="150"/>
                    </a:lnTo>
                    <a:lnTo>
                      <a:pt x="44" y="148"/>
                    </a:lnTo>
                    <a:lnTo>
                      <a:pt x="46" y="148"/>
                    </a:lnTo>
                    <a:lnTo>
                      <a:pt x="48" y="148"/>
                    </a:lnTo>
                    <a:lnTo>
                      <a:pt x="54" y="146"/>
                    </a:lnTo>
                    <a:lnTo>
                      <a:pt x="60" y="142"/>
                    </a:lnTo>
                    <a:lnTo>
                      <a:pt x="67" y="139"/>
                    </a:lnTo>
                    <a:lnTo>
                      <a:pt x="71" y="133"/>
                    </a:lnTo>
                    <a:lnTo>
                      <a:pt x="73" y="133"/>
                    </a:lnTo>
                    <a:lnTo>
                      <a:pt x="75" y="135"/>
                    </a:lnTo>
                    <a:lnTo>
                      <a:pt x="77" y="137"/>
                    </a:lnTo>
                    <a:lnTo>
                      <a:pt x="85" y="137"/>
                    </a:lnTo>
                    <a:lnTo>
                      <a:pt x="96" y="137"/>
                    </a:lnTo>
                    <a:lnTo>
                      <a:pt x="104" y="139"/>
                    </a:lnTo>
                    <a:lnTo>
                      <a:pt x="106" y="139"/>
                    </a:lnTo>
                    <a:lnTo>
                      <a:pt x="109" y="137"/>
                    </a:lnTo>
                    <a:lnTo>
                      <a:pt x="115" y="137"/>
                    </a:lnTo>
                    <a:lnTo>
                      <a:pt x="123" y="139"/>
                    </a:lnTo>
                    <a:lnTo>
                      <a:pt x="129" y="139"/>
                    </a:lnTo>
                    <a:lnTo>
                      <a:pt x="133" y="139"/>
                    </a:lnTo>
                    <a:lnTo>
                      <a:pt x="136" y="140"/>
                    </a:lnTo>
                    <a:lnTo>
                      <a:pt x="138" y="142"/>
                    </a:lnTo>
                    <a:lnTo>
                      <a:pt x="140" y="142"/>
                    </a:lnTo>
                    <a:lnTo>
                      <a:pt x="140" y="144"/>
                    </a:lnTo>
                    <a:lnTo>
                      <a:pt x="161" y="142"/>
                    </a:lnTo>
                    <a:lnTo>
                      <a:pt x="179" y="137"/>
                    </a:lnTo>
                    <a:lnTo>
                      <a:pt x="182" y="133"/>
                    </a:lnTo>
                    <a:lnTo>
                      <a:pt x="186" y="131"/>
                    </a:lnTo>
                    <a:lnTo>
                      <a:pt x="196" y="129"/>
                    </a:lnTo>
                    <a:lnTo>
                      <a:pt x="200" y="127"/>
                    </a:lnTo>
                    <a:lnTo>
                      <a:pt x="202" y="123"/>
                    </a:lnTo>
                    <a:lnTo>
                      <a:pt x="204" y="121"/>
                    </a:lnTo>
                    <a:lnTo>
                      <a:pt x="204" y="117"/>
                    </a:lnTo>
                    <a:lnTo>
                      <a:pt x="206" y="115"/>
                    </a:lnTo>
                    <a:lnTo>
                      <a:pt x="207" y="115"/>
                    </a:lnTo>
                    <a:lnTo>
                      <a:pt x="209" y="115"/>
                    </a:lnTo>
                    <a:lnTo>
                      <a:pt x="217" y="100"/>
                    </a:lnTo>
                    <a:lnTo>
                      <a:pt x="215" y="96"/>
                    </a:lnTo>
                    <a:lnTo>
                      <a:pt x="215" y="94"/>
                    </a:lnTo>
                    <a:lnTo>
                      <a:pt x="219" y="90"/>
                    </a:lnTo>
                    <a:lnTo>
                      <a:pt x="236" y="79"/>
                    </a:lnTo>
                    <a:lnTo>
                      <a:pt x="240" y="79"/>
                    </a:lnTo>
                    <a:lnTo>
                      <a:pt x="240" y="77"/>
                    </a:lnTo>
                    <a:lnTo>
                      <a:pt x="244" y="75"/>
                    </a:lnTo>
                    <a:lnTo>
                      <a:pt x="244" y="75"/>
                    </a:lnTo>
                    <a:lnTo>
                      <a:pt x="250" y="71"/>
                    </a:lnTo>
                    <a:lnTo>
                      <a:pt x="252" y="67"/>
                    </a:lnTo>
                    <a:lnTo>
                      <a:pt x="254" y="65"/>
                    </a:lnTo>
                    <a:lnTo>
                      <a:pt x="254" y="64"/>
                    </a:lnTo>
                    <a:lnTo>
                      <a:pt x="255" y="64"/>
                    </a:lnTo>
                    <a:lnTo>
                      <a:pt x="255" y="62"/>
                    </a:lnTo>
                    <a:lnTo>
                      <a:pt x="257" y="60"/>
                    </a:lnTo>
                    <a:lnTo>
                      <a:pt x="261" y="56"/>
                    </a:lnTo>
                    <a:lnTo>
                      <a:pt x="263" y="56"/>
                    </a:lnTo>
                    <a:lnTo>
                      <a:pt x="263" y="54"/>
                    </a:lnTo>
                    <a:lnTo>
                      <a:pt x="265" y="50"/>
                    </a:lnTo>
                    <a:lnTo>
                      <a:pt x="269" y="48"/>
                    </a:lnTo>
                    <a:lnTo>
                      <a:pt x="271" y="48"/>
                    </a:lnTo>
                    <a:lnTo>
                      <a:pt x="273" y="48"/>
                    </a:lnTo>
                    <a:lnTo>
                      <a:pt x="275" y="44"/>
                    </a:lnTo>
                    <a:lnTo>
                      <a:pt x="275" y="42"/>
                    </a:lnTo>
                    <a:lnTo>
                      <a:pt x="277" y="41"/>
                    </a:lnTo>
                    <a:lnTo>
                      <a:pt x="277" y="39"/>
                    </a:lnTo>
                    <a:lnTo>
                      <a:pt x="278" y="37"/>
                    </a:lnTo>
                    <a:lnTo>
                      <a:pt x="278" y="35"/>
                    </a:lnTo>
                    <a:lnTo>
                      <a:pt x="278" y="37"/>
                    </a:lnTo>
                    <a:lnTo>
                      <a:pt x="278" y="39"/>
                    </a:lnTo>
                    <a:lnTo>
                      <a:pt x="278" y="39"/>
                    </a:lnTo>
                    <a:lnTo>
                      <a:pt x="280" y="39"/>
                    </a:lnTo>
                    <a:lnTo>
                      <a:pt x="284" y="39"/>
                    </a:lnTo>
                    <a:lnTo>
                      <a:pt x="284" y="37"/>
                    </a:lnTo>
                    <a:lnTo>
                      <a:pt x="284" y="35"/>
                    </a:lnTo>
                    <a:lnTo>
                      <a:pt x="288" y="33"/>
                    </a:lnTo>
                    <a:lnTo>
                      <a:pt x="292" y="31"/>
                    </a:lnTo>
                    <a:lnTo>
                      <a:pt x="300" y="25"/>
                    </a:lnTo>
                    <a:lnTo>
                      <a:pt x="311" y="14"/>
                    </a:lnTo>
                    <a:lnTo>
                      <a:pt x="313" y="12"/>
                    </a:lnTo>
                    <a:lnTo>
                      <a:pt x="315" y="4"/>
                    </a:lnTo>
                    <a:lnTo>
                      <a:pt x="315" y="2"/>
                    </a:lnTo>
                    <a:lnTo>
                      <a:pt x="321" y="0"/>
                    </a:lnTo>
                    <a:lnTo>
                      <a:pt x="323" y="6"/>
                    </a:lnTo>
                    <a:lnTo>
                      <a:pt x="321" y="14"/>
                    </a:lnTo>
                    <a:lnTo>
                      <a:pt x="319" y="17"/>
                    </a:lnTo>
                    <a:lnTo>
                      <a:pt x="319" y="25"/>
                    </a:lnTo>
                    <a:lnTo>
                      <a:pt x="321" y="29"/>
                    </a:lnTo>
                    <a:lnTo>
                      <a:pt x="321" y="29"/>
                    </a:lnTo>
                    <a:lnTo>
                      <a:pt x="323" y="31"/>
                    </a:lnTo>
                    <a:lnTo>
                      <a:pt x="326" y="33"/>
                    </a:lnTo>
                    <a:lnTo>
                      <a:pt x="328" y="31"/>
                    </a:lnTo>
                    <a:lnTo>
                      <a:pt x="332" y="33"/>
                    </a:lnTo>
                    <a:lnTo>
                      <a:pt x="334" y="35"/>
                    </a:lnTo>
                    <a:lnTo>
                      <a:pt x="336" y="41"/>
                    </a:lnTo>
                    <a:lnTo>
                      <a:pt x="336" y="44"/>
                    </a:lnTo>
                    <a:lnTo>
                      <a:pt x="334" y="46"/>
                    </a:lnTo>
                    <a:close/>
                    <a:moveTo>
                      <a:pt x="156" y="139"/>
                    </a:moveTo>
                    <a:lnTo>
                      <a:pt x="148" y="135"/>
                    </a:lnTo>
                    <a:lnTo>
                      <a:pt x="146" y="135"/>
                    </a:lnTo>
                    <a:lnTo>
                      <a:pt x="146" y="137"/>
                    </a:lnTo>
                    <a:lnTo>
                      <a:pt x="144" y="137"/>
                    </a:lnTo>
                    <a:lnTo>
                      <a:pt x="144" y="135"/>
                    </a:lnTo>
                    <a:lnTo>
                      <a:pt x="144" y="135"/>
                    </a:lnTo>
                    <a:lnTo>
                      <a:pt x="144" y="135"/>
                    </a:lnTo>
                    <a:lnTo>
                      <a:pt x="144" y="133"/>
                    </a:lnTo>
                    <a:lnTo>
                      <a:pt x="150" y="131"/>
                    </a:lnTo>
                    <a:lnTo>
                      <a:pt x="159" y="127"/>
                    </a:lnTo>
                    <a:lnTo>
                      <a:pt x="167" y="133"/>
                    </a:lnTo>
                    <a:lnTo>
                      <a:pt x="167" y="135"/>
                    </a:lnTo>
                    <a:lnTo>
                      <a:pt x="167" y="137"/>
                    </a:lnTo>
                    <a:lnTo>
                      <a:pt x="165" y="137"/>
                    </a:lnTo>
                    <a:lnTo>
                      <a:pt x="163" y="137"/>
                    </a:lnTo>
                    <a:lnTo>
                      <a:pt x="157" y="137"/>
                    </a:lnTo>
                    <a:lnTo>
                      <a:pt x="156" y="139"/>
                    </a:lnTo>
                    <a:close/>
                    <a:moveTo>
                      <a:pt x="204" y="117"/>
                    </a:moveTo>
                    <a:lnTo>
                      <a:pt x="192" y="114"/>
                    </a:lnTo>
                    <a:lnTo>
                      <a:pt x="198" y="110"/>
                    </a:lnTo>
                    <a:lnTo>
                      <a:pt x="204" y="117"/>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62" name="Freeform 35">
                <a:extLst>
                  <a:ext uri="{FF2B5EF4-FFF2-40B4-BE49-F238E27FC236}">
                    <a16:creationId xmlns:a16="http://schemas.microsoft.com/office/drawing/2014/main" id="{438ABE6C-9687-4104-9AF2-B68B8F231ECC}"/>
                  </a:ext>
                </a:extLst>
              </p:cNvPr>
              <p:cNvSpPr>
                <a:spLocks noEditPoints="1"/>
              </p:cNvSpPr>
              <p:nvPr/>
            </p:nvSpPr>
            <p:spPr bwMode="gray">
              <a:xfrm>
                <a:off x="4428454" y="4183038"/>
                <a:ext cx="39580" cy="79159"/>
              </a:xfrm>
              <a:custGeom>
                <a:avLst/>
                <a:gdLst/>
                <a:ahLst/>
                <a:cxnLst>
                  <a:cxn ang="0">
                    <a:pos x="12" y="9"/>
                  </a:cxn>
                  <a:cxn ang="0">
                    <a:pos x="12" y="11"/>
                  </a:cxn>
                  <a:cxn ang="0">
                    <a:pos x="12" y="13"/>
                  </a:cxn>
                  <a:cxn ang="0">
                    <a:pos x="12" y="21"/>
                  </a:cxn>
                  <a:cxn ang="0">
                    <a:pos x="12" y="29"/>
                  </a:cxn>
                  <a:cxn ang="0">
                    <a:pos x="10" y="30"/>
                  </a:cxn>
                  <a:cxn ang="0">
                    <a:pos x="8" y="32"/>
                  </a:cxn>
                  <a:cxn ang="0">
                    <a:pos x="2" y="23"/>
                  </a:cxn>
                  <a:cxn ang="0">
                    <a:pos x="0" y="21"/>
                  </a:cxn>
                  <a:cxn ang="0">
                    <a:pos x="2" y="21"/>
                  </a:cxn>
                  <a:cxn ang="0">
                    <a:pos x="2" y="17"/>
                  </a:cxn>
                  <a:cxn ang="0">
                    <a:pos x="2" y="15"/>
                  </a:cxn>
                  <a:cxn ang="0">
                    <a:pos x="2" y="13"/>
                  </a:cxn>
                  <a:cxn ang="0">
                    <a:pos x="0" y="5"/>
                  </a:cxn>
                  <a:cxn ang="0">
                    <a:pos x="0" y="4"/>
                  </a:cxn>
                  <a:cxn ang="0">
                    <a:pos x="4" y="2"/>
                  </a:cxn>
                  <a:cxn ang="0">
                    <a:pos x="6" y="4"/>
                  </a:cxn>
                  <a:cxn ang="0">
                    <a:pos x="10" y="2"/>
                  </a:cxn>
                  <a:cxn ang="0">
                    <a:pos x="12" y="5"/>
                  </a:cxn>
                  <a:cxn ang="0">
                    <a:pos x="8" y="5"/>
                  </a:cxn>
                  <a:cxn ang="0">
                    <a:pos x="8" y="7"/>
                  </a:cxn>
                  <a:cxn ang="0">
                    <a:pos x="23" y="50"/>
                  </a:cxn>
                  <a:cxn ang="0">
                    <a:pos x="21" y="48"/>
                  </a:cxn>
                  <a:cxn ang="0">
                    <a:pos x="21" y="42"/>
                  </a:cxn>
                  <a:cxn ang="0">
                    <a:pos x="21" y="40"/>
                  </a:cxn>
                  <a:cxn ang="0">
                    <a:pos x="23" y="40"/>
                  </a:cxn>
                  <a:cxn ang="0">
                    <a:pos x="25" y="40"/>
                  </a:cxn>
                  <a:cxn ang="0">
                    <a:pos x="23" y="42"/>
                  </a:cxn>
                  <a:cxn ang="0">
                    <a:pos x="21" y="48"/>
                  </a:cxn>
                  <a:cxn ang="0">
                    <a:pos x="14" y="2"/>
                  </a:cxn>
                  <a:cxn ang="0">
                    <a:pos x="12" y="2"/>
                  </a:cxn>
                  <a:cxn ang="0">
                    <a:pos x="12" y="0"/>
                  </a:cxn>
                  <a:cxn ang="0">
                    <a:pos x="14" y="0"/>
                  </a:cxn>
                  <a:cxn ang="0">
                    <a:pos x="14" y="2"/>
                  </a:cxn>
                </a:cxnLst>
                <a:rect l="0" t="0" r="r" b="b"/>
                <a:pathLst>
                  <a:path w="25" h="50">
                    <a:moveTo>
                      <a:pt x="10" y="9"/>
                    </a:moveTo>
                    <a:lnTo>
                      <a:pt x="12" y="9"/>
                    </a:lnTo>
                    <a:lnTo>
                      <a:pt x="12" y="11"/>
                    </a:lnTo>
                    <a:lnTo>
                      <a:pt x="12" y="11"/>
                    </a:lnTo>
                    <a:lnTo>
                      <a:pt x="12" y="11"/>
                    </a:lnTo>
                    <a:lnTo>
                      <a:pt x="12" y="13"/>
                    </a:lnTo>
                    <a:lnTo>
                      <a:pt x="12" y="15"/>
                    </a:lnTo>
                    <a:lnTo>
                      <a:pt x="12" y="21"/>
                    </a:lnTo>
                    <a:lnTo>
                      <a:pt x="12" y="21"/>
                    </a:lnTo>
                    <a:lnTo>
                      <a:pt x="12" y="29"/>
                    </a:lnTo>
                    <a:lnTo>
                      <a:pt x="12" y="30"/>
                    </a:lnTo>
                    <a:lnTo>
                      <a:pt x="10" y="30"/>
                    </a:lnTo>
                    <a:lnTo>
                      <a:pt x="10" y="30"/>
                    </a:lnTo>
                    <a:lnTo>
                      <a:pt x="8" y="32"/>
                    </a:lnTo>
                    <a:lnTo>
                      <a:pt x="8" y="32"/>
                    </a:lnTo>
                    <a:lnTo>
                      <a:pt x="2" y="23"/>
                    </a:lnTo>
                    <a:lnTo>
                      <a:pt x="0" y="23"/>
                    </a:lnTo>
                    <a:lnTo>
                      <a:pt x="0" y="21"/>
                    </a:lnTo>
                    <a:lnTo>
                      <a:pt x="0" y="21"/>
                    </a:lnTo>
                    <a:lnTo>
                      <a:pt x="2" y="21"/>
                    </a:lnTo>
                    <a:lnTo>
                      <a:pt x="2" y="19"/>
                    </a:lnTo>
                    <a:lnTo>
                      <a:pt x="2" y="17"/>
                    </a:lnTo>
                    <a:lnTo>
                      <a:pt x="2" y="17"/>
                    </a:lnTo>
                    <a:lnTo>
                      <a:pt x="2" y="15"/>
                    </a:lnTo>
                    <a:lnTo>
                      <a:pt x="2" y="15"/>
                    </a:lnTo>
                    <a:lnTo>
                      <a:pt x="2" y="13"/>
                    </a:lnTo>
                    <a:lnTo>
                      <a:pt x="2" y="11"/>
                    </a:lnTo>
                    <a:lnTo>
                      <a:pt x="0" y="5"/>
                    </a:lnTo>
                    <a:lnTo>
                      <a:pt x="0" y="4"/>
                    </a:lnTo>
                    <a:lnTo>
                      <a:pt x="0" y="4"/>
                    </a:lnTo>
                    <a:lnTo>
                      <a:pt x="2" y="4"/>
                    </a:lnTo>
                    <a:lnTo>
                      <a:pt x="4" y="2"/>
                    </a:lnTo>
                    <a:lnTo>
                      <a:pt x="4" y="2"/>
                    </a:lnTo>
                    <a:lnTo>
                      <a:pt x="6" y="4"/>
                    </a:lnTo>
                    <a:lnTo>
                      <a:pt x="8" y="4"/>
                    </a:lnTo>
                    <a:lnTo>
                      <a:pt x="10" y="2"/>
                    </a:lnTo>
                    <a:lnTo>
                      <a:pt x="10" y="4"/>
                    </a:lnTo>
                    <a:lnTo>
                      <a:pt x="12" y="5"/>
                    </a:lnTo>
                    <a:lnTo>
                      <a:pt x="10" y="5"/>
                    </a:lnTo>
                    <a:lnTo>
                      <a:pt x="8" y="5"/>
                    </a:lnTo>
                    <a:lnTo>
                      <a:pt x="8" y="5"/>
                    </a:lnTo>
                    <a:lnTo>
                      <a:pt x="8" y="7"/>
                    </a:lnTo>
                    <a:lnTo>
                      <a:pt x="10" y="9"/>
                    </a:lnTo>
                    <a:moveTo>
                      <a:pt x="23" y="50"/>
                    </a:moveTo>
                    <a:lnTo>
                      <a:pt x="21" y="48"/>
                    </a:lnTo>
                    <a:lnTo>
                      <a:pt x="21" y="48"/>
                    </a:lnTo>
                    <a:lnTo>
                      <a:pt x="21" y="48"/>
                    </a:lnTo>
                    <a:lnTo>
                      <a:pt x="21" y="42"/>
                    </a:lnTo>
                    <a:lnTo>
                      <a:pt x="21" y="42"/>
                    </a:lnTo>
                    <a:lnTo>
                      <a:pt x="21" y="40"/>
                    </a:lnTo>
                    <a:lnTo>
                      <a:pt x="21" y="40"/>
                    </a:lnTo>
                    <a:lnTo>
                      <a:pt x="23" y="40"/>
                    </a:lnTo>
                    <a:lnTo>
                      <a:pt x="25" y="38"/>
                    </a:lnTo>
                    <a:lnTo>
                      <a:pt x="25" y="40"/>
                    </a:lnTo>
                    <a:lnTo>
                      <a:pt x="23" y="42"/>
                    </a:lnTo>
                    <a:lnTo>
                      <a:pt x="23" y="42"/>
                    </a:lnTo>
                    <a:lnTo>
                      <a:pt x="21" y="44"/>
                    </a:lnTo>
                    <a:lnTo>
                      <a:pt x="21" y="48"/>
                    </a:lnTo>
                    <a:lnTo>
                      <a:pt x="23" y="50"/>
                    </a:lnTo>
                    <a:moveTo>
                      <a:pt x="14" y="2"/>
                    </a:moveTo>
                    <a:lnTo>
                      <a:pt x="12" y="2"/>
                    </a:lnTo>
                    <a:lnTo>
                      <a:pt x="12" y="2"/>
                    </a:lnTo>
                    <a:lnTo>
                      <a:pt x="12" y="0"/>
                    </a:lnTo>
                    <a:lnTo>
                      <a:pt x="12" y="0"/>
                    </a:lnTo>
                    <a:lnTo>
                      <a:pt x="14" y="0"/>
                    </a:lnTo>
                    <a:lnTo>
                      <a:pt x="14" y="0"/>
                    </a:lnTo>
                    <a:lnTo>
                      <a:pt x="14" y="2"/>
                    </a:lnTo>
                    <a:lnTo>
                      <a:pt x="14" y="2"/>
                    </a:lnTo>
                  </a:path>
                </a:pathLst>
              </a:custGeom>
              <a:grpFill/>
              <a:ln w="3175">
                <a:solidFill>
                  <a:sysClr val="window" lastClr="FFFFFF">
                    <a:lumMod val="7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63" name="Freeform 40">
                <a:extLst>
                  <a:ext uri="{FF2B5EF4-FFF2-40B4-BE49-F238E27FC236}">
                    <a16:creationId xmlns:a16="http://schemas.microsoft.com/office/drawing/2014/main" id="{D2FCA52B-E4DE-4ADA-BE73-719E2BFAB8DC}"/>
                  </a:ext>
                </a:extLst>
              </p:cNvPr>
              <p:cNvSpPr>
                <a:spLocks/>
              </p:cNvSpPr>
              <p:nvPr/>
            </p:nvSpPr>
            <p:spPr bwMode="gray">
              <a:xfrm>
                <a:off x="4588700" y="4155083"/>
                <a:ext cx="94991" cy="177317"/>
              </a:xfrm>
              <a:custGeom>
                <a:avLst/>
                <a:gdLst/>
                <a:ahLst/>
                <a:cxnLst>
                  <a:cxn ang="0">
                    <a:pos x="48" y="104"/>
                  </a:cxn>
                  <a:cxn ang="0">
                    <a:pos x="41" y="110"/>
                  </a:cxn>
                  <a:cxn ang="0">
                    <a:pos x="43" y="106"/>
                  </a:cxn>
                  <a:cxn ang="0">
                    <a:pos x="37" y="104"/>
                  </a:cxn>
                  <a:cxn ang="0">
                    <a:pos x="33" y="106"/>
                  </a:cxn>
                  <a:cxn ang="0">
                    <a:pos x="31" y="110"/>
                  </a:cxn>
                  <a:cxn ang="0">
                    <a:pos x="16" y="110"/>
                  </a:cxn>
                  <a:cxn ang="0">
                    <a:pos x="6" y="98"/>
                  </a:cxn>
                  <a:cxn ang="0">
                    <a:pos x="8" y="94"/>
                  </a:cxn>
                  <a:cxn ang="0">
                    <a:pos x="8" y="87"/>
                  </a:cxn>
                  <a:cxn ang="0">
                    <a:pos x="2" y="71"/>
                  </a:cxn>
                  <a:cxn ang="0">
                    <a:pos x="0" y="68"/>
                  </a:cxn>
                  <a:cxn ang="0">
                    <a:pos x="0" y="50"/>
                  </a:cxn>
                  <a:cxn ang="0">
                    <a:pos x="2" y="45"/>
                  </a:cxn>
                  <a:cxn ang="0">
                    <a:pos x="4" y="48"/>
                  </a:cxn>
                  <a:cxn ang="0">
                    <a:pos x="6" y="46"/>
                  </a:cxn>
                  <a:cxn ang="0">
                    <a:pos x="6" y="39"/>
                  </a:cxn>
                  <a:cxn ang="0">
                    <a:pos x="14" y="39"/>
                  </a:cxn>
                  <a:cxn ang="0">
                    <a:pos x="14" y="37"/>
                  </a:cxn>
                  <a:cxn ang="0">
                    <a:pos x="10" y="35"/>
                  </a:cxn>
                  <a:cxn ang="0">
                    <a:pos x="10" y="29"/>
                  </a:cxn>
                  <a:cxn ang="0">
                    <a:pos x="14" y="23"/>
                  </a:cxn>
                  <a:cxn ang="0">
                    <a:pos x="16" y="23"/>
                  </a:cxn>
                  <a:cxn ang="0">
                    <a:pos x="16" y="23"/>
                  </a:cxn>
                  <a:cxn ang="0">
                    <a:pos x="14" y="20"/>
                  </a:cxn>
                  <a:cxn ang="0">
                    <a:pos x="20" y="8"/>
                  </a:cxn>
                  <a:cxn ang="0">
                    <a:pos x="35" y="0"/>
                  </a:cxn>
                  <a:cxn ang="0">
                    <a:pos x="41" y="2"/>
                  </a:cxn>
                  <a:cxn ang="0">
                    <a:pos x="43" y="8"/>
                  </a:cxn>
                  <a:cxn ang="0">
                    <a:pos x="46" y="14"/>
                  </a:cxn>
                  <a:cxn ang="0">
                    <a:pos x="52" y="14"/>
                  </a:cxn>
                  <a:cxn ang="0">
                    <a:pos x="60" y="25"/>
                  </a:cxn>
                  <a:cxn ang="0">
                    <a:pos x="58" y="31"/>
                  </a:cxn>
                  <a:cxn ang="0">
                    <a:pos x="54" y="37"/>
                  </a:cxn>
                  <a:cxn ang="0">
                    <a:pos x="52" y="39"/>
                  </a:cxn>
                  <a:cxn ang="0">
                    <a:pos x="50" y="45"/>
                  </a:cxn>
                  <a:cxn ang="0">
                    <a:pos x="52" y="48"/>
                  </a:cxn>
                  <a:cxn ang="0">
                    <a:pos x="54" y="54"/>
                  </a:cxn>
                  <a:cxn ang="0">
                    <a:pos x="54" y="60"/>
                  </a:cxn>
                  <a:cxn ang="0">
                    <a:pos x="58" y="60"/>
                  </a:cxn>
                  <a:cxn ang="0">
                    <a:pos x="60" y="64"/>
                  </a:cxn>
                  <a:cxn ang="0">
                    <a:pos x="60" y="68"/>
                  </a:cxn>
                  <a:cxn ang="0">
                    <a:pos x="58" y="85"/>
                  </a:cxn>
                  <a:cxn ang="0">
                    <a:pos x="52" y="91"/>
                  </a:cxn>
                  <a:cxn ang="0">
                    <a:pos x="50" y="96"/>
                  </a:cxn>
                </a:cxnLst>
                <a:rect l="0" t="0" r="r" b="b"/>
                <a:pathLst>
                  <a:path w="60" h="112">
                    <a:moveTo>
                      <a:pt x="50" y="96"/>
                    </a:moveTo>
                    <a:lnTo>
                      <a:pt x="48" y="104"/>
                    </a:lnTo>
                    <a:lnTo>
                      <a:pt x="43" y="110"/>
                    </a:lnTo>
                    <a:lnTo>
                      <a:pt x="41" y="110"/>
                    </a:lnTo>
                    <a:lnTo>
                      <a:pt x="41" y="108"/>
                    </a:lnTo>
                    <a:lnTo>
                      <a:pt x="43" y="106"/>
                    </a:lnTo>
                    <a:lnTo>
                      <a:pt x="41" y="104"/>
                    </a:lnTo>
                    <a:lnTo>
                      <a:pt x="37" y="104"/>
                    </a:lnTo>
                    <a:lnTo>
                      <a:pt x="33" y="106"/>
                    </a:lnTo>
                    <a:lnTo>
                      <a:pt x="33" y="106"/>
                    </a:lnTo>
                    <a:lnTo>
                      <a:pt x="31" y="108"/>
                    </a:lnTo>
                    <a:lnTo>
                      <a:pt x="31" y="110"/>
                    </a:lnTo>
                    <a:lnTo>
                      <a:pt x="25" y="112"/>
                    </a:lnTo>
                    <a:lnTo>
                      <a:pt x="16" y="110"/>
                    </a:lnTo>
                    <a:lnTo>
                      <a:pt x="8" y="102"/>
                    </a:lnTo>
                    <a:lnTo>
                      <a:pt x="6" y="98"/>
                    </a:lnTo>
                    <a:lnTo>
                      <a:pt x="6" y="96"/>
                    </a:lnTo>
                    <a:lnTo>
                      <a:pt x="8" y="94"/>
                    </a:lnTo>
                    <a:lnTo>
                      <a:pt x="8" y="89"/>
                    </a:lnTo>
                    <a:lnTo>
                      <a:pt x="8" y="87"/>
                    </a:lnTo>
                    <a:lnTo>
                      <a:pt x="4" y="75"/>
                    </a:lnTo>
                    <a:lnTo>
                      <a:pt x="2" y="71"/>
                    </a:lnTo>
                    <a:lnTo>
                      <a:pt x="2" y="71"/>
                    </a:lnTo>
                    <a:lnTo>
                      <a:pt x="0" y="68"/>
                    </a:lnTo>
                    <a:lnTo>
                      <a:pt x="0" y="62"/>
                    </a:lnTo>
                    <a:lnTo>
                      <a:pt x="0" y="50"/>
                    </a:lnTo>
                    <a:lnTo>
                      <a:pt x="0" y="45"/>
                    </a:lnTo>
                    <a:lnTo>
                      <a:pt x="2" y="45"/>
                    </a:lnTo>
                    <a:lnTo>
                      <a:pt x="4" y="46"/>
                    </a:lnTo>
                    <a:lnTo>
                      <a:pt x="4" y="48"/>
                    </a:lnTo>
                    <a:lnTo>
                      <a:pt x="6" y="48"/>
                    </a:lnTo>
                    <a:lnTo>
                      <a:pt x="6" y="46"/>
                    </a:lnTo>
                    <a:lnTo>
                      <a:pt x="6" y="41"/>
                    </a:lnTo>
                    <a:lnTo>
                      <a:pt x="6" y="39"/>
                    </a:lnTo>
                    <a:lnTo>
                      <a:pt x="12" y="39"/>
                    </a:lnTo>
                    <a:lnTo>
                      <a:pt x="14" y="39"/>
                    </a:lnTo>
                    <a:lnTo>
                      <a:pt x="16" y="35"/>
                    </a:lnTo>
                    <a:lnTo>
                      <a:pt x="14" y="37"/>
                    </a:lnTo>
                    <a:lnTo>
                      <a:pt x="12" y="37"/>
                    </a:lnTo>
                    <a:lnTo>
                      <a:pt x="10" y="35"/>
                    </a:lnTo>
                    <a:lnTo>
                      <a:pt x="10" y="29"/>
                    </a:lnTo>
                    <a:lnTo>
                      <a:pt x="10" y="29"/>
                    </a:lnTo>
                    <a:lnTo>
                      <a:pt x="10" y="25"/>
                    </a:lnTo>
                    <a:lnTo>
                      <a:pt x="14" y="23"/>
                    </a:lnTo>
                    <a:lnTo>
                      <a:pt x="14" y="25"/>
                    </a:lnTo>
                    <a:lnTo>
                      <a:pt x="16" y="23"/>
                    </a:lnTo>
                    <a:lnTo>
                      <a:pt x="16" y="23"/>
                    </a:lnTo>
                    <a:lnTo>
                      <a:pt x="16" y="23"/>
                    </a:lnTo>
                    <a:lnTo>
                      <a:pt x="14" y="21"/>
                    </a:lnTo>
                    <a:lnTo>
                      <a:pt x="14" y="20"/>
                    </a:lnTo>
                    <a:lnTo>
                      <a:pt x="18" y="12"/>
                    </a:lnTo>
                    <a:lnTo>
                      <a:pt x="20" y="8"/>
                    </a:lnTo>
                    <a:lnTo>
                      <a:pt x="29" y="2"/>
                    </a:lnTo>
                    <a:lnTo>
                      <a:pt x="35" y="0"/>
                    </a:lnTo>
                    <a:lnTo>
                      <a:pt x="39" y="2"/>
                    </a:lnTo>
                    <a:lnTo>
                      <a:pt x="41" y="2"/>
                    </a:lnTo>
                    <a:lnTo>
                      <a:pt x="43" y="4"/>
                    </a:lnTo>
                    <a:lnTo>
                      <a:pt x="43" y="8"/>
                    </a:lnTo>
                    <a:lnTo>
                      <a:pt x="45" y="14"/>
                    </a:lnTo>
                    <a:lnTo>
                      <a:pt x="46" y="14"/>
                    </a:lnTo>
                    <a:lnTo>
                      <a:pt x="50" y="14"/>
                    </a:lnTo>
                    <a:lnTo>
                      <a:pt x="52" y="14"/>
                    </a:lnTo>
                    <a:lnTo>
                      <a:pt x="58" y="18"/>
                    </a:lnTo>
                    <a:lnTo>
                      <a:pt x="60" y="25"/>
                    </a:lnTo>
                    <a:lnTo>
                      <a:pt x="60" y="27"/>
                    </a:lnTo>
                    <a:lnTo>
                      <a:pt x="58" y="31"/>
                    </a:lnTo>
                    <a:lnTo>
                      <a:pt x="56" y="37"/>
                    </a:lnTo>
                    <a:lnTo>
                      <a:pt x="54" y="37"/>
                    </a:lnTo>
                    <a:lnTo>
                      <a:pt x="52" y="37"/>
                    </a:lnTo>
                    <a:lnTo>
                      <a:pt x="52" y="39"/>
                    </a:lnTo>
                    <a:lnTo>
                      <a:pt x="52" y="43"/>
                    </a:lnTo>
                    <a:lnTo>
                      <a:pt x="50" y="45"/>
                    </a:lnTo>
                    <a:lnTo>
                      <a:pt x="52" y="46"/>
                    </a:lnTo>
                    <a:lnTo>
                      <a:pt x="52" y="48"/>
                    </a:lnTo>
                    <a:lnTo>
                      <a:pt x="54" y="50"/>
                    </a:lnTo>
                    <a:lnTo>
                      <a:pt x="54" y="54"/>
                    </a:lnTo>
                    <a:lnTo>
                      <a:pt x="54" y="58"/>
                    </a:lnTo>
                    <a:lnTo>
                      <a:pt x="54" y="60"/>
                    </a:lnTo>
                    <a:lnTo>
                      <a:pt x="54" y="60"/>
                    </a:lnTo>
                    <a:lnTo>
                      <a:pt x="58" y="60"/>
                    </a:lnTo>
                    <a:lnTo>
                      <a:pt x="60" y="62"/>
                    </a:lnTo>
                    <a:lnTo>
                      <a:pt x="60" y="64"/>
                    </a:lnTo>
                    <a:lnTo>
                      <a:pt x="60" y="66"/>
                    </a:lnTo>
                    <a:lnTo>
                      <a:pt x="60" y="68"/>
                    </a:lnTo>
                    <a:lnTo>
                      <a:pt x="60" y="79"/>
                    </a:lnTo>
                    <a:lnTo>
                      <a:pt x="58" y="85"/>
                    </a:lnTo>
                    <a:lnTo>
                      <a:pt x="54" y="89"/>
                    </a:lnTo>
                    <a:lnTo>
                      <a:pt x="52" y="91"/>
                    </a:lnTo>
                    <a:lnTo>
                      <a:pt x="50" y="96"/>
                    </a:lnTo>
                    <a:lnTo>
                      <a:pt x="50" y="96"/>
                    </a:lnTo>
                    <a:close/>
                  </a:path>
                </a:pathLst>
              </a:custGeom>
              <a:grpFill/>
              <a:ln w="3175">
                <a:solidFill>
                  <a:sysClr val="window" lastClr="FFFFFF">
                    <a:lumMod val="7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sp>
          <p:nvSpPr>
            <p:cNvPr id="23" name="Freeform 95">
              <a:extLst>
                <a:ext uri="{FF2B5EF4-FFF2-40B4-BE49-F238E27FC236}">
                  <a16:creationId xmlns:a16="http://schemas.microsoft.com/office/drawing/2014/main" id="{5C7FD015-C13F-4E22-82C8-0319D20CEB68}"/>
                </a:ext>
              </a:extLst>
            </p:cNvPr>
            <p:cNvSpPr>
              <a:spLocks noEditPoints="1"/>
            </p:cNvSpPr>
            <p:nvPr/>
          </p:nvSpPr>
          <p:spPr bwMode="gray">
            <a:xfrm>
              <a:off x="7014648" y="3590836"/>
              <a:ext cx="255799" cy="214920"/>
            </a:xfrm>
            <a:custGeom>
              <a:avLst/>
              <a:gdLst/>
              <a:ahLst/>
              <a:cxnLst>
                <a:cxn ang="0">
                  <a:pos x="64" y="77"/>
                </a:cxn>
                <a:cxn ang="0">
                  <a:pos x="17" y="71"/>
                </a:cxn>
                <a:cxn ang="0">
                  <a:pos x="0" y="70"/>
                </a:cxn>
                <a:cxn ang="0">
                  <a:pos x="0" y="70"/>
                </a:cxn>
                <a:cxn ang="0">
                  <a:pos x="2" y="68"/>
                </a:cxn>
                <a:cxn ang="0">
                  <a:pos x="6" y="64"/>
                </a:cxn>
                <a:cxn ang="0">
                  <a:pos x="10" y="60"/>
                </a:cxn>
                <a:cxn ang="0">
                  <a:pos x="16" y="52"/>
                </a:cxn>
                <a:cxn ang="0">
                  <a:pos x="21" y="43"/>
                </a:cxn>
                <a:cxn ang="0">
                  <a:pos x="27" y="37"/>
                </a:cxn>
                <a:cxn ang="0">
                  <a:pos x="35" y="22"/>
                </a:cxn>
                <a:cxn ang="0">
                  <a:pos x="39" y="10"/>
                </a:cxn>
                <a:cxn ang="0">
                  <a:pos x="42" y="6"/>
                </a:cxn>
                <a:cxn ang="0">
                  <a:pos x="46" y="4"/>
                </a:cxn>
                <a:cxn ang="0">
                  <a:pos x="60" y="0"/>
                </a:cxn>
                <a:cxn ang="0">
                  <a:pos x="83" y="0"/>
                </a:cxn>
                <a:cxn ang="0">
                  <a:pos x="98" y="6"/>
                </a:cxn>
                <a:cxn ang="0">
                  <a:pos x="100" y="16"/>
                </a:cxn>
                <a:cxn ang="0">
                  <a:pos x="102" y="22"/>
                </a:cxn>
                <a:cxn ang="0">
                  <a:pos x="106" y="25"/>
                </a:cxn>
                <a:cxn ang="0">
                  <a:pos x="112" y="33"/>
                </a:cxn>
                <a:cxn ang="0">
                  <a:pos x="112" y="39"/>
                </a:cxn>
                <a:cxn ang="0">
                  <a:pos x="108" y="37"/>
                </a:cxn>
                <a:cxn ang="0">
                  <a:pos x="100" y="33"/>
                </a:cxn>
                <a:cxn ang="0">
                  <a:pos x="81" y="48"/>
                </a:cxn>
                <a:cxn ang="0">
                  <a:pos x="88" y="54"/>
                </a:cxn>
                <a:cxn ang="0">
                  <a:pos x="92" y="54"/>
                </a:cxn>
                <a:cxn ang="0">
                  <a:pos x="96" y="52"/>
                </a:cxn>
                <a:cxn ang="0">
                  <a:pos x="100" y="48"/>
                </a:cxn>
                <a:cxn ang="0">
                  <a:pos x="102" y="50"/>
                </a:cxn>
                <a:cxn ang="0">
                  <a:pos x="108" y="60"/>
                </a:cxn>
                <a:cxn ang="0">
                  <a:pos x="110" y="70"/>
                </a:cxn>
                <a:cxn ang="0">
                  <a:pos x="113" y="79"/>
                </a:cxn>
                <a:cxn ang="0">
                  <a:pos x="121" y="89"/>
                </a:cxn>
                <a:cxn ang="0">
                  <a:pos x="127" y="96"/>
                </a:cxn>
                <a:cxn ang="0">
                  <a:pos x="127" y="100"/>
                </a:cxn>
                <a:cxn ang="0">
                  <a:pos x="123" y="108"/>
                </a:cxn>
                <a:cxn ang="0">
                  <a:pos x="75" y="104"/>
                </a:cxn>
                <a:cxn ang="0">
                  <a:pos x="71" y="98"/>
                </a:cxn>
                <a:cxn ang="0">
                  <a:pos x="71" y="93"/>
                </a:cxn>
                <a:cxn ang="0">
                  <a:pos x="69" y="87"/>
                </a:cxn>
                <a:cxn ang="0">
                  <a:pos x="64" y="77"/>
                </a:cxn>
                <a:cxn ang="0">
                  <a:pos x="115" y="10"/>
                </a:cxn>
                <a:cxn ang="0">
                  <a:pos x="121" y="16"/>
                </a:cxn>
                <a:cxn ang="0">
                  <a:pos x="125" y="22"/>
                </a:cxn>
                <a:cxn ang="0">
                  <a:pos x="127" y="25"/>
                </a:cxn>
                <a:cxn ang="0">
                  <a:pos x="127" y="27"/>
                </a:cxn>
                <a:cxn ang="0">
                  <a:pos x="125" y="29"/>
                </a:cxn>
                <a:cxn ang="0">
                  <a:pos x="123" y="31"/>
                </a:cxn>
                <a:cxn ang="0">
                  <a:pos x="119" y="33"/>
                </a:cxn>
                <a:cxn ang="0">
                  <a:pos x="117" y="35"/>
                </a:cxn>
                <a:cxn ang="0">
                  <a:pos x="115" y="35"/>
                </a:cxn>
                <a:cxn ang="0">
                  <a:pos x="113" y="35"/>
                </a:cxn>
                <a:cxn ang="0">
                  <a:pos x="113" y="33"/>
                </a:cxn>
                <a:cxn ang="0">
                  <a:pos x="112" y="12"/>
                </a:cxn>
                <a:cxn ang="0">
                  <a:pos x="110" y="8"/>
                </a:cxn>
                <a:cxn ang="0">
                  <a:pos x="113" y="8"/>
                </a:cxn>
              </a:cxnLst>
              <a:rect l="0" t="0" r="r" b="b"/>
              <a:pathLst>
                <a:path w="131" h="110">
                  <a:moveTo>
                    <a:pt x="64" y="77"/>
                  </a:moveTo>
                  <a:lnTo>
                    <a:pt x="64" y="77"/>
                  </a:lnTo>
                  <a:lnTo>
                    <a:pt x="31" y="73"/>
                  </a:lnTo>
                  <a:lnTo>
                    <a:pt x="17" y="71"/>
                  </a:lnTo>
                  <a:lnTo>
                    <a:pt x="2" y="70"/>
                  </a:lnTo>
                  <a:lnTo>
                    <a:pt x="0" y="70"/>
                  </a:lnTo>
                  <a:lnTo>
                    <a:pt x="0" y="70"/>
                  </a:lnTo>
                  <a:lnTo>
                    <a:pt x="0" y="70"/>
                  </a:lnTo>
                  <a:lnTo>
                    <a:pt x="0" y="68"/>
                  </a:lnTo>
                  <a:lnTo>
                    <a:pt x="2" y="68"/>
                  </a:lnTo>
                  <a:lnTo>
                    <a:pt x="4" y="66"/>
                  </a:lnTo>
                  <a:lnTo>
                    <a:pt x="6" y="64"/>
                  </a:lnTo>
                  <a:lnTo>
                    <a:pt x="8" y="64"/>
                  </a:lnTo>
                  <a:lnTo>
                    <a:pt x="10" y="60"/>
                  </a:lnTo>
                  <a:lnTo>
                    <a:pt x="12" y="58"/>
                  </a:lnTo>
                  <a:lnTo>
                    <a:pt x="16" y="52"/>
                  </a:lnTo>
                  <a:lnTo>
                    <a:pt x="19" y="47"/>
                  </a:lnTo>
                  <a:lnTo>
                    <a:pt x="21" y="43"/>
                  </a:lnTo>
                  <a:lnTo>
                    <a:pt x="25" y="39"/>
                  </a:lnTo>
                  <a:lnTo>
                    <a:pt x="27" y="37"/>
                  </a:lnTo>
                  <a:lnTo>
                    <a:pt x="29" y="31"/>
                  </a:lnTo>
                  <a:lnTo>
                    <a:pt x="35" y="22"/>
                  </a:lnTo>
                  <a:lnTo>
                    <a:pt x="39" y="14"/>
                  </a:lnTo>
                  <a:lnTo>
                    <a:pt x="39" y="10"/>
                  </a:lnTo>
                  <a:lnTo>
                    <a:pt x="40" y="8"/>
                  </a:lnTo>
                  <a:lnTo>
                    <a:pt x="42" y="6"/>
                  </a:lnTo>
                  <a:lnTo>
                    <a:pt x="42" y="6"/>
                  </a:lnTo>
                  <a:lnTo>
                    <a:pt x="46" y="4"/>
                  </a:lnTo>
                  <a:lnTo>
                    <a:pt x="56" y="0"/>
                  </a:lnTo>
                  <a:lnTo>
                    <a:pt x="60" y="0"/>
                  </a:lnTo>
                  <a:lnTo>
                    <a:pt x="62" y="0"/>
                  </a:lnTo>
                  <a:lnTo>
                    <a:pt x="83" y="0"/>
                  </a:lnTo>
                  <a:lnTo>
                    <a:pt x="96" y="6"/>
                  </a:lnTo>
                  <a:lnTo>
                    <a:pt x="98" y="6"/>
                  </a:lnTo>
                  <a:lnTo>
                    <a:pt x="98" y="8"/>
                  </a:lnTo>
                  <a:lnTo>
                    <a:pt x="100" y="16"/>
                  </a:lnTo>
                  <a:lnTo>
                    <a:pt x="100" y="18"/>
                  </a:lnTo>
                  <a:lnTo>
                    <a:pt x="102" y="22"/>
                  </a:lnTo>
                  <a:lnTo>
                    <a:pt x="104" y="23"/>
                  </a:lnTo>
                  <a:lnTo>
                    <a:pt x="106" y="25"/>
                  </a:lnTo>
                  <a:lnTo>
                    <a:pt x="108" y="27"/>
                  </a:lnTo>
                  <a:lnTo>
                    <a:pt x="112" y="33"/>
                  </a:lnTo>
                  <a:lnTo>
                    <a:pt x="113" y="37"/>
                  </a:lnTo>
                  <a:lnTo>
                    <a:pt x="112" y="39"/>
                  </a:lnTo>
                  <a:lnTo>
                    <a:pt x="108" y="37"/>
                  </a:lnTo>
                  <a:lnTo>
                    <a:pt x="108" y="37"/>
                  </a:lnTo>
                  <a:lnTo>
                    <a:pt x="102" y="33"/>
                  </a:lnTo>
                  <a:lnTo>
                    <a:pt x="100" y="33"/>
                  </a:lnTo>
                  <a:lnTo>
                    <a:pt x="98" y="33"/>
                  </a:lnTo>
                  <a:lnTo>
                    <a:pt x="81" y="48"/>
                  </a:lnTo>
                  <a:lnTo>
                    <a:pt x="81" y="50"/>
                  </a:lnTo>
                  <a:lnTo>
                    <a:pt x="88" y="54"/>
                  </a:lnTo>
                  <a:lnTo>
                    <a:pt x="90" y="54"/>
                  </a:lnTo>
                  <a:lnTo>
                    <a:pt x="92" y="54"/>
                  </a:lnTo>
                  <a:lnTo>
                    <a:pt x="92" y="52"/>
                  </a:lnTo>
                  <a:lnTo>
                    <a:pt x="96" y="52"/>
                  </a:lnTo>
                  <a:lnTo>
                    <a:pt x="98" y="50"/>
                  </a:lnTo>
                  <a:lnTo>
                    <a:pt x="100" y="48"/>
                  </a:lnTo>
                  <a:lnTo>
                    <a:pt x="100" y="50"/>
                  </a:lnTo>
                  <a:lnTo>
                    <a:pt x="102" y="50"/>
                  </a:lnTo>
                  <a:lnTo>
                    <a:pt x="104" y="52"/>
                  </a:lnTo>
                  <a:lnTo>
                    <a:pt x="108" y="60"/>
                  </a:lnTo>
                  <a:lnTo>
                    <a:pt x="108" y="62"/>
                  </a:lnTo>
                  <a:lnTo>
                    <a:pt x="110" y="70"/>
                  </a:lnTo>
                  <a:lnTo>
                    <a:pt x="112" y="75"/>
                  </a:lnTo>
                  <a:lnTo>
                    <a:pt x="113" y="79"/>
                  </a:lnTo>
                  <a:lnTo>
                    <a:pt x="113" y="79"/>
                  </a:lnTo>
                  <a:lnTo>
                    <a:pt x="121" y="89"/>
                  </a:lnTo>
                  <a:lnTo>
                    <a:pt x="127" y="95"/>
                  </a:lnTo>
                  <a:lnTo>
                    <a:pt x="127" y="96"/>
                  </a:lnTo>
                  <a:lnTo>
                    <a:pt x="129" y="98"/>
                  </a:lnTo>
                  <a:lnTo>
                    <a:pt x="127" y="100"/>
                  </a:lnTo>
                  <a:lnTo>
                    <a:pt x="131" y="108"/>
                  </a:lnTo>
                  <a:lnTo>
                    <a:pt x="123" y="108"/>
                  </a:lnTo>
                  <a:lnTo>
                    <a:pt x="79" y="110"/>
                  </a:lnTo>
                  <a:lnTo>
                    <a:pt x="75" y="104"/>
                  </a:lnTo>
                  <a:lnTo>
                    <a:pt x="73" y="102"/>
                  </a:lnTo>
                  <a:lnTo>
                    <a:pt x="71" y="98"/>
                  </a:lnTo>
                  <a:lnTo>
                    <a:pt x="71" y="96"/>
                  </a:lnTo>
                  <a:lnTo>
                    <a:pt x="71" y="93"/>
                  </a:lnTo>
                  <a:lnTo>
                    <a:pt x="71" y="91"/>
                  </a:lnTo>
                  <a:lnTo>
                    <a:pt x="69" y="87"/>
                  </a:lnTo>
                  <a:lnTo>
                    <a:pt x="67" y="83"/>
                  </a:lnTo>
                  <a:lnTo>
                    <a:pt x="64" y="77"/>
                  </a:lnTo>
                  <a:close/>
                  <a:moveTo>
                    <a:pt x="115" y="8"/>
                  </a:moveTo>
                  <a:lnTo>
                    <a:pt x="115" y="10"/>
                  </a:lnTo>
                  <a:lnTo>
                    <a:pt x="115" y="10"/>
                  </a:lnTo>
                  <a:lnTo>
                    <a:pt x="121" y="16"/>
                  </a:lnTo>
                  <a:lnTo>
                    <a:pt x="125" y="22"/>
                  </a:lnTo>
                  <a:lnTo>
                    <a:pt x="125" y="22"/>
                  </a:lnTo>
                  <a:lnTo>
                    <a:pt x="125" y="23"/>
                  </a:lnTo>
                  <a:lnTo>
                    <a:pt x="127" y="25"/>
                  </a:lnTo>
                  <a:lnTo>
                    <a:pt x="127" y="25"/>
                  </a:lnTo>
                  <a:lnTo>
                    <a:pt x="127" y="27"/>
                  </a:lnTo>
                  <a:lnTo>
                    <a:pt x="125" y="27"/>
                  </a:lnTo>
                  <a:lnTo>
                    <a:pt x="125" y="29"/>
                  </a:lnTo>
                  <a:lnTo>
                    <a:pt x="125" y="29"/>
                  </a:lnTo>
                  <a:lnTo>
                    <a:pt x="123" y="31"/>
                  </a:lnTo>
                  <a:lnTo>
                    <a:pt x="121" y="33"/>
                  </a:lnTo>
                  <a:lnTo>
                    <a:pt x="119" y="33"/>
                  </a:lnTo>
                  <a:lnTo>
                    <a:pt x="119" y="35"/>
                  </a:lnTo>
                  <a:lnTo>
                    <a:pt x="117" y="35"/>
                  </a:lnTo>
                  <a:lnTo>
                    <a:pt x="117" y="35"/>
                  </a:lnTo>
                  <a:lnTo>
                    <a:pt x="115" y="35"/>
                  </a:lnTo>
                  <a:lnTo>
                    <a:pt x="115" y="35"/>
                  </a:lnTo>
                  <a:lnTo>
                    <a:pt x="113" y="35"/>
                  </a:lnTo>
                  <a:lnTo>
                    <a:pt x="113" y="33"/>
                  </a:lnTo>
                  <a:lnTo>
                    <a:pt x="113" y="33"/>
                  </a:lnTo>
                  <a:lnTo>
                    <a:pt x="108" y="23"/>
                  </a:lnTo>
                  <a:lnTo>
                    <a:pt x="112" y="12"/>
                  </a:lnTo>
                  <a:lnTo>
                    <a:pt x="110" y="8"/>
                  </a:lnTo>
                  <a:lnTo>
                    <a:pt x="110" y="8"/>
                  </a:lnTo>
                  <a:lnTo>
                    <a:pt x="112" y="8"/>
                  </a:lnTo>
                  <a:lnTo>
                    <a:pt x="113" y="8"/>
                  </a:lnTo>
                  <a:lnTo>
                    <a:pt x="115" y="8"/>
                  </a:lnTo>
                  <a:close/>
                </a:path>
              </a:pathLst>
            </a:custGeom>
            <a:solidFill>
              <a:sysClr val="window" lastClr="FFFFFF">
                <a:lumMod val="95000"/>
              </a:sysClr>
            </a:solidFill>
            <a:ln w="3175">
              <a:solidFill>
                <a:srgbClr val="B3B3B3"/>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390CDF83-40C1-4190-9072-CDAAB27F7D91}"/>
                </a:ext>
              </a:extLst>
            </p:cNvPr>
            <p:cNvSpPr txBox="1"/>
            <p:nvPr/>
          </p:nvSpPr>
          <p:spPr>
            <a:xfrm>
              <a:off x="8747607" y="3140608"/>
              <a:ext cx="2579478" cy="1188978"/>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United Arab Emirates</a:t>
              </a:r>
              <a:b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ubai</a:t>
              </a:r>
              <a:r>
                <a:rPr kumimoji="0" lang="en-US" sz="800" b="0" i="1"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Abu Dhabi</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Fujaira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as Al-Khaima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Sharjah</a:t>
              </a:r>
            </a:p>
          </p:txBody>
        </p:sp>
        <p:sp>
          <p:nvSpPr>
            <p:cNvPr id="25" name="TextBox 24">
              <a:extLst>
                <a:ext uri="{FF2B5EF4-FFF2-40B4-BE49-F238E27FC236}">
                  <a16:creationId xmlns:a16="http://schemas.microsoft.com/office/drawing/2014/main" id="{8C2566AB-05C3-4048-AD8C-36F030BD4345}"/>
                </a:ext>
              </a:extLst>
            </p:cNvPr>
            <p:cNvSpPr txBox="1"/>
            <p:nvPr/>
          </p:nvSpPr>
          <p:spPr>
            <a:xfrm>
              <a:off x="8711661" y="3127613"/>
              <a:ext cx="476973" cy="468386"/>
            </a:xfrm>
            <a:prstGeom prst="rect">
              <a:avLst/>
            </a:prstGeom>
            <a:noFill/>
          </p:spPr>
          <p:txBody>
            <a:bodyPr wrap="square" lIns="45720" rIns="45720" rtlCol="0">
              <a:spAutoFit/>
            </a:bodyPr>
            <a:lstStyle/>
            <a:p>
              <a:pPr marL="0" marR="0" lvl="0" indent="0" defTabSz="914400" eaLnBrk="1" fontAlgn="auto" latinLnBrk="0" hangingPunct="1">
                <a:lnSpc>
                  <a:spcPct val="100000"/>
                </a:lnSpc>
                <a:spcBef>
                  <a:spcPts val="40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Qatar</a:t>
              </a:r>
              <a:b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oha</a:t>
              </a:r>
            </a:p>
          </p:txBody>
        </p:sp>
        <p:sp>
          <p:nvSpPr>
            <p:cNvPr id="26" name="TextBox 25">
              <a:extLst>
                <a:ext uri="{FF2B5EF4-FFF2-40B4-BE49-F238E27FC236}">
                  <a16:creationId xmlns:a16="http://schemas.microsoft.com/office/drawing/2014/main" id="{EFF4DEC8-AB52-4E33-88B8-BAA6E02F34D8}"/>
                </a:ext>
              </a:extLst>
            </p:cNvPr>
            <p:cNvSpPr txBox="1"/>
            <p:nvPr/>
          </p:nvSpPr>
          <p:spPr>
            <a:xfrm>
              <a:off x="7495780" y="3455827"/>
              <a:ext cx="1136825" cy="486399"/>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Bahrain</a:t>
              </a:r>
              <a:b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Manama</a:t>
              </a:r>
            </a:p>
          </p:txBody>
        </p:sp>
        <p:sp>
          <p:nvSpPr>
            <p:cNvPr id="27" name="TextBox 26">
              <a:extLst>
                <a:ext uri="{FF2B5EF4-FFF2-40B4-BE49-F238E27FC236}">
                  <a16:creationId xmlns:a16="http://schemas.microsoft.com/office/drawing/2014/main" id="{6F5F46BA-AE0E-4119-8D76-BA977BF74DDB}"/>
                </a:ext>
              </a:extLst>
            </p:cNvPr>
            <p:cNvSpPr txBox="1"/>
            <p:nvPr/>
          </p:nvSpPr>
          <p:spPr>
            <a:xfrm>
              <a:off x="3692633" y="5455978"/>
              <a:ext cx="1975760" cy="888731"/>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Kingdom of Saudi Arabia</a:t>
              </a:r>
            </a:p>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iyadh</a:t>
              </a:r>
              <a:br>
                <a:rPr kumimoji="0" lang="en-US" sz="800" b="0" i="1"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Jedda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Al Khobar</a:t>
              </a:r>
              <a:endParaRPr kumimoji="0" lang="en-US" sz="8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87A7A857-D675-4054-BC20-C155A71B5CA4}"/>
                </a:ext>
              </a:extLst>
            </p:cNvPr>
            <p:cNvSpPr txBox="1"/>
            <p:nvPr/>
          </p:nvSpPr>
          <p:spPr>
            <a:xfrm>
              <a:off x="8877682" y="4979631"/>
              <a:ext cx="1092517" cy="486400"/>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Oman</a:t>
              </a:r>
              <a:b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Muscat</a:t>
              </a:r>
            </a:p>
          </p:txBody>
        </p:sp>
        <p:sp>
          <p:nvSpPr>
            <p:cNvPr id="29" name="TextBox 28">
              <a:extLst>
                <a:ext uri="{FF2B5EF4-FFF2-40B4-BE49-F238E27FC236}">
                  <a16:creationId xmlns:a16="http://schemas.microsoft.com/office/drawing/2014/main" id="{E984163C-448B-4AF8-BC2E-16737DA84627}"/>
                </a:ext>
              </a:extLst>
            </p:cNvPr>
            <p:cNvSpPr txBox="1"/>
            <p:nvPr/>
          </p:nvSpPr>
          <p:spPr>
            <a:xfrm>
              <a:off x="7136575" y="2429883"/>
              <a:ext cx="1029123" cy="486399"/>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Kuwait</a:t>
              </a:r>
              <a:b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evitalize City</a:t>
              </a:r>
            </a:p>
          </p:txBody>
        </p:sp>
        <p:sp>
          <p:nvSpPr>
            <p:cNvPr id="30" name="TextBox 29">
              <a:extLst>
                <a:ext uri="{FF2B5EF4-FFF2-40B4-BE49-F238E27FC236}">
                  <a16:creationId xmlns:a16="http://schemas.microsoft.com/office/drawing/2014/main" id="{20907AFB-4C34-426E-AE3C-ED17AFF7FDA3}"/>
                </a:ext>
              </a:extLst>
            </p:cNvPr>
            <p:cNvSpPr txBox="1"/>
            <p:nvPr/>
          </p:nvSpPr>
          <p:spPr>
            <a:xfrm>
              <a:off x="2380872" y="5752450"/>
              <a:ext cx="839353" cy="648534"/>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Egypt</a:t>
              </a:r>
              <a:b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Cair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Alexandria</a:t>
              </a:r>
            </a:p>
          </p:txBody>
        </p:sp>
        <p:sp>
          <p:nvSpPr>
            <p:cNvPr id="31" name="TextBox 30">
              <a:extLst>
                <a:ext uri="{FF2B5EF4-FFF2-40B4-BE49-F238E27FC236}">
                  <a16:creationId xmlns:a16="http://schemas.microsoft.com/office/drawing/2014/main" id="{EA335EF0-B47D-436C-A950-9F62A30F258B}"/>
                </a:ext>
              </a:extLst>
            </p:cNvPr>
            <p:cNvSpPr txBox="1"/>
            <p:nvPr/>
          </p:nvSpPr>
          <p:spPr>
            <a:xfrm>
              <a:off x="4480607" y="2224269"/>
              <a:ext cx="673086" cy="468386"/>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Lebanon</a:t>
              </a:r>
              <a:b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Beirut</a:t>
              </a:r>
            </a:p>
          </p:txBody>
        </p:sp>
        <p:sp>
          <p:nvSpPr>
            <p:cNvPr id="32" name="TextBox 31">
              <a:extLst>
                <a:ext uri="{FF2B5EF4-FFF2-40B4-BE49-F238E27FC236}">
                  <a16:creationId xmlns:a16="http://schemas.microsoft.com/office/drawing/2014/main" id="{9FB0DCBF-7214-463C-AA6C-CF36FF1DFBAD}"/>
                </a:ext>
              </a:extLst>
            </p:cNvPr>
            <p:cNvSpPr txBox="1"/>
            <p:nvPr/>
          </p:nvSpPr>
          <p:spPr>
            <a:xfrm>
              <a:off x="1541994" y="2602969"/>
              <a:ext cx="1204120" cy="468386"/>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Jordan</a:t>
              </a:r>
              <a:b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Amman</a:t>
              </a:r>
            </a:p>
          </p:txBody>
        </p:sp>
        <p:pic>
          <p:nvPicPr>
            <p:cNvPr id="33" name="Picture 10">
              <a:extLst>
                <a:ext uri="{FF2B5EF4-FFF2-40B4-BE49-F238E27FC236}">
                  <a16:creationId xmlns:a16="http://schemas.microsoft.com/office/drawing/2014/main" id="{338A9E03-0045-448E-856E-49DFAEA4CA68}"/>
                </a:ext>
              </a:extLst>
            </p:cNvPr>
            <p:cNvPicPr>
              <a:picLocks noChangeAspect="1" noChangeArrowheads="1"/>
            </p:cNvPicPr>
            <p:nvPr/>
          </p:nvPicPr>
          <p:blipFill rotWithShape="1">
            <a:blip r:embed="rId11"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438160" y="1917728"/>
              <a:ext cx="534948" cy="534948"/>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extBox 33">
              <a:extLst>
                <a:ext uri="{FF2B5EF4-FFF2-40B4-BE49-F238E27FC236}">
                  <a16:creationId xmlns:a16="http://schemas.microsoft.com/office/drawing/2014/main" id="{D1985AD6-DDE7-428B-BD24-077D48BF8783}"/>
                </a:ext>
              </a:extLst>
            </p:cNvPr>
            <p:cNvSpPr txBox="1"/>
            <p:nvPr/>
          </p:nvSpPr>
          <p:spPr>
            <a:xfrm>
              <a:off x="3107870" y="2480981"/>
              <a:ext cx="1204120" cy="648534"/>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Palestinian Territori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amallah</a:t>
              </a:r>
            </a:p>
          </p:txBody>
        </p:sp>
        <p:pic>
          <p:nvPicPr>
            <p:cNvPr id="35" name="Picture 6" descr="Image result for iraq flag circle">
              <a:extLst>
                <a:ext uri="{FF2B5EF4-FFF2-40B4-BE49-F238E27FC236}">
                  <a16:creationId xmlns:a16="http://schemas.microsoft.com/office/drawing/2014/main" id="{BC2E8253-2852-4CF5-871D-0F1FA7181E56}"/>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165699" y="1245217"/>
              <a:ext cx="755903" cy="566928"/>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7C4B4ED6-F65F-43A8-8F42-9E8A7140CA89}"/>
                </a:ext>
              </a:extLst>
            </p:cNvPr>
            <p:cNvSpPr txBox="1"/>
            <p:nvPr/>
          </p:nvSpPr>
          <p:spPr>
            <a:xfrm>
              <a:off x="8279771" y="1841639"/>
              <a:ext cx="976506" cy="648534"/>
            </a:xfrm>
            <a:prstGeom prst="rect">
              <a:avLst/>
            </a:prstGeom>
            <a:noFill/>
          </p:spPr>
          <p:txBody>
            <a:bodyPr wrap="square" lIns="45720" rIns="4572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Iraq</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Erbil</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Baghdad</a:t>
              </a:r>
            </a:p>
          </p:txBody>
        </p:sp>
        <p:pic>
          <p:nvPicPr>
            <p:cNvPr id="37" name="Picture 10" descr="Image result for libya flag circle">
              <a:extLst>
                <a:ext uri="{FF2B5EF4-FFF2-40B4-BE49-F238E27FC236}">
                  <a16:creationId xmlns:a16="http://schemas.microsoft.com/office/drawing/2014/main" id="{87B56A3B-DFFF-4EA6-8EE6-CD1316DF4AFE}"/>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20766" y="3352980"/>
              <a:ext cx="548642" cy="54864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0EC52FAA-A409-4C17-A9B1-EC2C74EAA042}"/>
                </a:ext>
              </a:extLst>
            </p:cNvPr>
            <p:cNvSpPr txBox="1"/>
            <p:nvPr/>
          </p:nvSpPr>
          <p:spPr>
            <a:xfrm>
              <a:off x="1031459" y="3969654"/>
              <a:ext cx="508753" cy="528435"/>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Libya</a:t>
              </a:r>
            </a:p>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ripoli</a:t>
              </a:r>
            </a:p>
          </p:txBody>
        </p:sp>
        <p:pic>
          <p:nvPicPr>
            <p:cNvPr id="39" name="Picture 18" descr="Image result for yemen flag circle">
              <a:extLst>
                <a:ext uri="{FF2B5EF4-FFF2-40B4-BE49-F238E27FC236}">
                  <a16:creationId xmlns:a16="http://schemas.microsoft.com/office/drawing/2014/main" id="{E82F7C54-A82F-4113-9EDC-59DB72D23EA6}"/>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071478" y="5843019"/>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9E755F37-A0B4-4864-87E9-2CCCEB23FCBD}"/>
                </a:ext>
              </a:extLst>
            </p:cNvPr>
            <p:cNvSpPr txBox="1"/>
            <p:nvPr/>
          </p:nvSpPr>
          <p:spPr>
            <a:xfrm>
              <a:off x="6791212" y="6380827"/>
              <a:ext cx="1145565" cy="486400"/>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Yeme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Sanaa</a:t>
              </a:r>
              <a:endParaRPr kumimoji="0" lang="en-US" sz="800" b="0" i="1"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41" name="Group 40">
              <a:extLst>
                <a:ext uri="{FF2B5EF4-FFF2-40B4-BE49-F238E27FC236}">
                  <a16:creationId xmlns:a16="http://schemas.microsoft.com/office/drawing/2014/main" id="{5B2AC8F9-B5C4-4FDE-A118-15B93A7DC194}"/>
                </a:ext>
              </a:extLst>
            </p:cNvPr>
            <p:cNvGrpSpPr/>
            <p:nvPr/>
          </p:nvGrpSpPr>
          <p:grpSpPr>
            <a:xfrm>
              <a:off x="9345323" y="5631277"/>
              <a:ext cx="2459744" cy="811950"/>
              <a:chOff x="9423701" y="5502224"/>
              <a:chExt cx="2459744" cy="811950"/>
            </a:xfrm>
          </p:grpSpPr>
          <p:sp>
            <p:nvSpPr>
              <p:cNvPr id="47" name="Rectangle 46">
                <a:extLst>
                  <a:ext uri="{FF2B5EF4-FFF2-40B4-BE49-F238E27FC236}">
                    <a16:creationId xmlns:a16="http://schemas.microsoft.com/office/drawing/2014/main" id="{16C56793-C7FF-4B20-9A27-141D997F942F}"/>
                  </a:ext>
                </a:extLst>
              </p:cNvPr>
              <p:cNvSpPr/>
              <p:nvPr/>
            </p:nvSpPr>
            <p:spPr>
              <a:xfrm>
                <a:off x="10151825" y="5514308"/>
                <a:ext cx="1731620" cy="787786"/>
              </a:xfrm>
              <a:prstGeom prst="rect">
                <a:avLst/>
              </a:prstGeom>
              <a:noFill/>
              <a:ln w="25400" cap="flat" cmpd="sng" algn="ctr">
                <a:noFill/>
                <a:prstDash val="solid"/>
              </a:ln>
              <a:effectLst/>
            </p:spPr>
            <p:txBody>
              <a:bodyPr rtlCol="0" anchor="ct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105</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nationalities</a:t>
                </a:r>
                <a:endParaRPr kumimoji="0" lang="en-US" sz="1200" b="0" i="0" u="none" strike="noStrike" kern="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pic>
            <p:nvPicPr>
              <p:cNvPr id="48" name="Picture 47">
                <a:extLst>
                  <a:ext uri="{FF2B5EF4-FFF2-40B4-BE49-F238E27FC236}">
                    <a16:creationId xmlns:a16="http://schemas.microsoft.com/office/drawing/2014/main" id="{BCBD6601-EF4A-4327-ABA0-78A92B88914D}"/>
                  </a:ext>
                </a:extLst>
              </p:cNvPr>
              <p:cNvPicPr>
                <a:picLocks noChangeAspect="1"/>
              </p:cNvPicPr>
              <p:nvPr/>
            </p:nvPicPr>
            <p:blipFill>
              <a:blip r:embed="rId15" cstate="email">
                <a:duotone>
                  <a:srgbClr val="86BC25">
                    <a:shade val="45000"/>
                    <a:satMod val="135000"/>
                  </a:srgbClr>
                  <a:prstClr val="white"/>
                </a:duotone>
                <a:extLst>
                  <a:ext uri="{28A0092B-C50C-407E-A947-70E740481C1C}">
                    <a14:useLocalDpi xmlns:a14="http://schemas.microsoft.com/office/drawing/2010/main"/>
                  </a:ext>
                </a:extLst>
              </a:blip>
              <a:stretch>
                <a:fillRect/>
              </a:stretch>
            </p:blipFill>
            <p:spPr>
              <a:xfrm>
                <a:off x="9423701" y="5502224"/>
                <a:ext cx="811950" cy="811950"/>
              </a:xfrm>
              <a:prstGeom prst="rect">
                <a:avLst/>
              </a:prstGeom>
            </p:spPr>
          </p:pic>
        </p:grpSp>
        <p:pic>
          <p:nvPicPr>
            <p:cNvPr id="42" name="Picture 41">
              <a:extLst>
                <a:ext uri="{FF2B5EF4-FFF2-40B4-BE49-F238E27FC236}">
                  <a16:creationId xmlns:a16="http://schemas.microsoft.com/office/drawing/2014/main" id="{39E4E9FA-C168-44ED-BD31-E41E0B5002D0}"/>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130745" y="1306502"/>
              <a:ext cx="557784" cy="557784"/>
            </a:xfrm>
            <a:prstGeom prst="ellipse">
              <a:avLst/>
            </a:prstGeom>
            <a:ln>
              <a:solidFill>
                <a:sysClr val="window" lastClr="FFFFFF">
                  <a:lumMod val="95000"/>
                </a:sysClr>
              </a:solidFill>
            </a:ln>
            <a:effectLst/>
            <a:scene3d>
              <a:camera prst="orthographicFront">
                <a:rot lat="0" lon="0" rev="0"/>
              </a:camera>
              <a:lightRig rig="contrasting" dir="t">
                <a:rot lat="0" lon="0" rev="7800000"/>
              </a:lightRig>
            </a:scene3d>
            <a:sp3d>
              <a:bevelT w="139700" h="139700"/>
            </a:sp3d>
          </p:spPr>
        </p:pic>
        <p:sp>
          <p:nvSpPr>
            <p:cNvPr id="43" name="TextBox 42">
              <a:extLst>
                <a:ext uri="{FF2B5EF4-FFF2-40B4-BE49-F238E27FC236}">
                  <a16:creationId xmlns:a16="http://schemas.microsoft.com/office/drawing/2014/main" id="{D78CA6E2-C0DB-4967-9491-508DBB09405B}"/>
                </a:ext>
              </a:extLst>
            </p:cNvPr>
            <p:cNvSpPr txBox="1"/>
            <p:nvPr/>
          </p:nvSpPr>
          <p:spPr>
            <a:xfrm>
              <a:off x="5828916" y="1881557"/>
              <a:ext cx="1185731" cy="648534"/>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Cypr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Nicosi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Limassol</a:t>
              </a:r>
            </a:p>
          </p:txBody>
        </p:sp>
        <p:pic>
          <p:nvPicPr>
            <p:cNvPr id="44" name="Picture 2" descr="Sudan flag icon - country flags">
              <a:extLst>
                <a:ext uri="{FF2B5EF4-FFF2-40B4-BE49-F238E27FC236}">
                  <a16:creationId xmlns:a16="http://schemas.microsoft.com/office/drawing/2014/main" id="{5BD8CF8D-5C35-4D49-BE71-62FB6A7E289C}"/>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1463580" y="4637015"/>
              <a:ext cx="535436" cy="535436"/>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5B377A58-6C97-46BD-A885-AAC82A3E7DE6}"/>
                </a:ext>
              </a:extLst>
            </p:cNvPr>
            <p:cNvSpPr txBox="1"/>
            <p:nvPr/>
          </p:nvSpPr>
          <p:spPr>
            <a:xfrm>
              <a:off x="1290366" y="5255038"/>
              <a:ext cx="839353" cy="468386"/>
            </a:xfrm>
            <a:prstGeom prst="rect">
              <a:avLst/>
            </a:prstGeom>
            <a:noFill/>
          </p:spPr>
          <p:txBody>
            <a:bodyPr wrap="square" lIns="45720" rIns="45720" rtlCol="0">
              <a:spAutoFit/>
            </a:bodyP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Sudan</a:t>
              </a:r>
              <a:b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b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Khartoum</a:t>
              </a:r>
              <a:endParaRPr kumimoji="0" lang="en-US" sz="800" b="0" i="1" u="none" strike="noStrike" kern="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46" name="Freeform 25">
              <a:extLst>
                <a:ext uri="{FF2B5EF4-FFF2-40B4-BE49-F238E27FC236}">
                  <a16:creationId xmlns:a16="http://schemas.microsoft.com/office/drawing/2014/main" id="{EBE52559-AAE8-48FF-B73F-4BB46014472C}"/>
                </a:ext>
              </a:extLst>
            </p:cNvPr>
            <p:cNvSpPr>
              <a:spLocks/>
            </p:cNvSpPr>
            <p:nvPr/>
          </p:nvSpPr>
          <p:spPr bwMode="auto">
            <a:xfrm>
              <a:off x="5176002" y="2783692"/>
              <a:ext cx="182880" cy="182880"/>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solidFill>
              <a:sysClr val="window" lastClr="FFFFFF">
                <a:lumMod val="95000"/>
              </a:sysClr>
            </a:solidFill>
            <a:ln w="9525">
              <a:solidFill>
                <a:sysClr val="window" lastClr="FFFFFF">
                  <a:lumMod val="65000"/>
                </a:sysClr>
              </a:solidFill>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4093669770"/>
      </p:ext>
    </p:extLst>
  </p:cSld>
  <p:clrMapOvr>
    <a:masterClrMapping/>
  </p:clrMapOvr>
  <p:transition spd="med">
    <p:pull/>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5" name="Title 2">
            <a:extLst>
              <a:ext uri="{FF2B5EF4-FFF2-40B4-BE49-F238E27FC236}">
                <a16:creationId xmlns:a16="http://schemas.microsoft.com/office/drawing/2014/main" id="{D480ADD2-0849-4867-8C1A-98785F955844}"/>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8" name="Text Placeholder 1">
            <a:extLst>
              <a:ext uri="{FF2B5EF4-FFF2-40B4-BE49-F238E27FC236}">
                <a16:creationId xmlns:a16="http://schemas.microsoft.com/office/drawing/2014/main" id="{94B404E9-82FA-472D-802A-7BC74891A7C6}"/>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Deloitte Middle East  - Our Regional Presence </a:t>
            </a:r>
          </a:p>
        </p:txBody>
      </p:sp>
      <p:grpSp>
        <p:nvGrpSpPr>
          <p:cNvPr id="9" name="Group 8">
            <a:extLst>
              <a:ext uri="{FF2B5EF4-FFF2-40B4-BE49-F238E27FC236}">
                <a16:creationId xmlns:a16="http://schemas.microsoft.com/office/drawing/2014/main" id="{8DB10850-1E43-4624-8570-EFDF707C66E3}"/>
              </a:ext>
            </a:extLst>
          </p:cNvPr>
          <p:cNvGrpSpPr/>
          <p:nvPr/>
        </p:nvGrpSpPr>
        <p:grpSpPr>
          <a:xfrm>
            <a:off x="498818" y="1245677"/>
            <a:ext cx="10598595" cy="5237331"/>
            <a:chOff x="535515" y="1245677"/>
            <a:chExt cx="10928626" cy="5400417"/>
          </a:xfrm>
        </p:grpSpPr>
        <p:pic>
          <p:nvPicPr>
            <p:cNvPr id="11" name="Picture 10">
              <a:extLst>
                <a:ext uri="{FF2B5EF4-FFF2-40B4-BE49-F238E27FC236}">
                  <a16:creationId xmlns:a16="http://schemas.microsoft.com/office/drawing/2014/main" id="{48313120-EFC5-419F-B48C-2C8811CE09A9}"/>
                </a:ext>
              </a:extLst>
            </p:cNvPr>
            <p:cNvPicPr>
              <a:picLocks noChangeAspect="1"/>
            </p:cNvPicPr>
            <p:nvPr/>
          </p:nvPicPr>
          <p:blipFill rotWithShape="1">
            <a:blip r:embed="rId2" cstate="email">
              <a:duotone>
                <a:srgbClr val="86BC25">
                  <a:shade val="45000"/>
                  <a:satMod val="135000"/>
                </a:srgbClr>
                <a:prstClr val="white"/>
              </a:duotone>
              <a:extLst>
                <a:ext uri="{28A0092B-C50C-407E-A947-70E740481C1C}">
                  <a14:useLocalDpi xmlns:a14="http://schemas.microsoft.com/office/drawing/2010/main"/>
                </a:ext>
              </a:extLst>
            </a:blip>
            <a:srcRect/>
            <a:stretch/>
          </p:blipFill>
          <p:spPr>
            <a:xfrm>
              <a:off x="1473647" y="1245677"/>
              <a:ext cx="6692453" cy="5400417"/>
            </a:xfrm>
            <a:prstGeom prst="rect">
              <a:avLst/>
            </a:prstGeom>
          </p:spPr>
        </p:pic>
        <p:sp>
          <p:nvSpPr>
            <p:cNvPr id="12" name="Content Placeholder 46">
              <a:extLst>
                <a:ext uri="{FF2B5EF4-FFF2-40B4-BE49-F238E27FC236}">
                  <a16:creationId xmlns:a16="http://schemas.microsoft.com/office/drawing/2014/main" id="{74F47AD0-CF52-456E-9AFC-E55F5A8E5166}"/>
                </a:ext>
              </a:extLst>
            </p:cNvPr>
            <p:cNvSpPr txBox="1">
              <a:spLocks/>
            </p:cNvSpPr>
            <p:nvPr/>
          </p:nvSpPr>
          <p:spPr>
            <a:xfrm>
              <a:off x="535516" y="1634896"/>
              <a:ext cx="3348061" cy="1695451"/>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Calibri" panose="020F050202020403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Calibri" panose="020F050202020403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Calibri" panose="020F050202020403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Calibri" panose="020F050202020403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Deloitte at a Glance</a:t>
              </a:r>
            </a:p>
            <a:p>
              <a:pPr marL="0" marR="0" lvl="0" indent="0" algn="l" defTabSz="1219170" rtl="0" eaLnBrk="1" fontAlgn="auto" latinLnBrk="0" hangingPunct="1">
                <a:lnSpc>
                  <a:spcPct val="100000"/>
                </a:lnSpc>
                <a:spcBef>
                  <a:spcPts val="0"/>
                </a:spcBef>
                <a:spcAft>
                  <a:spcPts val="415"/>
                </a:spcAft>
                <a:buClrTx/>
                <a:buSzPct val="100000"/>
                <a:buFontTx/>
                <a:buNone/>
                <a:tabLst/>
                <a:defRPr/>
              </a:pP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loitte is established i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he</a:t>
              </a: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Middle East</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egion</a:t>
              </a:r>
              <a:r>
                <a:rPr kumimoji="0" lang="en-US" sz="1400" b="0" i="0" u="none" strike="noStrike" kern="1200" cap="none" spc="-1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with</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uninterrupted</a:t>
              </a: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presence since</a:t>
              </a:r>
              <a:r>
                <a:rPr kumimoji="0" lang="en-US" sz="1400" b="0" i="0" u="none" strike="noStrike" kern="1200" cap="none" spc="-7"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1400" b="0" i="0" u="none" strike="noStrike" kern="1200" cap="none" spc="-3"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1926 and is present across</a:t>
              </a:r>
              <a:r>
                <a:rPr kumimoji="0" lang="en-US" sz="1400" b="0" i="0" u="none" strike="noStrike" kern="1200" cap="none" spc="7"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29 offices in 15 countries with more than </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5,900</a:t>
              </a:r>
              <a:r>
                <a:rPr kumimoji="0" lang="en-US" sz="1400" b="0" i="0" u="none" strike="noStrike" kern="1200" cap="none" spc="7"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partners, directors and staff. </a:t>
              </a:r>
            </a:p>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13" name="Content Placeholder 45">
              <a:extLst>
                <a:ext uri="{FF2B5EF4-FFF2-40B4-BE49-F238E27FC236}">
                  <a16:creationId xmlns:a16="http://schemas.microsoft.com/office/drawing/2014/main" id="{64ECDDC6-029C-45C1-9F6C-182FFB9773E1}"/>
                </a:ext>
              </a:extLst>
            </p:cNvPr>
            <p:cNvSpPr txBox="1">
              <a:spLocks/>
            </p:cNvSpPr>
            <p:nvPr/>
          </p:nvSpPr>
          <p:spPr>
            <a:xfrm>
              <a:off x="535515" y="3831585"/>
              <a:ext cx="3347201" cy="1695451"/>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Calibri" panose="020F050202020403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Calibri" panose="020F050202020403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Calibri" panose="020F050202020403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Calibri" panose="020F050202020403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Internal Impact</a:t>
              </a:r>
            </a:p>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loitte makes an impact that matters to its clients, talent and society. Our practices around the Middle East support clients become leaders wherever they choose to compete. We invest in outstanding people of diverse talents and backgrounds and empower them to achieve more than they could elsewhere. Our work combines advice with action and integrity. We believe that when our clients and society are stronger, so are we. </a:t>
              </a:r>
            </a:p>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14" name="Content Placeholder 16">
              <a:extLst>
                <a:ext uri="{FF2B5EF4-FFF2-40B4-BE49-F238E27FC236}">
                  <a16:creationId xmlns:a16="http://schemas.microsoft.com/office/drawing/2014/main" id="{88F964F0-0545-4C23-86EF-EDA6F85A709C}"/>
                </a:ext>
              </a:extLst>
            </p:cNvPr>
            <p:cNvSpPr txBox="1">
              <a:spLocks/>
            </p:cNvSpPr>
            <p:nvPr/>
          </p:nvSpPr>
          <p:spPr>
            <a:xfrm>
              <a:off x="8116938" y="1597181"/>
              <a:ext cx="3347201" cy="249324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Calibri" panose="020F050202020403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Calibri" panose="020F050202020403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Calibri" panose="020F050202020403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Calibri" panose="020F050202020403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Awards</a:t>
              </a:r>
            </a:p>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7"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Deloitte Middle East has received numerous awards in the last few years such as Brand Finance’s strongest and most valuable “commercial services” brand in the world (2022), the Great Place to Work® and Best Workplaces ™in the UAE 2022 ), Great Place to Work® and Best Workplaces ™in the KSA ( 2022 ) and World s Most Attractive Employers ” 2022.</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15" name="Content Placeholder 47">
              <a:extLst>
                <a:ext uri="{FF2B5EF4-FFF2-40B4-BE49-F238E27FC236}">
                  <a16:creationId xmlns:a16="http://schemas.microsoft.com/office/drawing/2014/main" id="{6A1425F3-5A1A-4761-A6BF-A7FD47B8D2FA}"/>
                </a:ext>
              </a:extLst>
            </p:cNvPr>
            <p:cNvSpPr txBox="1">
              <a:spLocks/>
            </p:cNvSpPr>
            <p:nvPr/>
          </p:nvSpPr>
          <p:spPr>
            <a:xfrm>
              <a:off x="8116940" y="4010731"/>
              <a:ext cx="3347201" cy="1695451"/>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Calibri" panose="020F0502020204030204" pitchFamily="34" charset="0"/>
                  <a:ea typeface="+mn-ea"/>
                  <a:cs typeface="Calibri" panose="020F050202020403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Calibri" panose="020F0502020204030204" pitchFamily="34" charset="0"/>
                  <a:ea typeface="+mn-ea"/>
                  <a:cs typeface="Calibri" panose="020F050202020403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Calibri" panose="020F050202020403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Calibri" panose="020F0502020204030204" pitchFamily="34" charset="0"/>
                  <a:ea typeface="+mn-ea"/>
                  <a:cs typeface="Calibri" panose="020F050202020403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Calibri" panose="020F0502020204030204" pitchFamily="34" charset="0"/>
                  <a:ea typeface="+mn-ea"/>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Calibri" panose="020F0502020204030204" pitchFamily="34" charset="0"/>
                  <a:ea typeface="Verdana" panose="020B0604030504040204" pitchFamily="34" charset="0"/>
                  <a:cs typeface="Calibri" panose="020F0502020204030204" pitchFamily="34" charset="0"/>
                </a:rPr>
                <a:t>External Impact</a:t>
              </a:r>
            </a:p>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Our organization has grown in scale and diversity providing services across the region— with our shared culture remaining the same. We aim to help clients realize their ambitions; make a positive difference in society; and maximize the success of our people. This drive fuels the commitment and humanity that run deep through our every action.</a:t>
              </a:r>
            </a:p>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spTree>
    <p:extLst>
      <p:ext uri="{BB962C8B-B14F-4D97-AF65-F5344CB8AC3E}">
        <p14:creationId xmlns:p14="http://schemas.microsoft.com/office/powerpoint/2010/main" val="894287668"/>
      </p:ext>
    </p:extLst>
  </p:cSld>
  <p:clrMapOvr>
    <a:masterClrMapping/>
  </p:clrMapOvr>
  <p:transition spd="med">
    <p:pull/>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5" name="Rectangle 4">
            <a:extLst>
              <a:ext uri="{FF2B5EF4-FFF2-40B4-BE49-F238E27FC236}">
                <a16:creationId xmlns:a16="http://schemas.microsoft.com/office/drawing/2014/main" id="{054E8B4D-B312-4FBE-BC6B-03F9E3B919D6}"/>
              </a:ext>
            </a:extLst>
          </p:cNvPr>
          <p:cNvSpPr/>
          <p:nvPr/>
        </p:nvSpPr>
        <p:spPr>
          <a:xfrm>
            <a:off x="419100" y="1712679"/>
            <a:ext cx="10185400" cy="338554"/>
          </a:xfrm>
          <a:prstGeom prst="rect">
            <a:avLst/>
          </a:prstGeom>
        </p:spPr>
        <p:txBody>
          <a:bodyPr wrap="square">
            <a:spAutoFit/>
          </a:bodyPr>
          <a:lstStyle/>
          <a:p>
            <a:pPr defTabSz="1219170">
              <a:defRPr/>
            </a:pPr>
            <a:r>
              <a:rPr lang="en-US" sz="1600" b="1" dirty="0">
                <a:solidFill>
                  <a:prstClr val="black"/>
                </a:solidFill>
                <a:latin typeface="Calibri" panose="020F0502020204030204" pitchFamily="34" charset="0"/>
                <a:cs typeface="Calibri" panose="020F0502020204030204" pitchFamily="34" charset="0"/>
              </a:rPr>
              <a:t>Deloitte Middle East is part of NSE</a:t>
            </a:r>
          </a:p>
        </p:txBody>
      </p:sp>
      <p:sp>
        <p:nvSpPr>
          <p:cNvPr id="8" name="TextBox 10">
            <a:extLst>
              <a:ext uri="{FF2B5EF4-FFF2-40B4-BE49-F238E27FC236}">
                <a16:creationId xmlns:a16="http://schemas.microsoft.com/office/drawing/2014/main" id="{3FD6A7DE-01B4-48CB-BC34-E5CD7F76955E}"/>
              </a:ext>
            </a:extLst>
          </p:cNvPr>
          <p:cNvSpPr txBox="1">
            <a:spLocks noChangeArrowheads="1"/>
          </p:cNvSpPr>
          <p:nvPr/>
        </p:nvSpPr>
        <p:spPr bwMode="auto">
          <a:xfrm>
            <a:off x="419100" y="2218189"/>
            <a:ext cx="5193918" cy="33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1219170">
              <a:defRPr/>
            </a:pPr>
            <a:r>
              <a:rPr lang="en-IE" sz="1400" dirty="0">
                <a:solidFill>
                  <a:prstClr val="black"/>
                </a:solidFill>
                <a:cs typeface="Calibri" panose="020F0502020204030204" pitchFamily="34" charset="0"/>
              </a:rPr>
              <a:t>Deloitte North and South Europe (NSE) is the second largest member firm in the Deloitte network.</a:t>
            </a:r>
            <a:r>
              <a:rPr lang="en-US" sz="1400" dirty="0">
                <a:solidFill>
                  <a:prstClr val="black"/>
                </a:solidFill>
                <a:cs typeface="Calibri" panose="020F0502020204030204" pitchFamily="34" charset="0"/>
              </a:rPr>
              <a:t> </a:t>
            </a:r>
            <a:r>
              <a:rPr lang="en-US" altLang="en-US" sz="1400" dirty="0">
                <a:solidFill>
                  <a:prstClr val="black"/>
                </a:solidFill>
                <a:cs typeface="Calibri" panose="020F0502020204030204" pitchFamily="34" charset="0"/>
              </a:rPr>
              <a:t>Deloitte NSE combines our unmatched breadth and depth of capabilities in audit &amp; assurance, consulting, financial advisory, risk advisory, and tax &amp; legal. As our clients operate in a more globally connected way than ever before, Deloitte NSE helps us provide a seamless cross-border service. Deloitte NSE brings together 3,000 partners and over 100,000 people, providing us with the scale, and the means, to increase our investment in the innovation our clients need. </a:t>
            </a:r>
            <a:endParaRPr lang="en-GB" altLang="en-US" sz="1400" dirty="0">
              <a:solidFill>
                <a:prstClr val="black"/>
              </a:solidFill>
              <a:cs typeface="Calibri" panose="020F0502020204030204" pitchFamily="34" charset="0"/>
            </a:endParaRPr>
          </a:p>
          <a:p>
            <a:pPr defTabSz="1219170">
              <a:defRPr/>
            </a:pPr>
            <a:r>
              <a:rPr lang="en-US" altLang="en-US" sz="1400" dirty="0">
                <a:solidFill>
                  <a:prstClr val="black"/>
                </a:solidFill>
                <a:cs typeface="Calibri" panose="020F0502020204030204" pitchFamily="34" charset="0"/>
              </a:rPr>
              <a:t> </a:t>
            </a:r>
            <a:endParaRPr lang="en-GB" altLang="en-US" sz="1400" dirty="0">
              <a:solidFill>
                <a:prstClr val="black"/>
              </a:solidFill>
              <a:cs typeface="Calibri" panose="020F0502020204030204" pitchFamily="34" charset="0"/>
            </a:endParaRPr>
          </a:p>
          <a:p>
            <a:pPr defTabSz="1219170">
              <a:defRPr/>
            </a:pPr>
            <a:r>
              <a:rPr lang="en-US" altLang="en-US" sz="1400" dirty="0">
                <a:solidFill>
                  <a:prstClr val="black"/>
                </a:solidFill>
                <a:cs typeface="Calibri" panose="020F0502020204030204" pitchFamily="34" charset="0"/>
              </a:rPr>
              <a:t>It is also creating more opportunity and growth for our people, and playing an important part in helping us to embed quality consistently in all we do. Central to our firm is our commitment to our global purpose: to make an impact that matters for our clients, our people and society. </a:t>
            </a:r>
            <a:endParaRPr lang="en-GB" altLang="en-US" sz="1400" dirty="0">
              <a:solidFill>
                <a:prstClr val="black"/>
              </a:solidFill>
              <a:cs typeface="Calibri" panose="020F0502020204030204" pitchFamily="34" charset="0"/>
            </a:endParaRPr>
          </a:p>
        </p:txBody>
      </p:sp>
      <p:sp>
        <p:nvSpPr>
          <p:cNvPr id="9" name="TextBox 4">
            <a:extLst>
              <a:ext uri="{FF2B5EF4-FFF2-40B4-BE49-F238E27FC236}">
                <a16:creationId xmlns:a16="http://schemas.microsoft.com/office/drawing/2014/main" id="{10E8982A-C24A-4978-9E40-18E00909925A}"/>
              </a:ext>
            </a:extLst>
          </p:cNvPr>
          <p:cNvSpPr txBox="1">
            <a:spLocks noChangeArrowheads="1"/>
          </p:cNvSpPr>
          <p:nvPr/>
        </p:nvSpPr>
        <p:spPr bwMode="auto">
          <a:xfrm>
            <a:off x="6378114" y="3972653"/>
            <a:ext cx="4535875" cy="2246769"/>
          </a:xfrm>
          <a:prstGeom prst="rect">
            <a:avLst/>
          </a:prstGeom>
          <a:solidFill>
            <a:sysClr val="window" lastClr="FFFFFF">
              <a:lumMod val="95000"/>
            </a:sysClr>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Deloitte NSE is the second largest member firm in the Deloitte network</a:t>
            </a:r>
            <a:r>
              <a:rPr kumimoji="0" lang="en-GB" alt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a:t>
            </a:r>
          </a:p>
          <a:p>
            <a:pPr marL="0" marR="0" lvl="0" indent="0" defTabSz="1219170" eaLnBrk="1" fontAlgn="auto" latinLnBrk="0" hangingPunct="1">
              <a:lnSpc>
                <a:spcPct val="100000"/>
              </a:lnSpc>
              <a:spcBef>
                <a:spcPts val="0"/>
              </a:spcBef>
              <a:spcAft>
                <a:spcPts val="0"/>
              </a:spcAft>
              <a:buClrTx/>
              <a:buSzTx/>
              <a:buFontTx/>
              <a:buNone/>
              <a:tabLst/>
              <a:defRPr/>
            </a:pPr>
            <a:endParaRPr kumimoji="0" lang="en-GB" alt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0" marR="0" lvl="0" indent="0" defTabSz="121917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Deloitte Middle East comprises </a:t>
            </a:r>
            <a:r>
              <a:rPr kumimoji="0" lang="en-IE"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Bahrain, Cyprus, Egypt, Iraq, Jordan, Kuwait, Lebanon, Libya, Oman, Palestinian Ruled Territories, Qatar, Saudi Arabia, Republic of the Sudan, United Arab Emirates and Yemen. </a:t>
            </a:r>
          </a:p>
          <a:p>
            <a:pPr marL="0" marR="0" lvl="0" indent="0" defTabSz="1219170" eaLnBrk="1" fontAlgn="auto" latinLnBrk="0" hangingPunct="1">
              <a:lnSpc>
                <a:spcPct val="100000"/>
              </a:lnSpc>
              <a:spcBef>
                <a:spcPts val="0"/>
              </a:spcBef>
              <a:spcAft>
                <a:spcPts val="0"/>
              </a:spcAft>
              <a:buClrTx/>
              <a:buSzTx/>
              <a:buFontTx/>
              <a:buNone/>
              <a:tabLst/>
              <a:defRPr/>
            </a:pPr>
            <a:endParaRPr kumimoji="0" lang="en-GB" alt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0" marR="0" lvl="0" indent="0" defTabSz="1219170" eaLnBrk="1" fontAlgn="auto" latinLnBrk="0" hangingPunct="1">
              <a:lnSpc>
                <a:spcPct val="10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hlinkClick r:id="rId2"/>
              </a:rPr>
              <a:t>Read more </a:t>
            </a:r>
            <a:r>
              <a:rPr kumimoji="0" lang="en-US" alt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about how Deloitte NSE makes an impact that matters to clients, people and society. </a:t>
            </a:r>
            <a:endParaRPr kumimoji="0" lang="en-GB" altLang="en-US" sz="14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grpSp>
        <p:nvGrpSpPr>
          <p:cNvPr id="11" name="Group 10">
            <a:extLst>
              <a:ext uri="{FF2B5EF4-FFF2-40B4-BE49-F238E27FC236}">
                <a16:creationId xmlns:a16="http://schemas.microsoft.com/office/drawing/2014/main" id="{AD6DE21A-B810-4E4C-8CA4-665F71D81C62}"/>
              </a:ext>
            </a:extLst>
          </p:cNvPr>
          <p:cNvGrpSpPr/>
          <p:nvPr/>
        </p:nvGrpSpPr>
        <p:grpSpPr>
          <a:xfrm>
            <a:off x="6759585" y="700894"/>
            <a:ext cx="3579697" cy="1603375"/>
            <a:chOff x="6759585" y="700894"/>
            <a:chExt cx="3579697" cy="1603375"/>
          </a:xfrm>
        </p:grpSpPr>
        <p:pic>
          <p:nvPicPr>
            <p:cNvPr id="12" name="Picture 4">
              <a:extLst>
                <a:ext uri="{FF2B5EF4-FFF2-40B4-BE49-F238E27FC236}">
                  <a16:creationId xmlns:a16="http://schemas.microsoft.com/office/drawing/2014/main" id="{B227B7B4-CE00-4587-8B9B-90909DCB08D0}"/>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8885132" y="700894"/>
              <a:ext cx="1454150"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
              <a:extLst>
                <a:ext uri="{FF2B5EF4-FFF2-40B4-BE49-F238E27FC236}">
                  <a16:creationId xmlns:a16="http://schemas.microsoft.com/office/drawing/2014/main" id="{99712DAB-F30C-4908-A026-31B2366F9A2A}"/>
                </a:ext>
              </a:extLst>
            </p:cNvPr>
            <p:cNvSpPr txBox="1">
              <a:spLocks/>
            </p:cNvSpPr>
            <p:nvPr/>
          </p:nvSpPr>
          <p:spPr>
            <a:xfrm>
              <a:off x="6759585" y="1079388"/>
              <a:ext cx="1855470" cy="846386"/>
            </a:xfrm>
            <a:prstGeom prst="rect">
              <a:avLst/>
            </a:prstGeom>
            <a:noFill/>
          </p:spPr>
          <p:txBody>
            <a:bodyPr wrap="square" lIns="91440" tIns="45720" rIns="91440" bIns="45720" rtlCol="0" anchor="t">
              <a:spAutoFit/>
            </a:bodyPr>
            <a:lstStyle/>
            <a:p>
              <a:pPr defTabSz="1219170">
                <a:defRPr/>
              </a:pPr>
              <a:r>
                <a:rPr lang="en-GB" sz="2800" dirty="0">
                  <a:solidFill>
                    <a:srgbClr val="D0D0CE">
                      <a:lumMod val="25000"/>
                    </a:srgbClr>
                  </a:solidFill>
                  <a:latin typeface="Calibri" panose="020F0502020204030204" pitchFamily="34" charset="0"/>
                  <a:ea typeface="Calibri" panose="020F0502020204030204" pitchFamily="34" charset="0"/>
                  <a:cs typeface="Calibri" panose="020F0502020204030204" pitchFamily="34" charset="0"/>
                </a:rPr>
                <a:t>28</a:t>
              </a:r>
              <a:endParaRPr lang="en-GB" sz="1100" dirty="0">
                <a:solidFill>
                  <a:srgbClr val="D0D0CE">
                    <a:lumMod val="25000"/>
                  </a:srgbClr>
                </a:solidFill>
                <a:latin typeface="Calibri" panose="020F0502020204030204" pitchFamily="34" charset="0"/>
                <a:ea typeface="Calibri" panose="020F0502020204030204" pitchFamily="34" charset="0"/>
                <a:cs typeface="Calibri" panose="020F0502020204030204" pitchFamily="34" charset="0"/>
              </a:endParaRPr>
            </a:p>
            <a:p>
              <a:pPr defTabSz="1219170">
                <a:defRPr/>
              </a:pPr>
              <a:r>
                <a:rPr lang="en-GB" sz="1050" dirty="0">
                  <a:solidFill>
                    <a:srgbClr val="D0D0CE">
                      <a:lumMod val="25000"/>
                    </a:srgbClr>
                  </a:solidFill>
                  <a:latin typeface="Calibri" panose="020F0502020204030204" pitchFamily="34" charset="0"/>
                  <a:ea typeface="Calibri" panose="020F0502020204030204" pitchFamily="34" charset="0"/>
                  <a:cs typeface="Calibri" panose="020F0502020204030204" pitchFamily="34" charset="0"/>
                </a:rPr>
                <a:t>countries all part </a:t>
              </a:r>
              <a:endParaRPr lang="en-GB" sz="1100" dirty="0">
                <a:solidFill>
                  <a:srgbClr val="D0D0CE">
                    <a:lumMod val="25000"/>
                  </a:srgbClr>
                </a:solidFill>
                <a:latin typeface="Calibri" panose="020F0502020204030204" pitchFamily="34" charset="0"/>
                <a:ea typeface="Calibri" panose="020F0502020204030204" pitchFamily="34" charset="0"/>
                <a:cs typeface="Calibri" panose="020F0502020204030204" pitchFamily="34" charset="0"/>
              </a:endParaRPr>
            </a:p>
            <a:p>
              <a:pPr defTabSz="1219170">
                <a:defRPr/>
              </a:pPr>
              <a:r>
                <a:rPr lang="en-GB" sz="1050" dirty="0">
                  <a:solidFill>
                    <a:srgbClr val="D0D0CE">
                      <a:lumMod val="25000"/>
                    </a:srgbClr>
                  </a:solidFill>
                  <a:latin typeface="Calibri" panose="020F0502020204030204" pitchFamily="34" charset="0"/>
                  <a:ea typeface="Calibri" panose="020F0502020204030204" pitchFamily="34" charset="0"/>
                  <a:cs typeface="Calibri" panose="020F0502020204030204" pitchFamily="34" charset="0"/>
                </a:rPr>
                <a:t>of one firm</a:t>
              </a:r>
              <a:endParaRPr lang="en-GB" sz="1100" dirty="0">
                <a:solidFill>
                  <a:srgbClr val="D0D0CE">
                    <a:lumMod val="25000"/>
                  </a:srgbClr>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14" name="Group 13">
            <a:extLst>
              <a:ext uri="{FF2B5EF4-FFF2-40B4-BE49-F238E27FC236}">
                <a16:creationId xmlns:a16="http://schemas.microsoft.com/office/drawing/2014/main" id="{975F52DD-A6DC-44ED-A221-B7DB03BCFF80}"/>
              </a:ext>
            </a:extLst>
          </p:cNvPr>
          <p:cNvGrpSpPr/>
          <p:nvPr/>
        </p:nvGrpSpPr>
        <p:grpSpPr>
          <a:xfrm>
            <a:off x="6759585" y="2395082"/>
            <a:ext cx="3998797" cy="1376855"/>
            <a:chOff x="6759585" y="2672482"/>
            <a:chExt cx="3998797" cy="1376855"/>
          </a:xfrm>
        </p:grpSpPr>
        <p:pic>
          <p:nvPicPr>
            <p:cNvPr id="15" name="Picture 12">
              <a:extLst>
                <a:ext uri="{FF2B5EF4-FFF2-40B4-BE49-F238E27FC236}">
                  <a16:creationId xmlns:a16="http://schemas.microsoft.com/office/drawing/2014/main" id="{37F93C57-25AC-44FA-B246-E6654A03E3C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8466032" y="2672482"/>
              <a:ext cx="2292350" cy="1376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5">
              <a:extLst>
                <a:ext uri="{FF2B5EF4-FFF2-40B4-BE49-F238E27FC236}">
                  <a16:creationId xmlns:a16="http://schemas.microsoft.com/office/drawing/2014/main" id="{61E5A577-221C-4526-B5B9-71B094829B99}"/>
                </a:ext>
              </a:extLst>
            </p:cNvPr>
            <p:cNvGrpSpPr/>
            <p:nvPr/>
          </p:nvGrpSpPr>
          <p:grpSpPr>
            <a:xfrm>
              <a:off x="6759585" y="2901328"/>
              <a:ext cx="1725612" cy="919162"/>
              <a:chOff x="6759585" y="2901328"/>
              <a:chExt cx="1725612" cy="919162"/>
            </a:xfrm>
          </p:grpSpPr>
          <p:pic>
            <p:nvPicPr>
              <p:cNvPr id="17" name="Picture 1">
                <a:extLst>
                  <a:ext uri="{FF2B5EF4-FFF2-40B4-BE49-F238E27FC236}">
                    <a16:creationId xmlns:a16="http://schemas.microsoft.com/office/drawing/2014/main" id="{035C5872-1DA1-4068-9406-F16CDC017D35}"/>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59585" y="2901328"/>
                <a:ext cx="1725612" cy="919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a:extLst>
                  <a:ext uri="{FF2B5EF4-FFF2-40B4-BE49-F238E27FC236}">
                    <a16:creationId xmlns:a16="http://schemas.microsoft.com/office/drawing/2014/main" id="{92EC8403-7577-46DE-B17B-E8100EC9CB25}"/>
                  </a:ext>
                </a:extLst>
              </p:cNvPr>
              <p:cNvSpPr txBox="1"/>
              <p:nvPr/>
            </p:nvSpPr>
            <p:spPr>
              <a:xfrm>
                <a:off x="6810384" y="3116934"/>
                <a:ext cx="1322828" cy="369332"/>
              </a:xfrm>
              <a:prstGeom prst="rect">
                <a:avLst/>
              </a:prstGeom>
              <a:solidFill>
                <a:sysClr val="window" lastClr="FFFFFF"/>
              </a:solidFill>
            </p:spPr>
            <p:txBody>
              <a:bodyPr wrap="square" lIns="0" tIns="0" rIns="0" bIns="0" rtlCol="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100,000</a:t>
                </a:r>
              </a:p>
            </p:txBody>
          </p:sp>
        </p:grpSp>
      </p:grpSp>
      <p:sp>
        <p:nvSpPr>
          <p:cNvPr id="19" name="Title 2">
            <a:extLst>
              <a:ext uri="{FF2B5EF4-FFF2-40B4-BE49-F238E27FC236}">
                <a16:creationId xmlns:a16="http://schemas.microsoft.com/office/drawing/2014/main" id="{B86DD720-D603-4C03-B7AD-FEAC27D0D89F}"/>
              </a:ext>
            </a:extLst>
          </p:cNvPr>
          <p:cNvSpPr txBox="1">
            <a:spLocks/>
          </p:cNvSpPr>
          <p:nvPr/>
        </p:nvSpPr>
        <p:spPr bwMode="gray">
          <a:xfrm>
            <a:off x="448635" y="394070"/>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20" name="Text Placeholder 1">
            <a:extLst>
              <a:ext uri="{FF2B5EF4-FFF2-40B4-BE49-F238E27FC236}">
                <a16:creationId xmlns:a16="http://schemas.microsoft.com/office/drawing/2014/main" id="{A1A0F1A4-A949-46C6-88B2-2C1B66D81B37}"/>
              </a:ext>
            </a:extLst>
          </p:cNvPr>
          <p:cNvSpPr txBox="1">
            <a:spLocks/>
          </p:cNvSpPr>
          <p:nvPr/>
        </p:nvSpPr>
        <p:spPr>
          <a:xfrm>
            <a:off x="469901" y="739117"/>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About Deloitte North and South Europe</a:t>
            </a:r>
          </a:p>
        </p:txBody>
      </p:sp>
    </p:spTree>
    <p:extLst>
      <p:ext uri="{BB962C8B-B14F-4D97-AF65-F5344CB8AC3E}">
        <p14:creationId xmlns:p14="http://schemas.microsoft.com/office/powerpoint/2010/main" val="472480129"/>
      </p:ext>
    </p:extLst>
  </p:cSld>
  <p:clrMapOvr>
    <a:masterClrMapping/>
  </p:clrMapOvr>
  <p:transition spd="med">
    <p:pull/>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5" name="Title 2">
            <a:extLst>
              <a:ext uri="{FF2B5EF4-FFF2-40B4-BE49-F238E27FC236}">
                <a16:creationId xmlns:a16="http://schemas.microsoft.com/office/drawing/2014/main" id="{677233BD-0DFE-4442-8844-28AA0E5D48E5}"/>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8" name="Text Placeholder 1">
            <a:extLst>
              <a:ext uri="{FF2B5EF4-FFF2-40B4-BE49-F238E27FC236}">
                <a16:creationId xmlns:a16="http://schemas.microsoft.com/office/drawing/2014/main" id="{7D28FE0B-AE92-4C3D-9431-7C609E978F6E}"/>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Our Core Services (1/2)</a:t>
            </a:r>
          </a:p>
        </p:txBody>
      </p:sp>
      <p:grpSp>
        <p:nvGrpSpPr>
          <p:cNvPr id="9" name="Group 8">
            <a:extLst>
              <a:ext uri="{FF2B5EF4-FFF2-40B4-BE49-F238E27FC236}">
                <a16:creationId xmlns:a16="http://schemas.microsoft.com/office/drawing/2014/main" id="{0B2D3CA6-E1C4-487F-9F6E-AE73BEC08DEA}"/>
              </a:ext>
            </a:extLst>
          </p:cNvPr>
          <p:cNvGrpSpPr/>
          <p:nvPr/>
        </p:nvGrpSpPr>
        <p:grpSpPr>
          <a:xfrm>
            <a:off x="2158580" y="1663003"/>
            <a:ext cx="7874840" cy="4790594"/>
            <a:chOff x="1856643" y="1193360"/>
            <a:chExt cx="8633558" cy="5252154"/>
          </a:xfrm>
        </p:grpSpPr>
        <p:pic>
          <p:nvPicPr>
            <p:cNvPr id="11" name="Picture 10">
              <a:extLst>
                <a:ext uri="{FF2B5EF4-FFF2-40B4-BE49-F238E27FC236}">
                  <a16:creationId xmlns:a16="http://schemas.microsoft.com/office/drawing/2014/main" id="{C0FF4A34-7AF7-4AA3-9722-57E29DDD36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56643" y="1193360"/>
              <a:ext cx="8633558" cy="5252154"/>
            </a:xfrm>
            <a:prstGeom prst="rect">
              <a:avLst/>
            </a:prstGeom>
          </p:spPr>
        </p:pic>
        <p:grpSp>
          <p:nvGrpSpPr>
            <p:cNvPr id="12" name="Group 11">
              <a:extLst>
                <a:ext uri="{FF2B5EF4-FFF2-40B4-BE49-F238E27FC236}">
                  <a16:creationId xmlns:a16="http://schemas.microsoft.com/office/drawing/2014/main" id="{23A7E1FE-3570-44D9-8978-9812D4230749}"/>
                </a:ext>
              </a:extLst>
            </p:cNvPr>
            <p:cNvGrpSpPr/>
            <p:nvPr/>
          </p:nvGrpSpPr>
          <p:grpSpPr>
            <a:xfrm>
              <a:off x="6513513" y="4731936"/>
              <a:ext cx="1300745" cy="413385"/>
              <a:chOff x="6513513" y="4731936"/>
              <a:chExt cx="1300745" cy="413385"/>
            </a:xfrm>
          </p:grpSpPr>
          <p:pic>
            <p:nvPicPr>
              <p:cNvPr id="13" name="Picture 12">
                <a:extLst>
                  <a:ext uri="{FF2B5EF4-FFF2-40B4-BE49-F238E27FC236}">
                    <a16:creationId xmlns:a16="http://schemas.microsoft.com/office/drawing/2014/main" id="{78C53A88-8180-4404-9EBF-4B48A8FC8B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06698" y="4731936"/>
                <a:ext cx="714375" cy="371475"/>
              </a:xfrm>
              <a:prstGeom prst="rect">
                <a:avLst/>
              </a:prstGeom>
            </p:spPr>
          </p:pic>
          <p:sp>
            <p:nvSpPr>
              <p:cNvPr id="14" name="Rectangle 13">
                <a:extLst>
                  <a:ext uri="{FF2B5EF4-FFF2-40B4-BE49-F238E27FC236}">
                    <a16:creationId xmlns:a16="http://schemas.microsoft.com/office/drawing/2014/main" id="{A7026D51-4C01-4CC9-A771-41E5AD1EE253}"/>
                  </a:ext>
                </a:extLst>
              </p:cNvPr>
              <p:cNvSpPr/>
              <p:nvPr/>
            </p:nvSpPr>
            <p:spPr bwMode="gray">
              <a:xfrm>
                <a:off x="6513513" y="4806768"/>
                <a:ext cx="304800" cy="308157"/>
              </a:xfrm>
              <a:prstGeom prst="rect">
                <a:avLst/>
              </a:prstGeom>
              <a:solidFill>
                <a:sysClr val="window" lastClr="FFFFFF"/>
              </a:solidFill>
              <a:ln w="19050" algn="ctr">
                <a:solidFill>
                  <a:sysClr val="window" lastClr="FFFFFF"/>
                </a:solid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CA58BBA3-E0F7-421F-9585-E22DCB3D27F3}"/>
                  </a:ext>
                </a:extLst>
              </p:cNvPr>
              <p:cNvSpPr/>
              <p:nvPr/>
            </p:nvSpPr>
            <p:spPr bwMode="gray">
              <a:xfrm>
                <a:off x="7509458" y="4837164"/>
                <a:ext cx="304800" cy="308157"/>
              </a:xfrm>
              <a:prstGeom prst="rect">
                <a:avLst/>
              </a:prstGeom>
              <a:solidFill>
                <a:sysClr val="window" lastClr="FFFFFF"/>
              </a:solidFill>
              <a:ln w="19050" algn="ctr">
                <a:solidFill>
                  <a:sysClr val="window" lastClr="FFFFFF"/>
                </a:solid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grpSp>
      </p:grpSp>
      <p:sp>
        <p:nvSpPr>
          <p:cNvPr id="16" name="Rectangle 15">
            <a:extLst>
              <a:ext uri="{FF2B5EF4-FFF2-40B4-BE49-F238E27FC236}">
                <a16:creationId xmlns:a16="http://schemas.microsoft.com/office/drawing/2014/main" id="{32A7BAAD-7F6D-41AA-9472-409B221DC1F2}"/>
              </a:ext>
            </a:extLst>
          </p:cNvPr>
          <p:cNvSpPr/>
          <p:nvPr/>
        </p:nvSpPr>
        <p:spPr>
          <a:xfrm>
            <a:off x="419100" y="1712679"/>
            <a:ext cx="10185400" cy="338554"/>
          </a:xfrm>
          <a:prstGeom prst="rect">
            <a:avLst/>
          </a:prstGeom>
        </p:spPr>
        <p:txBody>
          <a:bodyPr wrap="square">
            <a:spAutoFit/>
          </a:bodyPr>
          <a:lstStyle/>
          <a:p>
            <a:pPr defTabSz="1219170">
              <a:defRPr/>
            </a:pPr>
            <a:r>
              <a:rPr lang="en-US" sz="1600" b="1" dirty="0">
                <a:solidFill>
                  <a:prstClr val="black"/>
                </a:solidFill>
                <a:latin typeface="Calibri" panose="020F0502020204030204" pitchFamily="34" charset="0"/>
                <a:cs typeface="Calibri" panose="020F0502020204030204" pitchFamily="34" charset="0"/>
              </a:rPr>
              <a:t>Delivering Excellence </a:t>
            </a:r>
          </a:p>
        </p:txBody>
      </p:sp>
    </p:spTree>
    <p:extLst>
      <p:ext uri="{BB962C8B-B14F-4D97-AF65-F5344CB8AC3E}">
        <p14:creationId xmlns:p14="http://schemas.microsoft.com/office/powerpoint/2010/main" val="2131160039"/>
      </p:ext>
    </p:extLst>
  </p:cSld>
  <p:clrMapOvr>
    <a:masterClrMapping/>
  </p:clrMapOvr>
  <p:transition spd="med">
    <p:pull/>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Title 1">
            <a:extLst>
              <a:ext uri="{FF2B5EF4-FFF2-40B4-BE49-F238E27FC236}">
                <a16:creationId xmlns:a16="http://schemas.microsoft.com/office/drawing/2014/main" id="{EED0906B-AAB2-468C-9021-74C9332BCA01}"/>
              </a:ext>
            </a:extLst>
          </p:cNvPr>
          <p:cNvSpPr>
            <a:spLocks noGrp="1"/>
          </p:cNvSpPr>
          <p:nvPr>
            <p:ph type="title"/>
          </p:nvPr>
        </p:nvSpPr>
        <p:spPr>
          <a:xfrm>
            <a:off x="522373" y="430820"/>
            <a:ext cx="11147258" cy="330986"/>
          </a:xfrm>
        </p:spPr>
        <p:txBody>
          <a:bodyPr/>
          <a:lstStyle/>
          <a:p>
            <a:r>
              <a:rPr lang="en-US" sz="2382" dirty="0">
                <a:cs typeface="Calibri" panose="020F0502020204030204" pitchFamily="34" charset="0"/>
              </a:rPr>
              <a:t>Executive Summary</a:t>
            </a:r>
          </a:p>
        </p:txBody>
      </p:sp>
      <p:sp>
        <p:nvSpPr>
          <p:cNvPr id="45" name="Text Placeholder 6">
            <a:extLst>
              <a:ext uri="{FF2B5EF4-FFF2-40B4-BE49-F238E27FC236}">
                <a16:creationId xmlns:a16="http://schemas.microsoft.com/office/drawing/2014/main" id="{EEA9E6B3-FC94-4919-AD0F-0B8973F6AD4A}"/>
              </a:ext>
            </a:extLst>
          </p:cNvPr>
          <p:cNvSpPr>
            <a:spLocks noGrp="1"/>
          </p:cNvSpPr>
          <p:nvPr>
            <p:ph type="body" sz="quarter" idx="13"/>
          </p:nvPr>
        </p:nvSpPr>
        <p:spPr>
          <a:xfrm>
            <a:off x="522373" y="761804"/>
            <a:ext cx="11147258" cy="750193"/>
          </a:xfrm>
        </p:spPr>
        <p:txBody>
          <a:bodyPr/>
          <a:lstStyle/>
          <a:p>
            <a:r>
              <a:rPr lang="en-US" dirty="0">
                <a:solidFill>
                  <a:srgbClr val="575757"/>
                </a:solidFill>
                <a:cs typeface="Calibri" panose="020F0502020204030204" pitchFamily="34" charset="0"/>
              </a:rPr>
              <a:t>Deloitte’s Proposition to stc</a:t>
            </a:r>
          </a:p>
        </p:txBody>
      </p:sp>
      <p:sp>
        <p:nvSpPr>
          <p:cNvPr id="113" name="Text Placeholder 1">
            <a:extLst>
              <a:ext uri="{FF2B5EF4-FFF2-40B4-BE49-F238E27FC236}">
                <a16:creationId xmlns:a16="http://schemas.microsoft.com/office/drawing/2014/main" id="{1D587191-3549-4BCB-BEB1-2455D382EFB1}"/>
              </a:ext>
            </a:extLst>
          </p:cNvPr>
          <p:cNvSpPr txBox="1">
            <a:spLocks/>
          </p:cNvSpPr>
          <p:nvPr/>
        </p:nvSpPr>
        <p:spPr>
          <a:xfrm>
            <a:off x="367183" y="1215295"/>
            <a:ext cx="11013083" cy="67615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51920" marR="441774" algn="just" defTabSz="906203">
              <a:spcAft>
                <a:spcPts val="591"/>
              </a:spcAft>
              <a:tabLst>
                <a:tab pos="116422" algn="l"/>
              </a:tabLst>
              <a:defRPr/>
            </a:pPr>
            <a:r>
              <a:rPr lang="en-US" sz="1091" dirty="0">
                <a:latin typeface="Calibri" panose="020F0502020204030204" pitchFamily="34" charset="0"/>
                <a:ea typeface="Verdana" panose="020B0604030504040204" pitchFamily="34" charset="0"/>
                <a:cs typeface="Calibri" panose="020F0502020204030204" pitchFamily="34" charset="0"/>
              </a:rPr>
              <a:t>Below provides a phased approach mapped to the project requirements, to deliver the desired outcomes for BCMS at stc.</a:t>
            </a:r>
          </a:p>
        </p:txBody>
      </p:sp>
      <p:sp>
        <p:nvSpPr>
          <p:cNvPr id="44" name="Triangle 28">
            <a:extLst>
              <a:ext uri="{FF2B5EF4-FFF2-40B4-BE49-F238E27FC236}">
                <a16:creationId xmlns:a16="http://schemas.microsoft.com/office/drawing/2014/main" id="{C8BC0AD6-9BA1-46D4-A87A-E1251708E295}"/>
              </a:ext>
            </a:extLst>
          </p:cNvPr>
          <p:cNvSpPr/>
          <p:nvPr/>
        </p:nvSpPr>
        <p:spPr>
          <a:xfrm rot="16200000">
            <a:off x="11053748" y="1371995"/>
            <a:ext cx="264966" cy="228419"/>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Sakkal Majalla" panose="02000000000000000000" pitchFamily="2" charset="-78"/>
              <a:cs typeface="Sakkal Majalla" panose="02000000000000000000" pitchFamily="2" charset="-78"/>
            </a:endParaRPr>
          </a:p>
        </p:txBody>
      </p:sp>
      <p:sp>
        <p:nvSpPr>
          <p:cNvPr id="40" name="Rectangle 39">
            <a:extLst>
              <a:ext uri="{FF2B5EF4-FFF2-40B4-BE49-F238E27FC236}">
                <a16:creationId xmlns:a16="http://schemas.microsoft.com/office/drawing/2014/main" id="{6C34B1CA-EE75-4E51-AFB0-ABA38146439B}"/>
              </a:ext>
            </a:extLst>
          </p:cNvPr>
          <p:cNvSpPr/>
          <p:nvPr/>
        </p:nvSpPr>
        <p:spPr bwMode="gray">
          <a:xfrm>
            <a:off x="1" y="0"/>
            <a:ext cx="165462" cy="6858000"/>
          </a:xfrm>
          <a:prstGeom prst="rect">
            <a:avLst/>
          </a:prstGeom>
          <a:solidFill>
            <a:srgbClr val="7F7F7F"/>
          </a:solidFill>
          <a:ln w="19050" algn="ctr">
            <a:noFill/>
            <a:miter lim="800000"/>
            <a:headEnd/>
            <a:tailEnd/>
          </a:ln>
        </p:spPr>
        <p:txBody>
          <a:bodyPr wrap="square" lIns="88900" tIns="88900" rIns="88900" bIns="88900" rtlCol="0" anchor="b"/>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grpSp>
        <p:nvGrpSpPr>
          <p:cNvPr id="2" name="Group 1">
            <a:extLst>
              <a:ext uri="{FF2B5EF4-FFF2-40B4-BE49-F238E27FC236}">
                <a16:creationId xmlns:a16="http://schemas.microsoft.com/office/drawing/2014/main" id="{E6E288E8-4585-8ABE-6301-8E31C75FDB02}"/>
              </a:ext>
            </a:extLst>
          </p:cNvPr>
          <p:cNvGrpSpPr/>
          <p:nvPr/>
        </p:nvGrpSpPr>
        <p:grpSpPr>
          <a:xfrm>
            <a:off x="592457" y="1822988"/>
            <a:ext cx="9476477" cy="4550379"/>
            <a:chOff x="241113" y="2504011"/>
            <a:chExt cx="7119817" cy="3418768"/>
          </a:xfrm>
        </p:grpSpPr>
        <p:sp>
          <p:nvSpPr>
            <p:cNvPr id="83" name="Teardrop 82">
              <a:extLst>
                <a:ext uri="{FF2B5EF4-FFF2-40B4-BE49-F238E27FC236}">
                  <a16:creationId xmlns:a16="http://schemas.microsoft.com/office/drawing/2014/main" id="{CBCC81D7-50D0-4946-A88B-DDFD15EB9627}"/>
                </a:ext>
              </a:extLst>
            </p:cNvPr>
            <p:cNvSpPr>
              <a:spLocks noChangeAspect="1"/>
            </p:cNvSpPr>
            <p:nvPr/>
          </p:nvSpPr>
          <p:spPr bwMode="gray">
            <a:xfrm rot="2785872">
              <a:off x="5781224" y="3564157"/>
              <a:ext cx="1375726" cy="1375726"/>
            </a:xfrm>
            <a:prstGeom prst="teardrop">
              <a:avLst/>
            </a:prstGeom>
            <a:solidFill>
              <a:srgbClr val="0097A9"/>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sp>
          <p:nvSpPr>
            <p:cNvPr id="84" name="Flowchart: Connector 83">
              <a:extLst>
                <a:ext uri="{FF2B5EF4-FFF2-40B4-BE49-F238E27FC236}">
                  <a16:creationId xmlns:a16="http://schemas.microsoft.com/office/drawing/2014/main" id="{6870202D-0B81-45ED-877C-8D86D7814323}"/>
                </a:ext>
              </a:extLst>
            </p:cNvPr>
            <p:cNvSpPr>
              <a:spLocks noChangeAspect="1"/>
            </p:cNvSpPr>
            <p:nvPr/>
          </p:nvSpPr>
          <p:spPr bwMode="gray">
            <a:xfrm>
              <a:off x="5900685" y="3685545"/>
              <a:ext cx="1136804" cy="1132951"/>
            </a:xfrm>
            <a:prstGeom prst="flowChartConnector">
              <a:avLst/>
            </a:prstGeom>
            <a:solidFill>
              <a:schemeClr val="bg1">
                <a:alpha val="79000"/>
              </a:schemeClr>
            </a:solidFill>
            <a:ln w="3175" algn="ctr">
              <a:solidFill>
                <a:schemeClr val="tx1"/>
              </a:solidFill>
              <a:miter lim="800000"/>
              <a:headEnd/>
              <a:tailEnd/>
            </a:ln>
          </p:spPr>
          <p:txBody>
            <a:bodyPr wrap="square" lIns="88071" tIns="88071" rIns="88071" bIns="88071" rtlCol="0" anchor="ctr"/>
            <a:lstStyle/>
            <a:p>
              <a:pPr algn="ctr">
                <a:buFont typeface="Wingdings 2" pitchFamily="18" charset="2"/>
                <a:buNone/>
              </a:pPr>
              <a:endParaRPr lang="en-US" sz="941" b="1" dirty="0">
                <a:solidFill>
                  <a:schemeClr val="bg1"/>
                </a:solidFill>
              </a:endParaRPr>
            </a:p>
          </p:txBody>
        </p:sp>
        <p:grpSp>
          <p:nvGrpSpPr>
            <p:cNvPr id="85" name="Group 84">
              <a:extLst>
                <a:ext uri="{FF2B5EF4-FFF2-40B4-BE49-F238E27FC236}">
                  <a16:creationId xmlns:a16="http://schemas.microsoft.com/office/drawing/2014/main" id="{67E72080-07AE-44D5-8D66-7DDF2C6C1518}"/>
                </a:ext>
              </a:extLst>
            </p:cNvPr>
            <p:cNvGrpSpPr/>
            <p:nvPr/>
          </p:nvGrpSpPr>
          <p:grpSpPr>
            <a:xfrm>
              <a:off x="4254330" y="3564157"/>
              <a:ext cx="1375726" cy="1375726"/>
              <a:chOff x="928587" y="2835465"/>
              <a:chExt cx="1554480" cy="1554480"/>
            </a:xfrm>
          </p:grpSpPr>
          <p:sp>
            <p:nvSpPr>
              <p:cNvPr id="86" name="Teardrop 85">
                <a:extLst>
                  <a:ext uri="{FF2B5EF4-FFF2-40B4-BE49-F238E27FC236}">
                    <a16:creationId xmlns:a16="http://schemas.microsoft.com/office/drawing/2014/main" id="{9EC39570-56DE-4EDD-89A7-17BA1E07D4C1}"/>
                  </a:ext>
                </a:extLst>
              </p:cNvPr>
              <p:cNvSpPr>
                <a:spLocks noChangeAspect="1"/>
              </p:cNvSpPr>
              <p:nvPr/>
            </p:nvSpPr>
            <p:spPr bwMode="gray">
              <a:xfrm rot="2785872">
                <a:off x="928587" y="2835465"/>
                <a:ext cx="1554480" cy="1554480"/>
              </a:xfrm>
              <a:prstGeom prst="teardrop">
                <a:avLst/>
              </a:prstGeom>
              <a:solidFill>
                <a:srgbClr val="00ABAB"/>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sp>
            <p:nvSpPr>
              <p:cNvPr id="87" name="Flowchart: Connector 86">
                <a:extLst>
                  <a:ext uri="{FF2B5EF4-FFF2-40B4-BE49-F238E27FC236}">
                    <a16:creationId xmlns:a16="http://schemas.microsoft.com/office/drawing/2014/main" id="{E33C1B00-9569-4B0B-91E9-8DF0D0886D44}"/>
                  </a:ext>
                </a:extLst>
              </p:cNvPr>
              <p:cNvSpPr>
                <a:spLocks noChangeAspect="1"/>
              </p:cNvSpPr>
              <p:nvPr/>
            </p:nvSpPr>
            <p:spPr bwMode="gray">
              <a:xfrm>
                <a:off x="1063570" y="2972625"/>
                <a:ext cx="1284514" cy="1280160"/>
              </a:xfrm>
              <a:prstGeom prst="flowChartConnector">
                <a:avLst/>
              </a:prstGeom>
              <a:solidFill>
                <a:schemeClr val="bg1">
                  <a:alpha val="79000"/>
                </a:schemeClr>
              </a:solidFill>
              <a:ln w="3175" algn="ctr">
                <a:solidFill>
                  <a:schemeClr val="tx1"/>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grpSp>
        <p:grpSp>
          <p:nvGrpSpPr>
            <p:cNvPr id="88" name="Group 87">
              <a:extLst>
                <a:ext uri="{FF2B5EF4-FFF2-40B4-BE49-F238E27FC236}">
                  <a16:creationId xmlns:a16="http://schemas.microsoft.com/office/drawing/2014/main" id="{36007EA4-425A-40DE-B961-6E356507F3EF}"/>
                </a:ext>
              </a:extLst>
            </p:cNvPr>
            <p:cNvGrpSpPr/>
            <p:nvPr/>
          </p:nvGrpSpPr>
          <p:grpSpPr>
            <a:xfrm>
              <a:off x="2716397" y="3564157"/>
              <a:ext cx="1375726" cy="1375726"/>
              <a:chOff x="928587" y="2835465"/>
              <a:chExt cx="1554480" cy="1554480"/>
            </a:xfrm>
          </p:grpSpPr>
          <p:sp>
            <p:nvSpPr>
              <p:cNvPr id="89" name="Teardrop 88">
                <a:extLst>
                  <a:ext uri="{FF2B5EF4-FFF2-40B4-BE49-F238E27FC236}">
                    <a16:creationId xmlns:a16="http://schemas.microsoft.com/office/drawing/2014/main" id="{C3A4A40D-1C02-4FF5-863D-393CD195E6EA}"/>
                  </a:ext>
                </a:extLst>
              </p:cNvPr>
              <p:cNvSpPr>
                <a:spLocks noChangeAspect="1"/>
              </p:cNvSpPr>
              <p:nvPr/>
            </p:nvSpPr>
            <p:spPr bwMode="gray">
              <a:xfrm rot="2785872">
                <a:off x="928587" y="2835465"/>
                <a:ext cx="1554480" cy="1554480"/>
              </a:xfrm>
              <a:prstGeom prst="teardrop">
                <a:avLst/>
              </a:prstGeom>
              <a:solidFill>
                <a:srgbClr val="00A3E0"/>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sp>
            <p:nvSpPr>
              <p:cNvPr id="90" name="Flowchart: Connector 89">
                <a:extLst>
                  <a:ext uri="{FF2B5EF4-FFF2-40B4-BE49-F238E27FC236}">
                    <a16:creationId xmlns:a16="http://schemas.microsoft.com/office/drawing/2014/main" id="{14FD9BFD-89C6-4B2F-88D5-7084F474FE59}"/>
                  </a:ext>
                </a:extLst>
              </p:cNvPr>
              <p:cNvSpPr>
                <a:spLocks noChangeAspect="1"/>
              </p:cNvSpPr>
              <p:nvPr/>
            </p:nvSpPr>
            <p:spPr bwMode="gray">
              <a:xfrm>
                <a:off x="1063570" y="2972625"/>
                <a:ext cx="1284514" cy="1280160"/>
              </a:xfrm>
              <a:prstGeom prst="flowChartConnector">
                <a:avLst/>
              </a:prstGeom>
              <a:solidFill>
                <a:schemeClr val="bg1">
                  <a:alpha val="79000"/>
                </a:schemeClr>
              </a:solidFill>
              <a:ln w="3175" algn="ctr">
                <a:solidFill>
                  <a:schemeClr val="tx1"/>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grpSp>
        <p:grpSp>
          <p:nvGrpSpPr>
            <p:cNvPr id="91" name="Group 90">
              <a:extLst>
                <a:ext uri="{FF2B5EF4-FFF2-40B4-BE49-F238E27FC236}">
                  <a16:creationId xmlns:a16="http://schemas.microsoft.com/office/drawing/2014/main" id="{E60BA110-FEBB-454F-B7E2-6ADE7D257A9B}"/>
                </a:ext>
              </a:extLst>
            </p:cNvPr>
            <p:cNvGrpSpPr/>
            <p:nvPr/>
          </p:nvGrpSpPr>
          <p:grpSpPr>
            <a:xfrm>
              <a:off x="1167943" y="3564157"/>
              <a:ext cx="1375726" cy="1375726"/>
              <a:chOff x="928587" y="2835465"/>
              <a:chExt cx="1554480" cy="1554480"/>
            </a:xfrm>
          </p:grpSpPr>
          <p:sp>
            <p:nvSpPr>
              <p:cNvPr id="92" name="Teardrop 91">
                <a:extLst>
                  <a:ext uri="{FF2B5EF4-FFF2-40B4-BE49-F238E27FC236}">
                    <a16:creationId xmlns:a16="http://schemas.microsoft.com/office/drawing/2014/main" id="{753E97A5-A389-4FA0-A4FC-F5705AC22BC7}"/>
                  </a:ext>
                </a:extLst>
              </p:cNvPr>
              <p:cNvSpPr>
                <a:spLocks noChangeAspect="1"/>
              </p:cNvSpPr>
              <p:nvPr/>
            </p:nvSpPr>
            <p:spPr bwMode="gray">
              <a:xfrm rot="2785872">
                <a:off x="928587" y="2835465"/>
                <a:ext cx="1554480" cy="1554480"/>
              </a:xfrm>
              <a:prstGeom prst="teardrop">
                <a:avLst/>
              </a:prstGeom>
              <a:solidFill>
                <a:srgbClr val="005560"/>
              </a:solidFill>
              <a:ln w="19050" algn="ctr">
                <a:no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sp>
            <p:nvSpPr>
              <p:cNvPr id="93" name="Flowchart: Connector 92">
                <a:extLst>
                  <a:ext uri="{FF2B5EF4-FFF2-40B4-BE49-F238E27FC236}">
                    <a16:creationId xmlns:a16="http://schemas.microsoft.com/office/drawing/2014/main" id="{1080B22C-5CA0-4083-B004-5368395C4733}"/>
                  </a:ext>
                </a:extLst>
              </p:cNvPr>
              <p:cNvSpPr>
                <a:spLocks noChangeAspect="1"/>
              </p:cNvSpPr>
              <p:nvPr/>
            </p:nvSpPr>
            <p:spPr bwMode="gray">
              <a:xfrm>
                <a:off x="1063570" y="2972625"/>
                <a:ext cx="1284514" cy="1280160"/>
              </a:xfrm>
              <a:prstGeom prst="flowChartConnector">
                <a:avLst/>
              </a:prstGeom>
              <a:solidFill>
                <a:schemeClr val="bg1">
                  <a:alpha val="77000"/>
                </a:schemeClr>
              </a:solidFill>
              <a:ln w="3175" algn="ctr">
                <a:solidFill>
                  <a:schemeClr val="tx1"/>
                </a:solidFill>
                <a:miter lim="800000"/>
                <a:headEnd/>
                <a:tailEnd/>
              </a:ln>
            </p:spPr>
            <p:txBody>
              <a:bodyPr wrap="square" lIns="88071" tIns="88071" rIns="88071" bIns="88071" rtlCol="0" anchor="ctr"/>
              <a:lstStyle/>
              <a:p>
                <a:pPr algn="ctr">
                  <a:lnSpc>
                    <a:spcPct val="106000"/>
                  </a:lnSpc>
                  <a:buFont typeface="Wingdings 2" pitchFamily="18" charset="2"/>
                  <a:buNone/>
                </a:pPr>
                <a:endParaRPr lang="en-US" sz="941" b="1" dirty="0">
                  <a:solidFill>
                    <a:schemeClr val="bg1"/>
                  </a:solidFill>
                </a:endParaRPr>
              </a:p>
            </p:txBody>
          </p:sp>
        </p:grpSp>
        <p:sp>
          <p:nvSpPr>
            <p:cNvPr id="96" name="TextBox 95">
              <a:extLst>
                <a:ext uri="{FF2B5EF4-FFF2-40B4-BE49-F238E27FC236}">
                  <a16:creationId xmlns:a16="http://schemas.microsoft.com/office/drawing/2014/main" id="{87B657B3-656A-4ECC-A197-80F6B6A9C22F}"/>
                </a:ext>
              </a:extLst>
            </p:cNvPr>
            <p:cNvSpPr txBox="1"/>
            <p:nvPr/>
          </p:nvSpPr>
          <p:spPr>
            <a:xfrm>
              <a:off x="1362417" y="4114226"/>
              <a:ext cx="1018865" cy="289566"/>
            </a:xfrm>
            <a:prstGeom prst="rect">
              <a:avLst/>
            </a:prstGeom>
            <a:noFill/>
          </p:spPr>
          <p:txBody>
            <a:bodyPr wrap="square" lIns="0" tIns="0" rIns="0" bIns="0" rtlCol="0" anchor="ctr">
              <a:spAutoFit/>
            </a:bodyPr>
            <a:lstStyle/>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hase 1:</a:t>
              </a:r>
            </a:p>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BCM Risk Assessment</a:t>
              </a:r>
            </a:p>
          </p:txBody>
        </p:sp>
        <p:sp>
          <p:nvSpPr>
            <p:cNvPr id="97" name="TextBox 96">
              <a:extLst>
                <a:ext uri="{FF2B5EF4-FFF2-40B4-BE49-F238E27FC236}">
                  <a16:creationId xmlns:a16="http://schemas.microsoft.com/office/drawing/2014/main" id="{D6212378-E07D-4FA4-BEFE-0A43839A86B5}"/>
                </a:ext>
              </a:extLst>
            </p:cNvPr>
            <p:cNvSpPr txBox="1"/>
            <p:nvPr/>
          </p:nvSpPr>
          <p:spPr>
            <a:xfrm>
              <a:off x="2899806" y="4041834"/>
              <a:ext cx="1051369" cy="434350"/>
            </a:xfrm>
            <a:prstGeom prst="rect">
              <a:avLst/>
            </a:prstGeom>
            <a:noFill/>
          </p:spPr>
          <p:txBody>
            <a:bodyPr wrap="square" lIns="0" tIns="0" rIns="0" bIns="0" rtlCol="0" anchor="ctr">
              <a:spAutoFit/>
            </a:bodyPr>
            <a:lstStyle/>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hase 2:</a:t>
              </a:r>
            </a:p>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BCM Strategy and Roadmap</a:t>
              </a:r>
            </a:p>
          </p:txBody>
        </p:sp>
        <p:sp>
          <p:nvSpPr>
            <p:cNvPr id="98" name="TextBox 97">
              <a:extLst>
                <a:ext uri="{FF2B5EF4-FFF2-40B4-BE49-F238E27FC236}">
                  <a16:creationId xmlns:a16="http://schemas.microsoft.com/office/drawing/2014/main" id="{E5BD5462-7035-42B7-B120-E0F1626F2CA6}"/>
                </a:ext>
              </a:extLst>
            </p:cNvPr>
            <p:cNvSpPr txBox="1"/>
            <p:nvPr/>
          </p:nvSpPr>
          <p:spPr>
            <a:xfrm>
              <a:off x="4407531" y="4095842"/>
              <a:ext cx="1070923" cy="326334"/>
            </a:xfrm>
            <a:prstGeom prst="rect">
              <a:avLst/>
            </a:prstGeom>
            <a:noFill/>
          </p:spPr>
          <p:txBody>
            <a:bodyPr wrap="square" lIns="0" tIns="0" rIns="0" bIns="0" rtlCol="0" anchor="ctr">
              <a:spAutoFit/>
            </a:bodyPr>
            <a:lstStyle/>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hase 3:</a:t>
              </a:r>
            </a:p>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lans Review and Enhancement</a:t>
              </a:r>
            </a:p>
          </p:txBody>
        </p:sp>
        <p:sp>
          <p:nvSpPr>
            <p:cNvPr id="99" name="TextBox 98">
              <a:extLst>
                <a:ext uri="{FF2B5EF4-FFF2-40B4-BE49-F238E27FC236}">
                  <a16:creationId xmlns:a16="http://schemas.microsoft.com/office/drawing/2014/main" id="{679B885D-EA34-490F-856D-3ACBA8798435}"/>
                </a:ext>
              </a:extLst>
            </p:cNvPr>
            <p:cNvSpPr txBox="1"/>
            <p:nvPr/>
          </p:nvSpPr>
          <p:spPr>
            <a:xfrm>
              <a:off x="5992209" y="4114226"/>
              <a:ext cx="967746" cy="289566"/>
            </a:xfrm>
            <a:prstGeom prst="rect">
              <a:avLst/>
            </a:prstGeom>
            <a:noFill/>
          </p:spPr>
          <p:txBody>
            <a:bodyPr wrap="square" lIns="0" tIns="0" rIns="0" bIns="0" rtlCol="0" anchor="ctr">
              <a:spAutoFit/>
            </a:bodyPr>
            <a:lstStyle/>
            <a:p>
              <a:pPr algn="ctr">
                <a:defRPr/>
              </a:pPr>
              <a:r>
                <a:rPr lang="en-US" sz="941" b="1" dirty="0">
                  <a:solidFill>
                    <a:schemeClr val="tx2">
                      <a:lumMod val="75000"/>
                    </a:schemeClr>
                  </a:solidFill>
                  <a:latin typeface="Calibri" panose="020F0502020204030204" pitchFamily="34" charset="0"/>
                  <a:ea typeface="Verdana" panose="020B0604030504040204" pitchFamily="34" charset="0"/>
                  <a:cs typeface="Calibri" panose="020F0502020204030204" pitchFamily="34" charset="0"/>
                </a:rPr>
                <a:t>Phase 4:</a:t>
              </a:r>
            </a:p>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BCM Exercising</a:t>
              </a:r>
            </a:p>
          </p:txBody>
        </p:sp>
        <p:cxnSp>
          <p:nvCxnSpPr>
            <p:cNvPr id="101" name="Straight Connector 103">
              <a:extLst>
                <a:ext uri="{FF2B5EF4-FFF2-40B4-BE49-F238E27FC236}">
                  <a16:creationId xmlns:a16="http://schemas.microsoft.com/office/drawing/2014/main" id="{74841969-7CA8-4BE5-965F-776B6ABDEAD1}"/>
                </a:ext>
              </a:extLst>
            </p:cNvPr>
            <p:cNvCxnSpPr>
              <a:cxnSpLocks/>
              <a:stCxn id="92" idx="1"/>
              <a:endCxn id="110" idx="0"/>
            </p:cNvCxnSpPr>
            <p:nvPr/>
          </p:nvCxnSpPr>
          <p:spPr>
            <a:xfrm>
              <a:off x="1838625" y="4939668"/>
              <a:ext cx="3130" cy="222546"/>
            </a:xfrm>
            <a:prstGeom prst="line">
              <a:avLst/>
            </a:prstGeom>
            <a:ln w="3175">
              <a:solidFill>
                <a:srgbClr val="00556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891CF2F-9BE6-477D-ACA5-C73FC9E8346F}"/>
                </a:ext>
              </a:extLst>
            </p:cNvPr>
            <p:cNvCxnSpPr>
              <a:cxnSpLocks/>
              <a:stCxn id="103" idx="2"/>
              <a:endCxn id="89" idx="5"/>
            </p:cNvCxnSpPr>
            <p:nvPr/>
          </p:nvCxnSpPr>
          <p:spPr>
            <a:xfrm flipH="1">
              <a:off x="3421440" y="3394239"/>
              <a:ext cx="1082" cy="170133"/>
            </a:xfrm>
            <a:prstGeom prst="line">
              <a:avLst/>
            </a:prstGeom>
            <a:ln w="3175">
              <a:solidFill>
                <a:srgbClr val="00A3E0"/>
              </a:solidFill>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908AD09F-2E91-4C52-B098-C2F966BED120}"/>
                </a:ext>
              </a:extLst>
            </p:cNvPr>
            <p:cNvSpPr/>
            <p:nvPr/>
          </p:nvSpPr>
          <p:spPr>
            <a:xfrm>
              <a:off x="2524120" y="2504011"/>
              <a:ext cx="1796803" cy="890228"/>
            </a:xfrm>
            <a:prstGeom prst="rect">
              <a:avLst/>
            </a:prstGeom>
            <a:solidFill>
              <a:srgbClr val="C9ECF8"/>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35880" tIns="135880" rIns="135880" bIns="135880" rtlCol="0" anchor="ctr"/>
            <a:lstStyle/>
            <a:p>
              <a:pPr algn="ctr">
                <a:defRPr/>
              </a:pPr>
              <a:r>
                <a:rPr lang="en-US" sz="1000" dirty="0">
                  <a:solidFill>
                    <a:srgbClr val="111C4E"/>
                  </a:solidFill>
                  <a:latin typeface="Calibri" panose="020F0502020204030204" pitchFamily="34" charset="0"/>
                  <a:ea typeface="Verdana" panose="020B0604030504040204" pitchFamily="34" charset="0"/>
                  <a:cs typeface="Calibri" panose="020F0502020204030204" pitchFamily="34" charset="0"/>
                </a:rPr>
                <a:t>Review existing BCM Strategy and existing BCM roadmap, refine BCM Strategy in alignment with BIA and RA performed to address gaps in stc’ existing recovery strategy; identify and document list of activities/gap required to refine Recovery Strategy </a:t>
              </a:r>
            </a:p>
          </p:txBody>
        </p:sp>
        <p:cxnSp>
          <p:nvCxnSpPr>
            <p:cNvPr id="104" name="Straight Connector 103">
              <a:extLst>
                <a:ext uri="{FF2B5EF4-FFF2-40B4-BE49-F238E27FC236}">
                  <a16:creationId xmlns:a16="http://schemas.microsoft.com/office/drawing/2014/main" id="{BBB506E9-1D89-4EEF-9BCF-FADBBB88FED9}"/>
                </a:ext>
              </a:extLst>
            </p:cNvPr>
            <p:cNvCxnSpPr>
              <a:cxnSpLocks/>
              <a:stCxn id="105" idx="0"/>
              <a:endCxn id="86" idx="1"/>
            </p:cNvCxnSpPr>
            <p:nvPr/>
          </p:nvCxnSpPr>
          <p:spPr>
            <a:xfrm flipV="1">
              <a:off x="4923281" y="4939668"/>
              <a:ext cx="1731" cy="222546"/>
            </a:xfrm>
            <a:prstGeom prst="line">
              <a:avLst/>
            </a:prstGeom>
            <a:ln w="3175">
              <a:solidFill>
                <a:srgbClr val="00ABAB"/>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AE92AFC7-F2B7-4E68-86C0-8353325F879E}"/>
                </a:ext>
              </a:extLst>
            </p:cNvPr>
            <p:cNvSpPr/>
            <p:nvPr/>
          </p:nvSpPr>
          <p:spPr>
            <a:xfrm>
              <a:off x="3920076" y="5162215"/>
              <a:ext cx="2006410" cy="760564"/>
            </a:xfrm>
            <a:prstGeom prst="rect">
              <a:avLst/>
            </a:prstGeom>
            <a:solidFill>
              <a:srgbClr val="C9EDED"/>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35880" tIns="135880" rIns="135880" bIns="135880" rtlCol="0" anchor="ctr"/>
            <a:lstStyle/>
            <a:p>
              <a:pPr algn="ctr">
                <a:defRPr/>
              </a:pPr>
              <a:r>
                <a:rPr lang="en-US" sz="1000" dirty="0">
                  <a:solidFill>
                    <a:srgbClr val="111C4E"/>
                  </a:solidFill>
                  <a:latin typeface="Calibri" panose="020F0502020204030204" pitchFamily="34" charset="0"/>
                  <a:ea typeface="Verdana" panose="020B0604030504040204" pitchFamily="34" charset="0"/>
                  <a:cs typeface="Calibri" panose="020F0502020204030204" pitchFamily="34" charset="0"/>
                </a:rPr>
                <a:t>Review the existing BCP template and identify gaps in existing BCP plan in alignment with ISO 22301. Review plans including ER, CM, DR, IM etc., provide recommendations and update the plans. Align IT DR and Telecom DR along with incident management </a:t>
              </a:r>
            </a:p>
          </p:txBody>
        </p:sp>
        <p:cxnSp>
          <p:nvCxnSpPr>
            <p:cNvPr id="106" name="Straight Connector 105">
              <a:extLst>
                <a:ext uri="{FF2B5EF4-FFF2-40B4-BE49-F238E27FC236}">
                  <a16:creationId xmlns:a16="http://schemas.microsoft.com/office/drawing/2014/main" id="{AE0F3D2C-24DC-4D62-A4E9-AC295E321237}"/>
                </a:ext>
              </a:extLst>
            </p:cNvPr>
            <p:cNvCxnSpPr>
              <a:cxnSpLocks/>
              <a:stCxn id="107" idx="2"/>
              <a:endCxn id="83" idx="5"/>
            </p:cNvCxnSpPr>
            <p:nvPr/>
          </p:nvCxnSpPr>
          <p:spPr>
            <a:xfrm>
              <a:off x="6481933" y="3320437"/>
              <a:ext cx="4334" cy="243935"/>
            </a:xfrm>
            <a:prstGeom prst="line">
              <a:avLst/>
            </a:prstGeom>
            <a:ln w="3175">
              <a:solidFill>
                <a:srgbClr val="0097A9"/>
              </a:solidFill>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7A051625-F03F-4159-B6E0-1A436AE3DCB2}"/>
                </a:ext>
              </a:extLst>
            </p:cNvPr>
            <p:cNvSpPr/>
            <p:nvPr/>
          </p:nvSpPr>
          <p:spPr>
            <a:xfrm>
              <a:off x="5602935" y="2581260"/>
              <a:ext cx="1757995" cy="739177"/>
            </a:xfrm>
            <a:prstGeom prst="rect">
              <a:avLst/>
            </a:prstGeom>
            <a:solidFill>
              <a:srgbClr val="C9E9ED"/>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35880" tIns="135880" rIns="135880" bIns="135880" rtlCol="0" anchor="ctr"/>
            <a:lstStyle/>
            <a:p>
              <a:pPr algn="ctr">
                <a:defRPr/>
              </a:pPr>
              <a:r>
                <a:rPr lang="en-US" sz="1000" dirty="0">
                  <a:solidFill>
                    <a:srgbClr val="111C4E"/>
                  </a:solidFill>
                  <a:latin typeface="Calibri" panose="020F0502020204030204" pitchFamily="34" charset="0"/>
                  <a:ea typeface="Verdana" panose="020B0604030504040204" pitchFamily="34" charset="0"/>
                  <a:cs typeface="Calibri" panose="020F0502020204030204" pitchFamily="34" charset="0"/>
                </a:rPr>
                <a:t>Develop BCM exercising program and exercise plans, develop different test scenarios, conduct tabletop exercises and crisis simulations with different teams and stakeholders.</a:t>
              </a:r>
            </a:p>
          </p:txBody>
        </p:sp>
        <p:sp>
          <p:nvSpPr>
            <p:cNvPr id="110" name="Rectangle 109">
              <a:extLst>
                <a:ext uri="{FF2B5EF4-FFF2-40B4-BE49-F238E27FC236}">
                  <a16:creationId xmlns:a16="http://schemas.microsoft.com/office/drawing/2014/main" id="{5DBEAD0E-4EB0-40E5-89B8-38B2449B0C9D}"/>
                </a:ext>
              </a:extLst>
            </p:cNvPr>
            <p:cNvSpPr/>
            <p:nvPr/>
          </p:nvSpPr>
          <p:spPr>
            <a:xfrm>
              <a:off x="1016858" y="5162215"/>
              <a:ext cx="1649794" cy="760564"/>
            </a:xfrm>
            <a:prstGeom prst="rect">
              <a:avLst/>
            </a:prstGeom>
            <a:solidFill>
              <a:srgbClr val="C4D8DA"/>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35880" tIns="135880" rIns="135880" bIns="135880" rtlCol="0" anchor="ctr"/>
            <a:lstStyle/>
            <a:p>
              <a:pPr algn="ctr"/>
              <a:r>
                <a:rPr lang="en-US" sz="1000" dirty="0">
                  <a:solidFill>
                    <a:srgbClr val="111C4E"/>
                  </a:solidFill>
                  <a:latin typeface="Calibri" panose="020F0502020204030204" pitchFamily="34" charset="0"/>
                  <a:ea typeface="Verdana" panose="020B0604030504040204" pitchFamily="34" charset="0"/>
                  <a:cs typeface="Calibri" panose="020F0502020204030204" pitchFamily="34" charset="0"/>
                </a:rPr>
                <a:t>Identify threats and risks to stc processes, services and products, perform risk assessment, identify existing controls and propose mitigations. Update risk registers and develop risk assessment report</a:t>
              </a:r>
            </a:p>
          </p:txBody>
        </p:sp>
        <p:sp>
          <p:nvSpPr>
            <p:cNvPr id="3" name="Arrow: Right 2">
              <a:extLst>
                <a:ext uri="{FF2B5EF4-FFF2-40B4-BE49-F238E27FC236}">
                  <a16:creationId xmlns:a16="http://schemas.microsoft.com/office/drawing/2014/main" id="{412F27DB-BA37-9113-4002-DE2FA716FD7D}"/>
                </a:ext>
              </a:extLst>
            </p:cNvPr>
            <p:cNvSpPr/>
            <p:nvPr/>
          </p:nvSpPr>
          <p:spPr bwMode="gray">
            <a:xfrm>
              <a:off x="263867" y="4048605"/>
              <a:ext cx="877188" cy="434350"/>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extBox 3">
              <a:extLst>
                <a:ext uri="{FF2B5EF4-FFF2-40B4-BE49-F238E27FC236}">
                  <a16:creationId xmlns:a16="http://schemas.microsoft.com/office/drawing/2014/main" id="{21CFFACD-0675-2238-FD1D-80C068A08740}"/>
                </a:ext>
              </a:extLst>
            </p:cNvPr>
            <p:cNvSpPr txBox="1"/>
            <p:nvPr/>
          </p:nvSpPr>
          <p:spPr>
            <a:xfrm>
              <a:off x="241113" y="3869637"/>
              <a:ext cx="842037" cy="289566"/>
            </a:xfrm>
            <a:prstGeom prst="rect">
              <a:avLst/>
            </a:prstGeom>
            <a:noFill/>
          </p:spPr>
          <p:txBody>
            <a:bodyPr wrap="square" lIns="0" tIns="0" rIns="0" bIns="0" rtlCol="0" anchor="ctr">
              <a:spAutoFit/>
            </a:bodyPr>
            <a:lstStyle/>
            <a:p>
              <a:pPr algn="ctr">
                <a:defRPr/>
              </a:pPr>
              <a:r>
                <a:rPr lang="en-US" sz="941" b="1" dirty="0">
                  <a:solidFill>
                    <a:srgbClr val="041E42"/>
                  </a:solidFill>
                  <a:latin typeface="Calibri" panose="020F0502020204030204" pitchFamily="34" charset="0"/>
                  <a:ea typeface="Verdana" panose="020B0604030504040204" pitchFamily="34" charset="0"/>
                  <a:cs typeface="Calibri" panose="020F0502020204030204" pitchFamily="34" charset="0"/>
                </a:rPr>
                <a:t>Project Initiation Activities</a:t>
              </a:r>
            </a:p>
          </p:txBody>
        </p:sp>
      </p:grpSp>
    </p:spTree>
    <p:extLst>
      <p:ext uri="{BB962C8B-B14F-4D97-AF65-F5344CB8AC3E}">
        <p14:creationId xmlns:p14="http://schemas.microsoft.com/office/powerpoint/2010/main" val="732510745"/>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5" name="Title 2">
            <a:extLst>
              <a:ext uri="{FF2B5EF4-FFF2-40B4-BE49-F238E27FC236}">
                <a16:creationId xmlns:a16="http://schemas.microsoft.com/office/drawing/2014/main" id="{56E19CA1-77E6-453A-9054-CF2FF4742284}"/>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8" name="Text Placeholder 1">
            <a:extLst>
              <a:ext uri="{FF2B5EF4-FFF2-40B4-BE49-F238E27FC236}">
                <a16:creationId xmlns:a16="http://schemas.microsoft.com/office/drawing/2014/main" id="{A8678250-95CD-479B-B20E-A351C0B2DCD7}"/>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Our Core Services (2/2)</a:t>
            </a:r>
          </a:p>
        </p:txBody>
      </p:sp>
      <p:sp>
        <p:nvSpPr>
          <p:cNvPr id="9" name="Content Placeholder 3">
            <a:extLst>
              <a:ext uri="{FF2B5EF4-FFF2-40B4-BE49-F238E27FC236}">
                <a16:creationId xmlns:a16="http://schemas.microsoft.com/office/drawing/2014/main" id="{739EF699-886E-42E2-9353-C0971FC825C1}"/>
              </a:ext>
            </a:extLst>
          </p:cNvPr>
          <p:cNvSpPr txBox="1">
            <a:spLocks/>
          </p:cNvSpPr>
          <p:nvPr/>
        </p:nvSpPr>
        <p:spPr>
          <a:xfrm>
            <a:off x="498819" y="1329559"/>
            <a:ext cx="10399916" cy="64747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1400" b="1" dirty="0">
                <a:solidFill>
                  <a:prstClr val="black"/>
                </a:solidFill>
                <a:latin typeface="Calibri"/>
                <a:cs typeface="Calibri" panose="020F0502020204030204" pitchFamily="34" charset="0"/>
              </a:rPr>
              <a:t>Solving complex problems is our passion. We’ve built our world-class businesses to affect change that matters and deliver transformational impact for clients and the communities in which we work.  </a:t>
            </a:r>
            <a:r>
              <a:rPr lang="en-US" sz="1400" dirty="0">
                <a:solidFill>
                  <a:prstClr val="black"/>
                </a:solidFill>
                <a:latin typeface="Calibri"/>
                <a:cs typeface="Calibri" panose="020F0502020204030204" pitchFamily="34" charset="0"/>
              </a:rPr>
              <a:t>Our operating model allows our businesses to work better together and enables sustained enhancement and innovations to service capability and cross-border delivery as well as talent development and deployment.</a:t>
            </a:r>
          </a:p>
        </p:txBody>
      </p:sp>
      <p:sp>
        <p:nvSpPr>
          <p:cNvPr id="11" name="object 4">
            <a:extLst>
              <a:ext uri="{FF2B5EF4-FFF2-40B4-BE49-F238E27FC236}">
                <a16:creationId xmlns:a16="http://schemas.microsoft.com/office/drawing/2014/main" id="{9079C17A-9B60-4046-9EFE-CFE9E64AFEC5}"/>
              </a:ext>
            </a:extLst>
          </p:cNvPr>
          <p:cNvSpPr txBox="1"/>
          <p:nvPr/>
        </p:nvSpPr>
        <p:spPr>
          <a:xfrm>
            <a:off x="435245" y="3678400"/>
            <a:ext cx="3403988" cy="677108"/>
          </a:xfrm>
          <a:prstGeom prst="rect">
            <a:avLst/>
          </a:prstGeom>
        </p:spPr>
        <p:txBody>
          <a:bodyPr vert="horz" wrap="square" lIns="0" tIns="0" rIns="0" bIns="0" rtlCol="0">
            <a:spAutoFit/>
          </a:bodyPr>
          <a:lstStyle/>
          <a:p>
            <a:pPr marL="285750" indent="-115888" defTabSz="457197">
              <a:buFont typeface="Arial" panose="020B0604020202020204" pitchFamily="34" charset="0"/>
              <a:buChar char="•"/>
              <a:defRPr/>
            </a:pPr>
            <a:r>
              <a:rPr lang="en-US" sz="1100" dirty="0">
                <a:solidFill>
                  <a:prstClr val="black"/>
                </a:solidFill>
                <a:latin typeface="Calibri"/>
                <a:ea typeface="Verdana" panose="020B0604030504040204" pitchFamily="34" charset="0"/>
                <a:cs typeface="Calibri" panose="020F0502020204030204" pitchFamily="34" charset="0"/>
              </a:rPr>
              <a:t>Financial statements Audit</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Accounting Advisory</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Assurance Services</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Integrated Services</a:t>
            </a:r>
          </a:p>
        </p:txBody>
      </p:sp>
      <p:sp>
        <p:nvSpPr>
          <p:cNvPr id="12" name="Rectangle 11">
            <a:extLst>
              <a:ext uri="{FF2B5EF4-FFF2-40B4-BE49-F238E27FC236}">
                <a16:creationId xmlns:a16="http://schemas.microsoft.com/office/drawing/2014/main" id="{4BF22103-BD60-4B3A-B3C1-D7E8B78458F7}"/>
              </a:ext>
            </a:extLst>
          </p:cNvPr>
          <p:cNvSpPr/>
          <p:nvPr/>
        </p:nvSpPr>
        <p:spPr>
          <a:xfrm>
            <a:off x="435245" y="2489180"/>
            <a:ext cx="3401568" cy="91440"/>
          </a:xfrm>
          <a:prstGeom prst="rect">
            <a:avLst/>
          </a:prstGeom>
          <a:solidFill>
            <a:srgbClr val="86BC25"/>
          </a:solidFill>
          <a:ln w="25400" cap="flat" cmpd="sng" algn="ctr">
            <a:noFill/>
            <a:prstDash val="solid"/>
          </a:ln>
          <a:effectLst/>
        </p:spPr>
        <p:txBody>
          <a:bodyPr rtlCol="0" anchor="t"/>
          <a:lstStyle/>
          <a:p>
            <a:pPr algn="ctr">
              <a:spcAft>
                <a:spcPts val="1003"/>
              </a:spcAft>
              <a:defRPr/>
            </a:pPr>
            <a:endParaRPr lang="en-US" sz="1100" kern="0" dirty="0">
              <a:solidFill>
                <a:prstClr val="black"/>
              </a:solidFill>
              <a:ea typeface="Verdana" panose="020B060403050404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6193D09D-9380-409B-B8E9-361C71F51E23}"/>
              </a:ext>
            </a:extLst>
          </p:cNvPr>
          <p:cNvSpPr/>
          <p:nvPr/>
        </p:nvSpPr>
        <p:spPr>
          <a:xfrm>
            <a:off x="1158190" y="2082502"/>
            <a:ext cx="2154756" cy="400110"/>
          </a:xfrm>
          <a:prstGeom prst="rect">
            <a:avLst/>
          </a:prstGeom>
        </p:spPr>
        <p:txBody>
          <a:bodyPr wrap="none">
            <a:spAutoFit/>
          </a:bodyPr>
          <a:lstStyle/>
          <a:p>
            <a:pPr algn="ctr" defTabSz="916686" eaLnBrk="0" hangingPunct="0">
              <a:spcBef>
                <a:spcPts val="400"/>
              </a:spcBef>
              <a:defRPr/>
            </a:pPr>
            <a:r>
              <a:rPr lang="en-US" sz="2000" b="1" kern="0" dirty="0">
                <a:solidFill>
                  <a:prstClr val="black"/>
                </a:solidFill>
                <a:latin typeface="Calibri"/>
                <a:cs typeface="Calibri" panose="020F0502020204030204" pitchFamily="34" charset="0"/>
              </a:rPr>
              <a:t>Audit &amp; Assurance</a:t>
            </a:r>
          </a:p>
        </p:txBody>
      </p:sp>
      <p:sp>
        <p:nvSpPr>
          <p:cNvPr id="14" name="Rectangle 13">
            <a:extLst>
              <a:ext uri="{FF2B5EF4-FFF2-40B4-BE49-F238E27FC236}">
                <a16:creationId xmlns:a16="http://schemas.microsoft.com/office/drawing/2014/main" id="{191BD190-4031-4844-BBEE-6C47A1A71A14}"/>
              </a:ext>
            </a:extLst>
          </p:cNvPr>
          <p:cNvSpPr/>
          <p:nvPr/>
        </p:nvSpPr>
        <p:spPr>
          <a:xfrm>
            <a:off x="435245" y="2719956"/>
            <a:ext cx="3503797" cy="938719"/>
          </a:xfrm>
          <a:prstGeom prst="rect">
            <a:avLst/>
          </a:prstGeom>
        </p:spPr>
        <p:txBody>
          <a:bodyPr wrap="square">
            <a:spAutoFit/>
          </a:bodyPr>
          <a:lstStyle/>
          <a:p>
            <a:pPr defTabSz="1219170">
              <a:defRPr/>
            </a:pPr>
            <a:r>
              <a:rPr lang="en-US" sz="1100" dirty="0">
                <a:solidFill>
                  <a:prstClr val="black"/>
                </a:solidFill>
                <a:latin typeface="Calibri"/>
                <a:ea typeface="Verdana" panose="020B0604030504040204" pitchFamily="34" charset="0"/>
                <a:cs typeface="Calibri" panose="020F0502020204030204" pitchFamily="34" charset="0"/>
              </a:rPr>
              <a:t>Audit &amp; Assurance is about much more than just the numbers. It’s about attesting to accomplishments and challenges, and helping to assure strong foundations for future aspirations. Deloitte illuminates the what, how, and why of change so you’re always ready to act ahead.</a:t>
            </a:r>
          </a:p>
        </p:txBody>
      </p:sp>
      <p:sp>
        <p:nvSpPr>
          <p:cNvPr id="15" name="Rectangle 14">
            <a:extLst>
              <a:ext uri="{FF2B5EF4-FFF2-40B4-BE49-F238E27FC236}">
                <a16:creationId xmlns:a16="http://schemas.microsoft.com/office/drawing/2014/main" id="{1E90E96E-D4F0-4B27-9CA7-D3A40A224627}"/>
              </a:ext>
            </a:extLst>
          </p:cNvPr>
          <p:cNvSpPr/>
          <p:nvPr/>
        </p:nvSpPr>
        <p:spPr>
          <a:xfrm>
            <a:off x="3878607" y="2489180"/>
            <a:ext cx="3403988" cy="91440"/>
          </a:xfrm>
          <a:prstGeom prst="rect">
            <a:avLst/>
          </a:prstGeom>
          <a:solidFill>
            <a:srgbClr val="43B02A"/>
          </a:solidFill>
          <a:ln w="25400" cap="flat" cmpd="sng" algn="ctr">
            <a:noFill/>
            <a:prstDash val="solid"/>
          </a:ln>
          <a:effectLst/>
        </p:spPr>
        <p:txBody>
          <a:bodyPr rtlCol="0" anchor="t"/>
          <a:lstStyle/>
          <a:p>
            <a:pPr algn="ctr">
              <a:spcAft>
                <a:spcPts val="1003"/>
              </a:spcAft>
              <a:defRPr/>
            </a:pPr>
            <a:endParaRPr lang="en-US" sz="1100" kern="0" dirty="0">
              <a:solidFill>
                <a:prstClr val="black"/>
              </a:solidFill>
              <a:ea typeface="Verdana" panose="020B060403050404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D94E0DE7-4112-44FC-BA7E-F47F92008155}"/>
              </a:ext>
            </a:extLst>
          </p:cNvPr>
          <p:cNvSpPr/>
          <p:nvPr/>
        </p:nvSpPr>
        <p:spPr>
          <a:xfrm>
            <a:off x="4896760" y="2082502"/>
            <a:ext cx="1367682" cy="400110"/>
          </a:xfrm>
          <a:prstGeom prst="rect">
            <a:avLst/>
          </a:prstGeom>
        </p:spPr>
        <p:txBody>
          <a:bodyPr wrap="none">
            <a:spAutoFit/>
          </a:bodyPr>
          <a:lstStyle/>
          <a:p>
            <a:pPr algn="ctr" defTabSz="916686" eaLnBrk="0" hangingPunct="0">
              <a:spcBef>
                <a:spcPts val="400"/>
              </a:spcBef>
              <a:defRPr/>
            </a:pPr>
            <a:r>
              <a:rPr lang="en-US" sz="2000" b="1" kern="0" dirty="0">
                <a:solidFill>
                  <a:prstClr val="black"/>
                </a:solidFill>
                <a:latin typeface="Calibri"/>
                <a:cs typeface="Calibri" panose="020F0502020204030204" pitchFamily="34" charset="0"/>
              </a:rPr>
              <a:t>Consulting </a:t>
            </a:r>
          </a:p>
        </p:txBody>
      </p:sp>
      <p:sp>
        <p:nvSpPr>
          <p:cNvPr id="17" name="Rectangle 16">
            <a:extLst>
              <a:ext uri="{FF2B5EF4-FFF2-40B4-BE49-F238E27FC236}">
                <a16:creationId xmlns:a16="http://schemas.microsoft.com/office/drawing/2014/main" id="{4659BEC2-27DF-4291-AA75-1FD9EC1B526E}"/>
              </a:ext>
            </a:extLst>
          </p:cNvPr>
          <p:cNvSpPr/>
          <p:nvPr/>
        </p:nvSpPr>
        <p:spPr>
          <a:xfrm>
            <a:off x="3878607" y="3554175"/>
            <a:ext cx="3809896" cy="938719"/>
          </a:xfrm>
          <a:prstGeom prst="rect">
            <a:avLst/>
          </a:prstGeom>
        </p:spPr>
        <p:txBody>
          <a:bodyPr wrap="square">
            <a:spAutoFit/>
          </a:bodyPr>
          <a:lstStyle/>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Strategy, Analytics and Mergers &amp; Acquisitions</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Customer &amp; Marketing</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Business Operations</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Human Capital</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Enterprise Technology &amp; Performance</a:t>
            </a:r>
          </a:p>
        </p:txBody>
      </p:sp>
      <p:sp>
        <p:nvSpPr>
          <p:cNvPr id="18" name="Rectangle 17">
            <a:extLst>
              <a:ext uri="{FF2B5EF4-FFF2-40B4-BE49-F238E27FC236}">
                <a16:creationId xmlns:a16="http://schemas.microsoft.com/office/drawing/2014/main" id="{06BB89DE-C9EC-44A7-82A3-95ED929B3B19}"/>
              </a:ext>
            </a:extLst>
          </p:cNvPr>
          <p:cNvSpPr/>
          <p:nvPr/>
        </p:nvSpPr>
        <p:spPr>
          <a:xfrm>
            <a:off x="3878607" y="2651723"/>
            <a:ext cx="3425902" cy="938719"/>
          </a:xfrm>
          <a:prstGeom prst="rect">
            <a:avLst/>
          </a:prstGeom>
        </p:spPr>
        <p:txBody>
          <a:bodyPr wrap="square">
            <a:spAutoFit/>
          </a:bodyPr>
          <a:lstStyle/>
          <a:p>
            <a:pPr defTabSz="1219170">
              <a:spcBef>
                <a:spcPts val="600"/>
              </a:spcBef>
              <a:spcAft>
                <a:spcPts val="600"/>
              </a:spcAft>
              <a:defRPr/>
            </a:pPr>
            <a:r>
              <a:rPr lang="en-US" sz="1100" dirty="0">
                <a:solidFill>
                  <a:prstClr val="black"/>
                </a:solidFill>
                <a:latin typeface="Calibri"/>
                <a:ea typeface="Verdana" panose="020B0604030504040204" pitchFamily="34" charset="0"/>
                <a:cs typeface="Calibri" panose="020F0502020204030204" pitchFamily="34" charset="0"/>
              </a:rPr>
              <a:t>Innovation, transformation and leadership occur in many ways. Deloitte helps solve clients’ most complex issues is distinct. The team delivers strategy and implementation, from a business and technology view, to help clients lead in the markets where they compete.</a:t>
            </a:r>
            <a:endParaRPr lang="en-US" sz="1100" b="1" dirty="0">
              <a:solidFill>
                <a:prstClr val="black"/>
              </a:solidFill>
              <a:latin typeface="Calibri"/>
              <a:ea typeface="Verdana" panose="020B060403050404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BDBAB406-35BC-4644-9F91-1A1F12B78554}"/>
              </a:ext>
            </a:extLst>
          </p:cNvPr>
          <p:cNvSpPr/>
          <p:nvPr/>
        </p:nvSpPr>
        <p:spPr>
          <a:xfrm>
            <a:off x="3878607" y="4913940"/>
            <a:ext cx="3401568" cy="91440"/>
          </a:xfrm>
          <a:prstGeom prst="rect">
            <a:avLst/>
          </a:prstGeom>
          <a:solidFill>
            <a:srgbClr val="43B02A"/>
          </a:solidFill>
          <a:ln w="25400" cap="flat" cmpd="sng" algn="ctr">
            <a:noFill/>
            <a:prstDash val="solid"/>
          </a:ln>
          <a:effectLst/>
        </p:spPr>
        <p:txBody>
          <a:bodyPr rtlCol="0" anchor="t"/>
          <a:lstStyle/>
          <a:p>
            <a:pPr algn="ctr">
              <a:spcAft>
                <a:spcPts val="1003"/>
              </a:spcAft>
              <a:defRPr/>
            </a:pPr>
            <a:endParaRPr lang="en-US" sz="1100" kern="0" dirty="0">
              <a:solidFill>
                <a:prstClr val="black"/>
              </a:solidFill>
              <a:ea typeface="Verdana" panose="020B060403050404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4EF98222-E9C8-49B7-8372-FB3CAEE6C8D6}"/>
              </a:ext>
            </a:extLst>
          </p:cNvPr>
          <p:cNvSpPr/>
          <p:nvPr/>
        </p:nvSpPr>
        <p:spPr>
          <a:xfrm>
            <a:off x="3878607" y="5847151"/>
            <a:ext cx="3461775" cy="769441"/>
          </a:xfrm>
          <a:prstGeom prst="rect">
            <a:avLst/>
          </a:prstGeom>
        </p:spPr>
        <p:txBody>
          <a:bodyPr wrap="square">
            <a:spAutoFit/>
          </a:bodyPr>
          <a:lstStyle/>
          <a:p>
            <a:pPr marL="285750" indent="-115888" defTabSz="457197">
              <a:buFont typeface="Arial" panose="020B0604020202020204" pitchFamily="34" charset="0"/>
              <a:buChar char="•"/>
              <a:defRPr/>
            </a:pPr>
            <a:r>
              <a:rPr lang="en-US" sz="1100" dirty="0">
                <a:solidFill>
                  <a:prstClr val="black"/>
                </a:solidFill>
                <a:latin typeface="Calibri"/>
                <a:ea typeface="Verdana" panose="020B0604030504040204" pitchFamily="34" charset="0"/>
                <a:cs typeface="Calibri" panose="020F0502020204030204" pitchFamily="34" charset="0"/>
              </a:rPr>
              <a:t>Mergers &amp; Acquisitions </a:t>
            </a:r>
          </a:p>
          <a:p>
            <a:pPr marL="285750" indent="-115888" defTabSz="457197">
              <a:buFont typeface="Arial" panose="020B0604020202020204" pitchFamily="34" charset="0"/>
              <a:buChar char="•"/>
              <a:defRPr/>
            </a:pPr>
            <a:r>
              <a:rPr lang="en-US" sz="1100" dirty="0">
                <a:solidFill>
                  <a:prstClr val="black"/>
                </a:solidFill>
                <a:latin typeface="Calibri"/>
                <a:ea typeface="Verdana" panose="020B0604030504040204" pitchFamily="34" charset="0"/>
                <a:cs typeface="Calibri" panose="020F0502020204030204" pitchFamily="34" charset="0"/>
              </a:rPr>
              <a:t>Forensics</a:t>
            </a:r>
          </a:p>
          <a:p>
            <a:pPr marL="285750" indent="-115888" defTabSz="457197">
              <a:buFont typeface="Arial" panose="020B0604020202020204" pitchFamily="34" charset="0"/>
              <a:buChar char="•"/>
              <a:defRPr/>
            </a:pPr>
            <a:r>
              <a:rPr lang="en-US" sz="1100" dirty="0">
                <a:solidFill>
                  <a:prstClr val="black"/>
                </a:solidFill>
                <a:latin typeface="Calibri"/>
                <a:ea typeface="Verdana" panose="020B0604030504040204" pitchFamily="34" charset="0"/>
                <a:cs typeface="Calibri" panose="020F0502020204030204" pitchFamily="34" charset="0"/>
              </a:rPr>
              <a:t>Real Estate</a:t>
            </a:r>
          </a:p>
          <a:p>
            <a:pPr marL="285750" indent="-115888" defTabSz="457197">
              <a:buFont typeface="Arial" panose="020B0604020202020204" pitchFamily="34" charset="0"/>
              <a:buChar char="•"/>
              <a:defRPr/>
            </a:pPr>
            <a:r>
              <a:rPr lang="en-US" sz="1100" dirty="0">
                <a:solidFill>
                  <a:prstClr val="black"/>
                </a:solidFill>
                <a:latin typeface="Calibri"/>
                <a:ea typeface="Verdana" panose="020B0604030504040204" pitchFamily="34" charset="0"/>
                <a:cs typeface="Calibri" panose="020F0502020204030204" pitchFamily="34" charset="0"/>
              </a:rPr>
              <a:t>Restructuring Services</a:t>
            </a:r>
          </a:p>
        </p:txBody>
      </p:sp>
      <p:sp>
        <p:nvSpPr>
          <p:cNvPr id="21" name="Rectangle 20">
            <a:extLst>
              <a:ext uri="{FF2B5EF4-FFF2-40B4-BE49-F238E27FC236}">
                <a16:creationId xmlns:a16="http://schemas.microsoft.com/office/drawing/2014/main" id="{3241B557-687A-4C2B-957E-61C8EFE5595C}"/>
              </a:ext>
            </a:extLst>
          </p:cNvPr>
          <p:cNvSpPr/>
          <p:nvPr/>
        </p:nvSpPr>
        <p:spPr>
          <a:xfrm>
            <a:off x="4361645" y="4542281"/>
            <a:ext cx="2435492" cy="400110"/>
          </a:xfrm>
          <a:prstGeom prst="rect">
            <a:avLst/>
          </a:prstGeom>
        </p:spPr>
        <p:txBody>
          <a:bodyPr wrap="square">
            <a:spAutoFit/>
          </a:bodyPr>
          <a:lstStyle/>
          <a:p>
            <a:pPr marL="174623" algn="ctr" defTabSz="916686" eaLnBrk="0" hangingPunct="0">
              <a:spcBef>
                <a:spcPts val="400"/>
              </a:spcBef>
              <a:defRPr/>
            </a:pPr>
            <a:r>
              <a:rPr lang="en-US" sz="2000" b="1" kern="0" dirty="0">
                <a:solidFill>
                  <a:prstClr val="black"/>
                </a:solidFill>
                <a:latin typeface="Calibri"/>
                <a:cs typeface="Calibri" panose="020F0502020204030204" pitchFamily="34" charset="0"/>
              </a:rPr>
              <a:t>Financial Advisory</a:t>
            </a:r>
          </a:p>
        </p:txBody>
      </p:sp>
      <p:sp>
        <p:nvSpPr>
          <p:cNvPr id="22" name="Rectangle 21">
            <a:extLst>
              <a:ext uri="{FF2B5EF4-FFF2-40B4-BE49-F238E27FC236}">
                <a16:creationId xmlns:a16="http://schemas.microsoft.com/office/drawing/2014/main" id="{7E889B11-196B-4102-AB67-8B5E679A3A32}"/>
              </a:ext>
            </a:extLst>
          </p:cNvPr>
          <p:cNvSpPr/>
          <p:nvPr/>
        </p:nvSpPr>
        <p:spPr>
          <a:xfrm>
            <a:off x="3878607" y="4979527"/>
            <a:ext cx="3727630" cy="938719"/>
          </a:xfrm>
          <a:prstGeom prst="rect">
            <a:avLst/>
          </a:prstGeom>
        </p:spPr>
        <p:txBody>
          <a:bodyPr wrap="square">
            <a:spAutoFit/>
          </a:bodyPr>
          <a:lstStyle/>
          <a:p>
            <a:pPr defTabSz="1219170">
              <a:defRPr/>
            </a:pPr>
            <a:r>
              <a:rPr lang="en-US" sz="1100" dirty="0">
                <a:solidFill>
                  <a:prstClr val="black"/>
                </a:solidFill>
                <a:latin typeface="Calibri"/>
                <a:ea typeface="Verdana" panose="020B0604030504040204" pitchFamily="34" charset="0"/>
                <a:cs typeface="Calibri" panose="020F0502020204030204" pitchFamily="34" charset="0"/>
              </a:rPr>
              <a:t>Deloitte provides services around M&amp;A, restructurings, raising capital, and forensic investigations. Multi-situational capabilities are offered and those include business modeling, public private partnerships, and infrastructure advisory and valuations.</a:t>
            </a:r>
          </a:p>
        </p:txBody>
      </p:sp>
      <p:sp>
        <p:nvSpPr>
          <p:cNvPr id="23" name="Rectangle 22">
            <a:extLst>
              <a:ext uri="{FF2B5EF4-FFF2-40B4-BE49-F238E27FC236}">
                <a16:creationId xmlns:a16="http://schemas.microsoft.com/office/drawing/2014/main" id="{6DDFE379-D05C-4145-B881-DC659BF92AF7}"/>
              </a:ext>
            </a:extLst>
          </p:cNvPr>
          <p:cNvSpPr/>
          <p:nvPr/>
        </p:nvSpPr>
        <p:spPr>
          <a:xfrm>
            <a:off x="464781" y="4913940"/>
            <a:ext cx="3401568" cy="91440"/>
          </a:xfrm>
          <a:prstGeom prst="rect">
            <a:avLst/>
          </a:prstGeom>
          <a:solidFill>
            <a:srgbClr val="86BC25"/>
          </a:solidFill>
          <a:ln w="25400" cap="flat" cmpd="sng" algn="ctr">
            <a:noFill/>
            <a:prstDash val="solid"/>
          </a:ln>
          <a:effectLst/>
        </p:spPr>
        <p:txBody>
          <a:bodyPr rtlCol="0" anchor="t"/>
          <a:lstStyle/>
          <a:p>
            <a:pPr algn="ctr">
              <a:spcAft>
                <a:spcPts val="1003"/>
              </a:spcAft>
              <a:defRPr/>
            </a:pPr>
            <a:endParaRPr lang="en-US" sz="1100" kern="0" dirty="0">
              <a:solidFill>
                <a:prstClr val="black"/>
              </a:solidFill>
              <a:ea typeface="Verdana" panose="020B060403050404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9EEBB458-7BFC-48C9-95AA-C1601D5B9F13}"/>
              </a:ext>
            </a:extLst>
          </p:cNvPr>
          <p:cNvSpPr/>
          <p:nvPr/>
        </p:nvSpPr>
        <p:spPr>
          <a:xfrm>
            <a:off x="1432304" y="4542281"/>
            <a:ext cx="1606529" cy="400110"/>
          </a:xfrm>
          <a:prstGeom prst="rect">
            <a:avLst/>
          </a:prstGeom>
        </p:spPr>
        <p:txBody>
          <a:bodyPr wrap="none">
            <a:spAutoFit/>
          </a:bodyPr>
          <a:lstStyle/>
          <a:p>
            <a:pPr algn="ctr" defTabSz="916686" eaLnBrk="0" hangingPunct="0">
              <a:spcBef>
                <a:spcPts val="400"/>
              </a:spcBef>
              <a:defRPr/>
            </a:pPr>
            <a:r>
              <a:rPr lang="en-US" sz="2000" b="1" kern="0" dirty="0">
                <a:solidFill>
                  <a:prstClr val="black"/>
                </a:solidFill>
                <a:latin typeface="Calibri"/>
                <a:cs typeface="Calibri" panose="020F0502020204030204" pitchFamily="34" charset="0"/>
              </a:rPr>
              <a:t>Risk Advisory</a:t>
            </a:r>
          </a:p>
        </p:txBody>
      </p:sp>
      <p:sp>
        <p:nvSpPr>
          <p:cNvPr id="25" name="Rectangle 24">
            <a:extLst>
              <a:ext uri="{FF2B5EF4-FFF2-40B4-BE49-F238E27FC236}">
                <a16:creationId xmlns:a16="http://schemas.microsoft.com/office/drawing/2014/main" id="{4100E80C-72DF-48AF-841C-8FE3E063EB53}"/>
              </a:ext>
            </a:extLst>
          </p:cNvPr>
          <p:cNvSpPr/>
          <p:nvPr/>
        </p:nvSpPr>
        <p:spPr>
          <a:xfrm>
            <a:off x="7281070" y="2489180"/>
            <a:ext cx="3401568" cy="91440"/>
          </a:xfrm>
          <a:prstGeom prst="rect">
            <a:avLst/>
          </a:prstGeom>
          <a:solidFill>
            <a:srgbClr val="26890D"/>
          </a:solidFill>
          <a:ln w="25400" cap="flat" cmpd="sng" algn="ctr">
            <a:noFill/>
            <a:prstDash val="solid"/>
          </a:ln>
          <a:effectLst/>
        </p:spPr>
        <p:txBody>
          <a:bodyPr rtlCol="0" anchor="t"/>
          <a:lstStyle/>
          <a:p>
            <a:pPr algn="ctr">
              <a:spcAft>
                <a:spcPts val="1003"/>
              </a:spcAft>
              <a:defRPr/>
            </a:pPr>
            <a:endParaRPr lang="en-US" sz="1100" kern="0" dirty="0">
              <a:solidFill>
                <a:prstClr val="black"/>
              </a:solidFill>
              <a:ea typeface="Verdana" panose="020B0604030504040204" pitchFamily="34" charset="0"/>
              <a:cs typeface="Calibri" panose="020F0502020204030204" pitchFamily="34" charset="0"/>
            </a:endParaRPr>
          </a:p>
        </p:txBody>
      </p:sp>
      <p:sp>
        <p:nvSpPr>
          <p:cNvPr id="26" name="Rectangle 25">
            <a:extLst>
              <a:ext uri="{FF2B5EF4-FFF2-40B4-BE49-F238E27FC236}">
                <a16:creationId xmlns:a16="http://schemas.microsoft.com/office/drawing/2014/main" id="{59C35955-AF46-499A-A49C-F502F649C1A1}"/>
              </a:ext>
            </a:extLst>
          </p:cNvPr>
          <p:cNvSpPr/>
          <p:nvPr/>
        </p:nvSpPr>
        <p:spPr>
          <a:xfrm>
            <a:off x="7281070" y="3382021"/>
            <a:ext cx="2947319" cy="1446550"/>
          </a:xfrm>
          <a:prstGeom prst="rect">
            <a:avLst/>
          </a:prstGeom>
        </p:spPr>
        <p:txBody>
          <a:bodyPr wrap="square" numCol="1">
            <a:spAutoFit/>
          </a:bodyPr>
          <a:lstStyle/>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Business Tax</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Global Family Solutions </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Indirect Tax</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International and M&amp;A Tax</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Transfer Pricing </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Global Employer Services </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Business Process Solutions </a:t>
            </a:r>
          </a:p>
          <a:p>
            <a:pPr marL="285750" indent="-115888" defTabSz="457197">
              <a:buFont typeface="Arial"/>
              <a:buChar char="•"/>
              <a:defRPr/>
            </a:pPr>
            <a:r>
              <a:rPr lang="en-US" sz="1100" dirty="0">
                <a:solidFill>
                  <a:prstClr val="black"/>
                </a:solidFill>
                <a:latin typeface="Calibri"/>
                <a:ea typeface="Verdana" panose="020B0604030504040204" pitchFamily="34" charset="0"/>
                <a:cs typeface="Calibri" panose="020F0502020204030204" pitchFamily="34" charset="0"/>
              </a:rPr>
              <a:t>Tax Management Consulting </a:t>
            </a:r>
          </a:p>
        </p:txBody>
      </p:sp>
      <p:sp>
        <p:nvSpPr>
          <p:cNvPr id="27" name="Rectangle 26">
            <a:extLst>
              <a:ext uri="{FF2B5EF4-FFF2-40B4-BE49-F238E27FC236}">
                <a16:creationId xmlns:a16="http://schemas.microsoft.com/office/drawing/2014/main" id="{1D6AE322-296E-4DC7-B846-79CAF41C3906}"/>
              </a:ext>
            </a:extLst>
          </p:cNvPr>
          <p:cNvSpPr/>
          <p:nvPr/>
        </p:nvSpPr>
        <p:spPr>
          <a:xfrm>
            <a:off x="8192215" y="2082502"/>
            <a:ext cx="1579279" cy="400110"/>
          </a:xfrm>
          <a:prstGeom prst="rect">
            <a:avLst/>
          </a:prstGeom>
        </p:spPr>
        <p:txBody>
          <a:bodyPr wrap="none">
            <a:spAutoFit/>
          </a:bodyPr>
          <a:lstStyle/>
          <a:p>
            <a:pPr marL="174623" algn="ctr" defTabSz="916686" eaLnBrk="0" hangingPunct="0">
              <a:spcBef>
                <a:spcPts val="400"/>
              </a:spcBef>
              <a:defRPr/>
            </a:pPr>
            <a:r>
              <a:rPr lang="en-US" sz="2000" b="1" kern="0" dirty="0">
                <a:solidFill>
                  <a:prstClr val="black"/>
                </a:solidFill>
                <a:latin typeface="Calibri"/>
                <a:cs typeface="Calibri" panose="020F0502020204030204" pitchFamily="34" charset="0"/>
              </a:rPr>
              <a:t>Tax &amp; Legal</a:t>
            </a:r>
          </a:p>
        </p:txBody>
      </p:sp>
      <p:sp>
        <p:nvSpPr>
          <p:cNvPr id="28" name="Rectangle 27">
            <a:extLst>
              <a:ext uri="{FF2B5EF4-FFF2-40B4-BE49-F238E27FC236}">
                <a16:creationId xmlns:a16="http://schemas.microsoft.com/office/drawing/2014/main" id="{1C47560C-A34C-4F80-9501-1D49F9CDA022}"/>
              </a:ext>
            </a:extLst>
          </p:cNvPr>
          <p:cNvSpPr/>
          <p:nvPr/>
        </p:nvSpPr>
        <p:spPr>
          <a:xfrm>
            <a:off x="7281070" y="2701413"/>
            <a:ext cx="3622247" cy="738664"/>
          </a:xfrm>
          <a:prstGeom prst="rect">
            <a:avLst/>
          </a:prstGeom>
        </p:spPr>
        <p:txBody>
          <a:bodyPr wrap="square">
            <a:spAutoFit/>
          </a:bodyPr>
          <a:lstStyle/>
          <a:p>
            <a:pPr defTabSz="1219170">
              <a:defRPr/>
            </a:pPr>
            <a:r>
              <a:rPr lang="en-US" sz="1050" dirty="0">
                <a:solidFill>
                  <a:prstClr val="black"/>
                </a:solidFill>
                <a:latin typeface="Calibri"/>
                <a:ea typeface="Verdana" panose="020B0604030504040204" pitchFamily="34" charset="0"/>
                <a:cs typeface="Calibri" panose="020F0502020204030204" pitchFamily="34" charset="0"/>
              </a:rPr>
              <a:t>Today’s rapidly shifting global Tax environment is creating unprecedented change in the market. In the midst of uncertainty, Deloitte helps clients see opportunities and lead with confidence.</a:t>
            </a:r>
          </a:p>
        </p:txBody>
      </p:sp>
      <p:sp>
        <p:nvSpPr>
          <p:cNvPr id="29" name="Rectangle 28">
            <a:extLst>
              <a:ext uri="{FF2B5EF4-FFF2-40B4-BE49-F238E27FC236}">
                <a16:creationId xmlns:a16="http://schemas.microsoft.com/office/drawing/2014/main" id="{9D908FCF-318F-4C70-B64B-F3AA5CC03D6A}"/>
              </a:ext>
            </a:extLst>
          </p:cNvPr>
          <p:cNvSpPr/>
          <p:nvPr/>
        </p:nvSpPr>
        <p:spPr>
          <a:xfrm>
            <a:off x="464781" y="5709369"/>
            <a:ext cx="2351926" cy="600164"/>
          </a:xfrm>
          <a:prstGeom prst="rect">
            <a:avLst/>
          </a:prstGeom>
        </p:spPr>
        <p:txBody>
          <a:bodyPr wrap="none">
            <a:spAutoFit/>
          </a:bodyPr>
          <a:lstStyle/>
          <a:p>
            <a:pPr marL="285750" indent="-115888" defTabSz="457197">
              <a:buFont typeface="Arial" panose="020B0604020202020204" pitchFamily="34" charset="0"/>
              <a:buChar char="•"/>
              <a:defRPr/>
            </a:pPr>
            <a:r>
              <a:rPr lang="en-GB" sz="1100" dirty="0">
                <a:solidFill>
                  <a:prstClr val="black"/>
                </a:solidFill>
                <a:latin typeface="Calibri"/>
                <a:ea typeface="Verdana" panose="020B0604030504040204" pitchFamily="34" charset="0"/>
                <a:cs typeface="Calibri" panose="020F0502020204030204" pitchFamily="34" charset="0"/>
              </a:rPr>
              <a:t>Accounting and Internal Controls</a:t>
            </a:r>
          </a:p>
          <a:p>
            <a:pPr marL="285750" indent="-115888" defTabSz="457197">
              <a:buFont typeface="Arial" panose="020B0604020202020204" pitchFamily="34" charset="0"/>
              <a:buChar char="•"/>
              <a:defRPr/>
            </a:pPr>
            <a:r>
              <a:rPr lang="en-GB" sz="1100" dirty="0">
                <a:solidFill>
                  <a:prstClr val="black"/>
                </a:solidFill>
                <a:latin typeface="Calibri"/>
                <a:ea typeface="Verdana" panose="020B0604030504040204" pitchFamily="34" charset="0"/>
                <a:cs typeface="Calibri" panose="020F0502020204030204" pitchFamily="34" charset="0"/>
              </a:rPr>
              <a:t>Cyber Risk </a:t>
            </a:r>
          </a:p>
          <a:p>
            <a:pPr marL="285750" indent="-115888" defTabSz="457197">
              <a:buFont typeface="Arial" panose="020B0604020202020204" pitchFamily="34" charset="0"/>
              <a:buChar char="•"/>
              <a:defRPr/>
            </a:pPr>
            <a:r>
              <a:rPr lang="en-GB" sz="1100" dirty="0">
                <a:solidFill>
                  <a:prstClr val="black"/>
                </a:solidFill>
                <a:latin typeface="Calibri"/>
                <a:ea typeface="Verdana" panose="020B0604030504040204" pitchFamily="34" charset="0"/>
                <a:cs typeface="Calibri" panose="020F0502020204030204" pitchFamily="34" charset="0"/>
              </a:rPr>
              <a:t>Financial and Regulatory Risk</a:t>
            </a:r>
          </a:p>
        </p:txBody>
      </p:sp>
      <p:sp>
        <p:nvSpPr>
          <p:cNvPr id="30" name="Rectangle 29">
            <a:extLst>
              <a:ext uri="{FF2B5EF4-FFF2-40B4-BE49-F238E27FC236}">
                <a16:creationId xmlns:a16="http://schemas.microsoft.com/office/drawing/2014/main" id="{78E6BDAD-AAA7-4E98-8412-FBD833011407}"/>
              </a:ext>
            </a:extLst>
          </p:cNvPr>
          <p:cNvSpPr/>
          <p:nvPr/>
        </p:nvSpPr>
        <p:spPr>
          <a:xfrm>
            <a:off x="464781" y="5007858"/>
            <a:ext cx="3471571" cy="738664"/>
          </a:xfrm>
          <a:prstGeom prst="rect">
            <a:avLst/>
          </a:prstGeom>
        </p:spPr>
        <p:txBody>
          <a:bodyPr wrap="square">
            <a:spAutoFit/>
          </a:bodyPr>
          <a:lstStyle/>
          <a:p>
            <a:pPr defTabSz="1219170">
              <a:defRPr/>
            </a:pPr>
            <a:r>
              <a:rPr lang="en-US" sz="1050" dirty="0">
                <a:solidFill>
                  <a:prstClr val="black"/>
                </a:solidFill>
                <a:latin typeface="Calibri"/>
                <a:ea typeface="Verdana" panose="020B0604030504040204" pitchFamily="34" charset="0"/>
                <a:cs typeface="Calibri" panose="020F0502020204030204" pitchFamily="34" charset="0"/>
              </a:rPr>
              <a:t>Leading organizations understand that risk is a source of competitive advantage. By managing risk more effectively these organizations unleash their full potential, creating and protecting value for all of their stakeholders.</a:t>
            </a:r>
          </a:p>
        </p:txBody>
      </p:sp>
    </p:spTree>
    <p:extLst>
      <p:ext uri="{BB962C8B-B14F-4D97-AF65-F5344CB8AC3E}">
        <p14:creationId xmlns:p14="http://schemas.microsoft.com/office/powerpoint/2010/main" val="4000303135"/>
      </p:ext>
    </p:extLst>
  </p:cSld>
  <p:clrMapOvr>
    <a:masterClrMapping/>
  </p:clrMapOvr>
  <p:transition spd="med">
    <p:pull/>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31" name="Title 2">
            <a:extLst>
              <a:ext uri="{FF2B5EF4-FFF2-40B4-BE49-F238E27FC236}">
                <a16:creationId xmlns:a16="http://schemas.microsoft.com/office/drawing/2014/main" id="{53F02041-4325-4C97-A72F-C739D056711E}"/>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32" name="Text Placeholder 1">
            <a:extLst>
              <a:ext uri="{FF2B5EF4-FFF2-40B4-BE49-F238E27FC236}">
                <a16:creationId xmlns:a16="http://schemas.microsoft.com/office/drawing/2014/main" id="{CBFB5402-1065-4D2B-A13B-5873E700611F}"/>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Our Industries</a:t>
            </a:r>
          </a:p>
        </p:txBody>
      </p:sp>
      <p:grpSp>
        <p:nvGrpSpPr>
          <p:cNvPr id="33" name="Group 32">
            <a:extLst>
              <a:ext uri="{FF2B5EF4-FFF2-40B4-BE49-F238E27FC236}">
                <a16:creationId xmlns:a16="http://schemas.microsoft.com/office/drawing/2014/main" id="{0EFCBEFD-CF2A-49B6-8E52-8FB2E71890B9}"/>
              </a:ext>
            </a:extLst>
          </p:cNvPr>
          <p:cNvGrpSpPr/>
          <p:nvPr/>
        </p:nvGrpSpPr>
        <p:grpSpPr>
          <a:xfrm>
            <a:off x="426448" y="2054256"/>
            <a:ext cx="2921626" cy="1420686"/>
            <a:chOff x="426448" y="2054256"/>
            <a:chExt cx="2921626" cy="1420686"/>
          </a:xfrm>
        </p:grpSpPr>
        <p:sp>
          <p:nvSpPr>
            <p:cNvPr id="34" name="Rectangle 33">
              <a:extLst>
                <a:ext uri="{FF2B5EF4-FFF2-40B4-BE49-F238E27FC236}">
                  <a16:creationId xmlns:a16="http://schemas.microsoft.com/office/drawing/2014/main" id="{93F079E9-EAA2-4F1B-A7F2-E7D837ED6208}"/>
                </a:ext>
              </a:extLst>
            </p:cNvPr>
            <p:cNvSpPr/>
            <p:nvPr/>
          </p:nvSpPr>
          <p:spPr>
            <a:xfrm>
              <a:off x="426448" y="2054256"/>
              <a:ext cx="2243290" cy="338554"/>
            </a:xfrm>
            <a:prstGeom prst="rect">
              <a:avLst/>
            </a:prstGeom>
          </p:spPr>
          <p:txBody>
            <a:bodyPr wrap="square">
              <a:spAutoFit/>
            </a:bodyPr>
            <a:lstStyle/>
            <a:p>
              <a:pPr defTabSz="1219170">
                <a:defRPr/>
              </a:pPr>
              <a:r>
                <a:rPr lang="en-US" sz="1600" b="1" kern="0" dirty="0">
                  <a:solidFill>
                    <a:srgbClr val="86BC25"/>
                  </a:solidFill>
                  <a:latin typeface="Calibri"/>
                  <a:cs typeface="Calibri" panose="020F0502020204030204" pitchFamily="34" charset="0"/>
                </a:rPr>
                <a:t>Consumer </a:t>
              </a:r>
            </a:p>
          </p:txBody>
        </p:sp>
        <p:sp>
          <p:nvSpPr>
            <p:cNvPr id="35" name="Rectangle 34">
              <a:extLst>
                <a:ext uri="{FF2B5EF4-FFF2-40B4-BE49-F238E27FC236}">
                  <a16:creationId xmlns:a16="http://schemas.microsoft.com/office/drawing/2014/main" id="{A548DB30-8E88-4350-86CF-6A8183EFCD30}"/>
                </a:ext>
              </a:extLst>
            </p:cNvPr>
            <p:cNvSpPr/>
            <p:nvPr/>
          </p:nvSpPr>
          <p:spPr>
            <a:xfrm>
              <a:off x="426448" y="2305391"/>
              <a:ext cx="2921626" cy="1169551"/>
            </a:xfrm>
            <a:prstGeom prst="rect">
              <a:avLst/>
            </a:prstGeom>
          </p:spPr>
          <p:txBody>
            <a:bodyPr wrap="square">
              <a:spAutoFit/>
            </a:bodyPr>
            <a:lstStyle/>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Automotive</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Consumer Products</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Retail, Wholesale &amp; Distribution</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Transportation, Hospitality, and Services</a:t>
              </a:r>
            </a:p>
          </p:txBody>
        </p:sp>
      </p:grpSp>
      <p:grpSp>
        <p:nvGrpSpPr>
          <p:cNvPr id="36" name="Group 35">
            <a:extLst>
              <a:ext uri="{FF2B5EF4-FFF2-40B4-BE49-F238E27FC236}">
                <a16:creationId xmlns:a16="http://schemas.microsoft.com/office/drawing/2014/main" id="{D26291BB-75AE-437E-9FE4-55FF27161E4A}"/>
              </a:ext>
            </a:extLst>
          </p:cNvPr>
          <p:cNvGrpSpPr/>
          <p:nvPr/>
        </p:nvGrpSpPr>
        <p:grpSpPr>
          <a:xfrm>
            <a:off x="8066502" y="2054256"/>
            <a:ext cx="3151594" cy="1205242"/>
            <a:chOff x="7737731" y="2054256"/>
            <a:chExt cx="3151594" cy="1205242"/>
          </a:xfrm>
        </p:grpSpPr>
        <p:sp>
          <p:nvSpPr>
            <p:cNvPr id="37" name="Rectangle 36">
              <a:extLst>
                <a:ext uri="{FF2B5EF4-FFF2-40B4-BE49-F238E27FC236}">
                  <a16:creationId xmlns:a16="http://schemas.microsoft.com/office/drawing/2014/main" id="{1719FEF1-491D-46B9-B33F-D963EC54907C}"/>
                </a:ext>
              </a:extLst>
            </p:cNvPr>
            <p:cNvSpPr/>
            <p:nvPr/>
          </p:nvSpPr>
          <p:spPr>
            <a:xfrm>
              <a:off x="7737731" y="2054256"/>
              <a:ext cx="3151594" cy="338554"/>
            </a:xfrm>
            <a:prstGeom prst="rect">
              <a:avLst/>
            </a:prstGeom>
          </p:spPr>
          <p:txBody>
            <a:bodyPr wrap="square">
              <a:spAutoFit/>
            </a:bodyPr>
            <a:lstStyle/>
            <a:p>
              <a:pPr defTabSz="1219170">
                <a:defRPr/>
              </a:pPr>
              <a:r>
                <a:rPr lang="en-US" sz="1600" b="1" kern="0" dirty="0">
                  <a:solidFill>
                    <a:srgbClr val="046A38"/>
                  </a:solidFill>
                  <a:latin typeface="Calibri"/>
                  <a:cs typeface="Calibri" panose="020F0502020204030204" pitchFamily="34" charset="0"/>
                </a:rPr>
                <a:t>Energy, Resources and Industrials</a:t>
              </a:r>
            </a:p>
          </p:txBody>
        </p:sp>
        <p:sp>
          <p:nvSpPr>
            <p:cNvPr id="38" name="Rectangle 37">
              <a:extLst>
                <a:ext uri="{FF2B5EF4-FFF2-40B4-BE49-F238E27FC236}">
                  <a16:creationId xmlns:a16="http://schemas.microsoft.com/office/drawing/2014/main" id="{FF0F5BB3-E2E5-4631-845A-68B9DF7E014E}"/>
                </a:ext>
              </a:extLst>
            </p:cNvPr>
            <p:cNvSpPr/>
            <p:nvPr/>
          </p:nvSpPr>
          <p:spPr>
            <a:xfrm>
              <a:off x="7737731" y="2305391"/>
              <a:ext cx="3026339" cy="954107"/>
            </a:xfrm>
            <a:prstGeom prst="rect">
              <a:avLst/>
            </a:prstGeom>
          </p:spPr>
          <p:txBody>
            <a:bodyPr wrap="square">
              <a:spAutoFit/>
            </a:bodyPr>
            <a:lstStyle/>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Industrial Products &amp; Construction</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Mining &amp; Metals</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Oil, Gas &amp; Chemicals</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Power, Utilities &amp; Renewables </a:t>
              </a:r>
            </a:p>
          </p:txBody>
        </p:sp>
      </p:grpSp>
      <p:grpSp>
        <p:nvGrpSpPr>
          <p:cNvPr id="39" name="Group 38">
            <a:extLst>
              <a:ext uri="{FF2B5EF4-FFF2-40B4-BE49-F238E27FC236}">
                <a16:creationId xmlns:a16="http://schemas.microsoft.com/office/drawing/2014/main" id="{0B7C19F3-3DD9-4C84-BF8E-F940C7E8E96E}"/>
              </a:ext>
            </a:extLst>
          </p:cNvPr>
          <p:cNvGrpSpPr/>
          <p:nvPr/>
        </p:nvGrpSpPr>
        <p:grpSpPr>
          <a:xfrm>
            <a:off x="8066502" y="3730668"/>
            <a:ext cx="2885464" cy="1221202"/>
            <a:chOff x="7737731" y="3705403"/>
            <a:chExt cx="2885464" cy="1221202"/>
          </a:xfrm>
        </p:grpSpPr>
        <p:sp>
          <p:nvSpPr>
            <p:cNvPr id="40" name="Rectangle 39">
              <a:extLst>
                <a:ext uri="{FF2B5EF4-FFF2-40B4-BE49-F238E27FC236}">
                  <a16:creationId xmlns:a16="http://schemas.microsoft.com/office/drawing/2014/main" id="{7034684D-E730-4B49-A180-0F0C2A4BF511}"/>
                </a:ext>
              </a:extLst>
            </p:cNvPr>
            <p:cNvSpPr/>
            <p:nvPr/>
          </p:nvSpPr>
          <p:spPr>
            <a:xfrm>
              <a:off x="7737731" y="3705403"/>
              <a:ext cx="2243290" cy="338554"/>
            </a:xfrm>
            <a:prstGeom prst="rect">
              <a:avLst/>
            </a:prstGeom>
          </p:spPr>
          <p:txBody>
            <a:bodyPr wrap="square">
              <a:spAutoFit/>
            </a:bodyPr>
            <a:lstStyle/>
            <a:p>
              <a:pPr defTabSz="1219170">
                <a:defRPr/>
              </a:pPr>
              <a:r>
                <a:rPr lang="en-US" sz="1600" b="1" kern="0" dirty="0">
                  <a:solidFill>
                    <a:srgbClr val="86BC25"/>
                  </a:solidFill>
                  <a:latin typeface="Calibri"/>
                  <a:cs typeface="Calibri" panose="020F0502020204030204" pitchFamily="34" charset="0"/>
                </a:rPr>
                <a:t>Financial Services</a:t>
              </a:r>
            </a:p>
          </p:txBody>
        </p:sp>
        <p:sp>
          <p:nvSpPr>
            <p:cNvPr id="41" name="Rectangle 40">
              <a:extLst>
                <a:ext uri="{FF2B5EF4-FFF2-40B4-BE49-F238E27FC236}">
                  <a16:creationId xmlns:a16="http://schemas.microsoft.com/office/drawing/2014/main" id="{61D2C156-5ED5-4644-A61A-A3919AAB3627}"/>
                </a:ext>
              </a:extLst>
            </p:cNvPr>
            <p:cNvSpPr/>
            <p:nvPr/>
          </p:nvSpPr>
          <p:spPr>
            <a:xfrm>
              <a:off x="7737731" y="3972498"/>
              <a:ext cx="2885464" cy="954107"/>
            </a:xfrm>
            <a:prstGeom prst="rect">
              <a:avLst/>
            </a:prstGeom>
          </p:spPr>
          <p:txBody>
            <a:bodyPr wrap="square">
              <a:spAutoFit/>
            </a:bodyPr>
            <a:lstStyle/>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Banking &amp; Capital Markets</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Insurance</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Investment Management</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Real Estate</a:t>
              </a:r>
            </a:p>
          </p:txBody>
        </p:sp>
      </p:grpSp>
      <p:grpSp>
        <p:nvGrpSpPr>
          <p:cNvPr id="42" name="Group 41">
            <a:extLst>
              <a:ext uri="{FF2B5EF4-FFF2-40B4-BE49-F238E27FC236}">
                <a16:creationId xmlns:a16="http://schemas.microsoft.com/office/drawing/2014/main" id="{551957D8-8FD5-4659-AEEA-F0A7F00B7DD4}"/>
              </a:ext>
            </a:extLst>
          </p:cNvPr>
          <p:cNvGrpSpPr/>
          <p:nvPr/>
        </p:nvGrpSpPr>
        <p:grpSpPr>
          <a:xfrm>
            <a:off x="426448" y="5638483"/>
            <a:ext cx="2819353" cy="830137"/>
            <a:chOff x="426448" y="5638483"/>
            <a:chExt cx="2819353" cy="830137"/>
          </a:xfrm>
        </p:grpSpPr>
        <p:sp>
          <p:nvSpPr>
            <p:cNvPr id="43" name="Rectangle 42">
              <a:extLst>
                <a:ext uri="{FF2B5EF4-FFF2-40B4-BE49-F238E27FC236}">
                  <a16:creationId xmlns:a16="http://schemas.microsoft.com/office/drawing/2014/main" id="{16D3C0D0-6F89-41B0-AD0E-1E62441D5FC5}"/>
                </a:ext>
              </a:extLst>
            </p:cNvPr>
            <p:cNvSpPr/>
            <p:nvPr/>
          </p:nvSpPr>
          <p:spPr>
            <a:xfrm>
              <a:off x="426448" y="5638483"/>
              <a:ext cx="2819353" cy="338554"/>
            </a:xfrm>
            <a:prstGeom prst="rect">
              <a:avLst/>
            </a:prstGeom>
          </p:spPr>
          <p:txBody>
            <a:bodyPr wrap="square">
              <a:spAutoFit/>
            </a:bodyPr>
            <a:lstStyle/>
            <a:p>
              <a:pPr defTabSz="1219170">
                <a:defRPr/>
              </a:pPr>
              <a:r>
                <a:rPr lang="en-US" sz="1600" b="1" kern="0" dirty="0">
                  <a:solidFill>
                    <a:srgbClr val="86BC25"/>
                  </a:solidFill>
                  <a:latin typeface="Calibri"/>
                  <a:cs typeface="Calibri" panose="020F0502020204030204" pitchFamily="34" charset="0"/>
                </a:rPr>
                <a:t>Life Sciences and Health Care</a:t>
              </a:r>
            </a:p>
          </p:txBody>
        </p:sp>
        <p:sp>
          <p:nvSpPr>
            <p:cNvPr id="44" name="Rectangle 43">
              <a:extLst>
                <a:ext uri="{FF2B5EF4-FFF2-40B4-BE49-F238E27FC236}">
                  <a16:creationId xmlns:a16="http://schemas.microsoft.com/office/drawing/2014/main" id="{936F94C7-A461-40F6-888C-1791EBBD615C}"/>
                </a:ext>
              </a:extLst>
            </p:cNvPr>
            <p:cNvSpPr/>
            <p:nvPr/>
          </p:nvSpPr>
          <p:spPr>
            <a:xfrm>
              <a:off x="426448" y="5945400"/>
              <a:ext cx="2238843" cy="523220"/>
            </a:xfrm>
            <a:prstGeom prst="rect">
              <a:avLst/>
            </a:prstGeom>
          </p:spPr>
          <p:txBody>
            <a:bodyPr wrap="square">
              <a:spAutoFit/>
            </a:bodyPr>
            <a:lstStyle/>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Health Care</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Life Sciences</a:t>
              </a:r>
            </a:p>
          </p:txBody>
        </p:sp>
      </p:grpSp>
      <p:grpSp>
        <p:nvGrpSpPr>
          <p:cNvPr id="45" name="Group 44">
            <a:extLst>
              <a:ext uri="{FF2B5EF4-FFF2-40B4-BE49-F238E27FC236}">
                <a16:creationId xmlns:a16="http://schemas.microsoft.com/office/drawing/2014/main" id="{6D46F82E-422F-41E7-84AF-4044074893C3}"/>
              </a:ext>
            </a:extLst>
          </p:cNvPr>
          <p:cNvGrpSpPr/>
          <p:nvPr/>
        </p:nvGrpSpPr>
        <p:grpSpPr>
          <a:xfrm>
            <a:off x="426448" y="3730668"/>
            <a:ext cx="3115294" cy="1652090"/>
            <a:chOff x="426448" y="3705403"/>
            <a:chExt cx="3115294" cy="1652090"/>
          </a:xfrm>
        </p:grpSpPr>
        <p:sp>
          <p:nvSpPr>
            <p:cNvPr id="46" name="Rectangle 45">
              <a:extLst>
                <a:ext uri="{FF2B5EF4-FFF2-40B4-BE49-F238E27FC236}">
                  <a16:creationId xmlns:a16="http://schemas.microsoft.com/office/drawing/2014/main" id="{927BDC3F-C68B-4008-8942-BC19D26D717F}"/>
                </a:ext>
              </a:extLst>
            </p:cNvPr>
            <p:cNvSpPr/>
            <p:nvPr/>
          </p:nvSpPr>
          <p:spPr>
            <a:xfrm>
              <a:off x="426448" y="3705403"/>
              <a:ext cx="3115294" cy="584775"/>
            </a:xfrm>
            <a:prstGeom prst="rect">
              <a:avLst/>
            </a:prstGeom>
          </p:spPr>
          <p:txBody>
            <a:bodyPr wrap="square">
              <a:spAutoFit/>
            </a:bodyPr>
            <a:lstStyle/>
            <a:p>
              <a:pPr defTabSz="1219170">
                <a:defRPr/>
              </a:pPr>
              <a:r>
                <a:rPr lang="en-US" sz="1600" b="1" kern="0" dirty="0">
                  <a:solidFill>
                    <a:srgbClr val="046A38"/>
                  </a:solidFill>
                  <a:latin typeface="Calibri"/>
                  <a:cs typeface="Calibri" panose="020F0502020204030204" pitchFamily="34" charset="0"/>
                </a:rPr>
                <a:t>Government and Public Services </a:t>
              </a:r>
              <a:br>
                <a:rPr lang="en-US" sz="1600" b="1" kern="0" dirty="0">
                  <a:solidFill>
                    <a:srgbClr val="046A38"/>
                  </a:solidFill>
                  <a:latin typeface="Calibri"/>
                  <a:cs typeface="Calibri" panose="020F0502020204030204" pitchFamily="34" charset="0"/>
                </a:rPr>
              </a:br>
              <a:endParaRPr lang="en-US" sz="1600" b="1" kern="0" dirty="0">
                <a:solidFill>
                  <a:srgbClr val="046A38"/>
                </a:solidFill>
                <a:latin typeface="Calibri"/>
                <a:cs typeface="Calibri" panose="020F0502020204030204" pitchFamily="34" charset="0"/>
              </a:endParaRPr>
            </a:p>
          </p:txBody>
        </p:sp>
        <p:sp>
          <p:nvSpPr>
            <p:cNvPr id="47" name="Rectangle 46">
              <a:extLst>
                <a:ext uri="{FF2B5EF4-FFF2-40B4-BE49-F238E27FC236}">
                  <a16:creationId xmlns:a16="http://schemas.microsoft.com/office/drawing/2014/main" id="{1C1C280D-1A7D-433E-A242-D6A1F37B9708}"/>
                </a:ext>
              </a:extLst>
            </p:cNvPr>
            <p:cNvSpPr/>
            <p:nvPr/>
          </p:nvSpPr>
          <p:spPr>
            <a:xfrm>
              <a:off x="426448" y="3972498"/>
              <a:ext cx="2721445" cy="1384995"/>
            </a:xfrm>
            <a:prstGeom prst="rect">
              <a:avLst/>
            </a:prstGeom>
          </p:spPr>
          <p:txBody>
            <a:bodyPr wrap="square">
              <a:spAutoFit/>
            </a:bodyPr>
            <a:lstStyle/>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Civil Government </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Defense, Security &amp; Justice</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Health &amp; Social Care</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International Donor Organizations</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Transport</a:t>
              </a:r>
            </a:p>
          </p:txBody>
        </p:sp>
      </p:grpSp>
      <p:grpSp>
        <p:nvGrpSpPr>
          <p:cNvPr id="48" name="Group 47">
            <a:extLst>
              <a:ext uri="{FF2B5EF4-FFF2-40B4-BE49-F238E27FC236}">
                <a16:creationId xmlns:a16="http://schemas.microsoft.com/office/drawing/2014/main" id="{C61C51F1-FD48-4631-B3D6-C40C287B0F61}"/>
              </a:ext>
            </a:extLst>
          </p:cNvPr>
          <p:cNvGrpSpPr/>
          <p:nvPr/>
        </p:nvGrpSpPr>
        <p:grpSpPr>
          <a:xfrm>
            <a:off x="8066502" y="5638483"/>
            <a:ext cx="3290359" cy="830137"/>
            <a:chOff x="7737731" y="5703030"/>
            <a:chExt cx="3290359" cy="830137"/>
          </a:xfrm>
        </p:grpSpPr>
        <p:sp>
          <p:nvSpPr>
            <p:cNvPr id="49" name="Rectangle 48">
              <a:extLst>
                <a:ext uri="{FF2B5EF4-FFF2-40B4-BE49-F238E27FC236}">
                  <a16:creationId xmlns:a16="http://schemas.microsoft.com/office/drawing/2014/main" id="{27AF5EC2-FCD5-4852-9775-E1CD8CA14CC4}"/>
                </a:ext>
              </a:extLst>
            </p:cNvPr>
            <p:cNvSpPr/>
            <p:nvPr/>
          </p:nvSpPr>
          <p:spPr>
            <a:xfrm>
              <a:off x="7737731" y="5703030"/>
              <a:ext cx="3119992" cy="338554"/>
            </a:xfrm>
            <a:prstGeom prst="rect">
              <a:avLst/>
            </a:prstGeom>
          </p:spPr>
          <p:txBody>
            <a:bodyPr wrap="square">
              <a:spAutoFit/>
            </a:bodyPr>
            <a:lstStyle/>
            <a:p>
              <a:pPr defTabSz="1219170">
                <a:defRPr/>
              </a:pPr>
              <a:r>
                <a:rPr lang="en-US" sz="1600" b="1" kern="0" dirty="0">
                  <a:solidFill>
                    <a:srgbClr val="046A38"/>
                  </a:solidFill>
                  <a:latin typeface="Calibri"/>
                  <a:cs typeface="Calibri" panose="020F0502020204030204" pitchFamily="34" charset="0"/>
                </a:rPr>
                <a:t>Technology, Media and Telecom</a:t>
              </a:r>
            </a:p>
          </p:txBody>
        </p:sp>
        <p:sp>
          <p:nvSpPr>
            <p:cNvPr id="50" name="Rectangle 49">
              <a:extLst>
                <a:ext uri="{FF2B5EF4-FFF2-40B4-BE49-F238E27FC236}">
                  <a16:creationId xmlns:a16="http://schemas.microsoft.com/office/drawing/2014/main" id="{7F50CA3C-BF23-44BE-AC8E-25B60EEDA456}"/>
                </a:ext>
              </a:extLst>
            </p:cNvPr>
            <p:cNvSpPr/>
            <p:nvPr/>
          </p:nvSpPr>
          <p:spPr>
            <a:xfrm>
              <a:off x="7737731" y="6009947"/>
              <a:ext cx="3290359" cy="523220"/>
            </a:xfrm>
            <a:prstGeom prst="rect">
              <a:avLst/>
            </a:prstGeom>
          </p:spPr>
          <p:txBody>
            <a:bodyPr wrap="square">
              <a:spAutoFit/>
            </a:bodyPr>
            <a:lstStyle/>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Technology</a:t>
              </a:r>
            </a:p>
            <a:p>
              <a:pPr marL="114300" indent="-114300" defTabSz="1219170">
                <a:buFont typeface="Arial" panose="020B0604020202020204" pitchFamily="34" charset="0"/>
                <a:buChar char="•"/>
                <a:defRPr/>
              </a:pPr>
              <a:r>
                <a:rPr lang="en-US" sz="1400" dirty="0">
                  <a:solidFill>
                    <a:prstClr val="black"/>
                  </a:solidFill>
                  <a:latin typeface="Calibri"/>
                  <a:cs typeface="Calibri" panose="020F0502020204030204" pitchFamily="34" charset="0"/>
                </a:rPr>
                <a:t>Telecom, Media &amp; Entertainment</a:t>
              </a:r>
            </a:p>
          </p:txBody>
        </p:sp>
      </p:grpSp>
      <p:sp>
        <p:nvSpPr>
          <p:cNvPr id="51" name="Rectangle 50">
            <a:extLst>
              <a:ext uri="{FF2B5EF4-FFF2-40B4-BE49-F238E27FC236}">
                <a16:creationId xmlns:a16="http://schemas.microsoft.com/office/drawing/2014/main" id="{F36BB026-CDA0-4E16-B57B-ED9E11D4C5C1}"/>
              </a:ext>
            </a:extLst>
          </p:cNvPr>
          <p:cNvSpPr/>
          <p:nvPr/>
        </p:nvSpPr>
        <p:spPr>
          <a:xfrm>
            <a:off x="419100" y="1712679"/>
            <a:ext cx="10185400" cy="338554"/>
          </a:xfrm>
          <a:prstGeom prst="rect">
            <a:avLst/>
          </a:prstGeom>
        </p:spPr>
        <p:txBody>
          <a:bodyPr wrap="square">
            <a:spAutoFit/>
          </a:bodyPr>
          <a:lstStyle/>
          <a:p>
            <a:pPr defTabSz="1219170">
              <a:defRPr/>
            </a:pPr>
            <a:r>
              <a:rPr lang="en-US" sz="1600" b="1" dirty="0">
                <a:solidFill>
                  <a:prstClr val="black"/>
                </a:solidFill>
                <a:latin typeface="Calibri"/>
                <a:cs typeface="Calibri" panose="020F0502020204030204" pitchFamily="34" charset="0"/>
              </a:rPr>
              <a:t>Deloitte focuses on six core industries and 21 sectors in the global marketplace</a:t>
            </a:r>
          </a:p>
        </p:txBody>
      </p:sp>
      <p:grpSp>
        <p:nvGrpSpPr>
          <p:cNvPr id="52" name="Group 51">
            <a:extLst>
              <a:ext uri="{FF2B5EF4-FFF2-40B4-BE49-F238E27FC236}">
                <a16:creationId xmlns:a16="http://schemas.microsoft.com/office/drawing/2014/main" id="{598BF61B-39FC-4894-AB61-41980818D357}"/>
              </a:ext>
            </a:extLst>
          </p:cNvPr>
          <p:cNvGrpSpPr/>
          <p:nvPr/>
        </p:nvGrpSpPr>
        <p:grpSpPr>
          <a:xfrm>
            <a:off x="3591745" y="2224651"/>
            <a:ext cx="4231087" cy="4237199"/>
            <a:chOff x="3479991" y="2224651"/>
            <a:chExt cx="4231087" cy="4237199"/>
          </a:xfrm>
        </p:grpSpPr>
        <p:sp>
          <p:nvSpPr>
            <p:cNvPr id="53" name="Oval 52">
              <a:extLst>
                <a:ext uri="{FF2B5EF4-FFF2-40B4-BE49-F238E27FC236}">
                  <a16:creationId xmlns:a16="http://schemas.microsoft.com/office/drawing/2014/main" id="{33CE1C24-6940-4DB5-9D57-52E284E52421}"/>
                </a:ext>
              </a:extLst>
            </p:cNvPr>
            <p:cNvSpPr/>
            <p:nvPr/>
          </p:nvSpPr>
          <p:spPr bwMode="gray">
            <a:xfrm>
              <a:off x="3826999" y="2321861"/>
              <a:ext cx="3549678" cy="3605010"/>
            </a:xfrm>
            <a:prstGeom prst="ellipse">
              <a:avLst/>
            </a:prstGeom>
            <a:noFill/>
            <a:ln w="19050" algn="ctr">
              <a:solidFill>
                <a:sysClr val="windowText" lastClr="000000"/>
              </a:solidFill>
              <a:prstDash val="solid"/>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sp>
          <p:nvSpPr>
            <p:cNvPr id="54" name="Oval 53">
              <a:extLst>
                <a:ext uri="{FF2B5EF4-FFF2-40B4-BE49-F238E27FC236}">
                  <a16:creationId xmlns:a16="http://schemas.microsoft.com/office/drawing/2014/main" id="{136418F6-BB55-4005-9E27-7FF68164E620}"/>
                </a:ext>
              </a:extLst>
            </p:cNvPr>
            <p:cNvSpPr/>
            <p:nvPr/>
          </p:nvSpPr>
          <p:spPr bwMode="gray">
            <a:xfrm>
              <a:off x="3739897" y="2233401"/>
              <a:ext cx="3723881" cy="3781928"/>
            </a:xfrm>
            <a:prstGeom prst="ellipse">
              <a:avLst/>
            </a:prstGeom>
            <a:noFill/>
            <a:ln w="19050" algn="ctr">
              <a:solidFill>
                <a:sysClr val="windowText" lastClr="000000"/>
              </a:solidFill>
              <a:prstDash val="dashDot"/>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sp>
          <p:nvSpPr>
            <p:cNvPr id="55" name="Oval 54">
              <a:extLst>
                <a:ext uri="{FF2B5EF4-FFF2-40B4-BE49-F238E27FC236}">
                  <a16:creationId xmlns:a16="http://schemas.microsoft.com/office/drawing/2014/main" id="{B156769C-15AE-47F5-8DF2-7B267DE9F3BF}"/>
                </a:ext>
              </a:extLst>
            </p:cNvPr>
            <p:cNvSpPr/>
            <p:nvPr/>
          </p:nvSpPr>
          <p:spPr bwMode="gray">
            <a:xfrm>
              <a:off x="4152365" y="2652297"/>
              <a:ext cx="2898947" cy="2944137"/>
            </a:xfrm>
            <a:prstGeom prst="ellipse">
              <a:avLst/>
            </a:prstGeom>
            <a:noFill/>
            <a:ln w="12700" algn="ctr">
              <a:solidFill>
                <a:sysClr val="windowText" lastClr="000000"/>
              </a:solidFill>
              <a:prstDash val="sysDot"/>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sp>
          <p:nvSpPr>
            <p:cNvPr id="56" name="Freeform 275">
              <a:extLst>
                <a:ext uri="{FF2B5EF4-FFF2-40B4-BE49-F238E27FC236}">
                  <a16:creationId xmlns:a16="http://schemas.microsoft.com/office/drawing/2014/main" id="{4D0B35A6-8B60-403D-8B39-BA15CD1F8D00}"/>
                </a:ext>
              </a:extLst>
            </p:cNvPr>
            <p:cNvSpPr>
              <a:spLocks/>
            </p:cNvSpPr>
            <p:nvPr/>
          </p:nvSpPr>
          <p:spPr bwMode="auto">
            <a:xfrm>
              <a:off x="6548317" y="3418545"/>
              <a:ext cx="226875" cy="26791"/>
            </a:xfrm>
            <a:custGeom>
              <a:avLst/>
              <a:gdLst>
                <a:gd name="T0" fmla="*/ 3 w 60"/>
                <a:gd name="T1" fmla="*/ 0 h 7"/>
                <a:gd name="T2" fmla="*/ 7 w 60"/>
                <a:gd name="T3" fmla="*/ 5 h 7"/>
                <a:gd name="T4" fmla="*/ 52 w 60"/>
                <a:gd name="T5" fmla="*/ 5 h 7"/>
                <a:gd name="T6" fmla="*/ 57 w 60"/>
                <a:gd name="T7" fmla="*/ 0 h 7"/>
                <a:gd name="T8" fmla="*/ 54 w 60"/>
                <a:gd name="T9" fmla="*/ 6 h 7"/>
                <a:gd name="T10" fmla="*/ 5 w 60"/>
                <a:gd name="T11" fmla="*/ 7 h 7"/>
                <a:gd name="T12" fmla="*/ 0 w 60"/>
                <a:gd name="T13" fmla="*/ 3 h 7"/>
                <a:gd name="T14" fmla="*/ 3 w 60"/>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7">
                  <a:moveTo>
                    <a:pt x="3" y="0"/>
                  </a:moveTo>
                  <a:cubicBezTo>
                    <a:pt x="2" y="3"/>
                    <a:pt x="2" y="5"/>
                    <a:pt x="7" y="5"/>
                  </a:cubicBezTo>
                  <a:cubicBezTo>
                    <a:pt x="22" y="5"/>
                    <a:pt x="37" y="5"/>
                    <a:pt x="52" y="5"/>
                  </a:cubicBezTo>
                  <a:cubicBezTo>
                    <a:pt x="57" y="5"/>
                    <a:pt x="58" y="4"/>
                    <a:pt x="57" y="0"/>
                  </a:cubicBezTo>
                  <a:cubicBezTo>
                    <a:pt x="60" y="3"/>
                    <a:pt x="60" y="6"/>
                    <a:pt x="54" y="6"/>
                  </a:cubicBezTo>
                  <a:cubicBezTo>
                    <a:pt x="38" y="7"/>
                    <a:pt x="22" y="7"/>
                    <a:pt x="5" y="7"/>
                  </a:cubicBezTo>
                  <a:cubicBezTo>
                    <a:pt x="3" y="7"/>
                    <a:pt x="1" y="6"/>
                    <a:pt x="0" y="3"/>
                  </a:cubicBezTo>
                  <a:cubicBezTo>
                    <a:pt x="0" y="1"/>
                    <a:pt x="0" y="0"/>
                    <a:pt x="3" y="0"/>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400" kern="0" dirty="0">
                <a:solidFill>
                  <a:prstClr val="black"/>
                </a:solidFill>
                <a:latin typeface="Calibri"/>
                <a:cs typeface="Calibri" panose="020F0502020204030204" pitchFamily="34" charset="0"/>
              </a:endParaRPr>
            </a:p>
          </p:txBody>
        </p:sp>
        <p:sp>
          <p:nvSpPr>
            <p:cNvPr id="57" name="Freeform 507">
              <a:extLst>
                <a:ext uri="{FF2B5EF4-FFF2-40B4-BE49-F238E27FC236}">
                  <a16:creationId xmlns:a16="http://schemas.microsoft.com/office/drawing/2014/main" id="{2A5F0082-2422-424D-B243-7A97DA962CD2}"/>
                </a:ext>
              </a:extLst>
            </p:cNvPr>
            <p:cNvSpPr>
              <a:spLocks/>
            </p:cNvSpPr>
            <p:nvPr/>
          </p:nvSpPr>
          <p:spPr bwMode="auto">
            <a:xfrm>
              <a:off x="5807899" y="5742299"/>
              <a:ext cx="42209" cy="42867"/>
            </a:xfrm>
            <a:custGeom>
              <a:avLst/>
              <a:gdLst>
                <a:gd name="T0" fmla="*/ 11 w 11"/>
                <a:gd name="T1" fmla="*/ 3 h 11"/>
                <a:gd name="T2" fmla="*/ 3 w 11"/>
                <a:gd name="T3" fmla="*/ 6 h 11"/>
                <a:gd name="T4" fmla="*/ 11 w 11"/>
                <a:gd name="T5" fmla="*/ 8 h 11"/>
                <a:gd name="T6" fmla="*/ 4 w 11"/>
                <a:gd name="T7" fmla="*/ 10 h 11"/>
                <a:gd name="T8" fmla="*/ 0 w 11"/>
                <a:gd name="T9" fmla="*/ 6 h 11"/>
                <a:gd name="T10" fmla="*/ 4 w 11"/>
                <a:gd name="T11" fmla="*/ 2 h 11"/>
                <a:gd name="T12" fmla="*/ 11 w 11"/>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3"/>
                  </a:moveTo>
                  <a:cubicBezTo>
                    <a:pt x="8" y="4"/>
                    <a:pt x="2" y="0"/>
                    <a:pt x="3" y="6"/>
                  </a:cubicBezTo>
                  <a:cubicBezTo>
                    <a:pt x="3" y="10"/>
                    <a:pt x="8" y="7"/>
                    <a:pt x="11" y="8"/>
                  </a:cubicBezTo>
                  <a:cubicBezTo>
                    <a:pt x="9" y="11"/>
                    <a:pt x="6" y="9"/>
                    <a:pt x="4" y="10"/>
                  </a:cubicBezTo>
                  <a:cubicBezTo>
                    <a:pt x="2" y="10"/>
                    <a:pt x="0" y="8"/>
                    <a:pt x="0" y="6"/>
                  </a:cubicBezTo>
                  <a:cubicBezTo>
                    <a:pt x="0" y="3"/>
                    <a:pt x="1" y="1"/>
                    <a:pt x="4" y="2"/>
                  </a:cubicBezTo>
                  <a:cubicBezTo>
                    <a:pt x="6" y="2"/>
                    <a:pt x="9" y="0"/>
                    <a:pt x="11" y="3"/>
                  </a:cubicBez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400" kern="0" dirty="0">
                <a:solidFill>
                  <a:prstClr val="black"/>
                </a:solidFill>
                <a:latin typeface="Calibri"/>
                <a:cs typeface="Calibri" panose="020F0502020204030204" pitchFamily="34" charset="0"/>
              </a:endParaRPr>
            </a:p>
          </p:txBody>
        </p:sp>
        <p:sp>
          <p:nvSpPr>
            <p:cNvPr id="58" name="Oval 57">
              <a:extLst>
                <a:ext uri="{FF2B5EF4-FFF2-40B4-BE49-F238E27FC236}">
                  <a16:creationId xmlns:a16="http://schemas.microsoft.com/office/drawing/2014/main" id="{A7FEC54F-675B-4C47-91BE-0B8A952880CA}"/>
                </a:ext>
              </a:extLst>
            </p:cNvPr>
            <p:cNvSpPr/>
            <p:nvPr/>
          </p:nvSpPr>
          <p:spPr bwMode="gray">
            <a:xfrm>
              <a:off x="4282595" y="2224651"/>
              <a:ext cx="804232" cy="816766"/>
            </a:xfrm>
            <a:prstGeom prst="ellipse">
              <a:avLst/>
            </a:prstGeom>
            <a:solidFill>
              <a:sysClr val="window" lastClr="FFFFFF"/>
            </a:solidFill>
            <a:ln w="19050" algn="ctr">
              <a:noFill/>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grpSp>
          <p:nvGrpSpPr>
            <p:cNvPr id="59" name="Group 449">
              <a:extLst>
                <a:ext uri="{FF2B5EF4-FFF2-40B4-BE49-F238E27FC236}">
                  <a16:creationId xmlns:a16="http://schemas.microsoft.com/office/drawing/2014/main" id="{96867177-1567-462B-8B8C-A1DF44D64C87}"/>
                </a:ext>
              </a:extLst>
            </p:cNvPr>
            <p:cNvGrpSpPr>
              <a:grpSpLocks noChangeAspect="1"/>
            </p:cNvGrpSpPr>
            <p:nvPr/>
          </p:nvGrpSpPr>
          <p:grpSpPr bwMode="auto">
            <a:xfrm>
              <a:off x="4380804" y="2324390"/>
              <a:ext cx="607812" cy="617286"/>
              <a:chOff x="2732" y="1561"/>
              <a:chExt cx="340" cy="340"/>
            </a:xfrm>
            <a:solidFill>
              <a:srgbClr val="86BC25"/>
            </a:solidFill>
          </p:grpSpPr>
          <p:sp>
            <p:nvSpPr>
              <p:cNvPr id="84" name="Freeform 450">
                <a:extLst>
                  <a:ext uri="{FF2B5EF4-FFF2-40B4-BE49-F238E27FC236}">
                    <a16:creationId xmlns:a16="http://schemas.microsoft.com/office/drawing/2014/main" id="{D564F8D4-9FC8-4E46-A96B-EAB8B986134C}"/>
                  </a:ext>
                </a:extLst>
              </p:cNvPr>
              <p:cNvSpPr>
                <a:spLocks noEditPoints="1"/>
              </p:cNvSpPr>
              <p:nvPr/>
            </p:nvSpPr>
            <p:spPr bwMode="auto">
              <a:xfrm>
                <a:off x="2732" y="15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sp>
            <p:nvSpPr>
              <p:cNvPr id="85" name="Freeform 451">
                <a:extLst>
                  <a:ext uri="{FF2B5EF4-FFF2-40B4-BE49-F238E27FC236}">
                    <a16:creationId xmlns:a16="http://schemas.microsoft.com/office/drawing/2014/main" id="{F1FB072A-0194-4A9C-9AED-638CBE4E779B}"/>
                  </a:ext>
                </a:extLst>
              </p:cNvPr>
              <p:cNvSpPr>
                <a:spLocks noEditPoints="1"/>
              </p:cNvSpPr>
              <p:nvPr/>
            </p:nvSpPr>
            <p:spPr bwMode="auto">
              <a:xfrm>
                <a:off x="2795" y="1630"/>
                <a:ext cx="211" cy="207"/>
              </a:xfrm>
              <a:custGeom>
                <a:avLst/>
                <a:gdLst>
                  <a:gd name="T0" fmla="*/ 132 w 318"/>
                  <a:gd name="T1" fmla="*/ 312 h 312"/>
                  <a:gd name="T2" fmla="*/ 124 w 318"/>
                  <a:gd name="T3" fmla="*/ 309 h 312"/>
                  <a:gd name="T4" fmla="*/ 4 w 318"/>
                  <a:gd name="T5" fmla="*/ 188 h 312"/>
                  <a:gd name="T6" fmla="*/ 4 w 318"/>
                  <a:gd name="T7" fmla="*/ 173 h 312"/>
                  <a:gd name="T8" fmla="*/ 173 w 318"/>
                  <a:gd name="T9" fmla="*/ 4 h 312"/>
                  <a:gd name="T10" fmla="*/ 182 w 318"/>
                  <a:gd name="T11" fmla="*/ 0 h 312"/>
                  <a:gd name="T12" fmla="*/ 292 w 318"/>
                  <a:gd name="T13" fmla="*/ 11 h 312"/>
                  <a:gd name="T14" fmla="*/ 302 w 318"/>
                  <a:gd name="T15" fmla="*/ 20 h 312"/>
                  <a:gd name="T16" fmla="*/ 317 w 318"/>
                  <a:gd name="T17" fmla="*/ 125 h 312"/>
                  <a:gd name="T18" fmla="*/ 314 w 318"/>
                  <a:gd name="T19" fmla="*/ 134 h 312"/>
                  <a:gd name="T20" fmla="*/ 140 w 318"/>
                  <a:gd name="T21" fmla="*/ 309 h 312"/>
                  <a:gd name="T22" fmla="*/ 132 w 318"/>
                  <a:gd name="T23" fmla="*/ 312 h 312"/>
                  <a:gd name="T24" fmla="*/ 26 w 318"/>
                  <a:gd name="T25" fmla="*/ 180 h 312"/>
                  <a:gd name="T26" fmla="*/ 132 w 318"/>
                  <a:gd name="T27" fmla="*/ 286 h 312"/>
                  <a:gd name="T28" fmla="*/ 295 w 318"/>
                  <a:gd name="T29" fmla="*/ 123 h 312"/>
                  <a:gd name="T30" fmla="*/ 282 w 318"/>
                  <a:gd name="T31" fmla="*/ 31 h 312"/>
                  <a:gd name="T32" fmla="*/ 185 w 318"/>
                  <a:gd name="T33" fmla="*/ 22 h 312"/>
                  <a:gd name="T34" fmla="*/ 26 w 318"/>
                  <a:gd name="T35" fmla="*/ 180 h 312"/>
                  <a:gd name="T36" fmla="*/ 245 w 318"/>
                  <a:gd name="T37" fmla="*/ 67 h 312"/>
                  <a:gd name="T38" fmla="*/ 214 w 318"/>
                  <a:gd name="T39" fmla="*/ 67 h 312"/>
                  <a:gd name="T40" fmla="*/ 214 w 318"/>
                  <a:gd name="T41" fmla="*/ 98 h 312"/>
                  <a:gd name="T42" fmla="*/ 245 w 318"/>
                  <a:gd name="T43" fmla="*/ 98 h 312"/>
                  <a:gd name="T44" fmla="*/ 245 w 318"/>
                  <a:gd name="T45" fmla="*/ 6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12">
                    <a:moveTo>
                      <a:pt x="132" y="312"/>
                    </a:moveTo>
                    <a:cubicBezTo>
                      <a:pt x="129" y="312"/>
                      <a:pt x="127" y="311"/>
                      <a:pt x="124" y="309"/>
                    </a:cubicBezTo>
                    <a:cubicBezTo>
                      <a:pt x="4" y="188"/>
                      <a:pt x="4" y="188"/>
                      <a:pt x="4" y="188"/>
                    </a:cubicBezTo>
                    <a:cubicBezTo>
                      <a:pt x="0" y="184"/>
                      <a:pt x="0" y="177"/>
                      <a:pt x="4" y="173"/>
                    </a:cubicBezTo>
                    <a:cubicBezTo>
                      <a:pt x="173" y="4"/>
                      <a:pt x="173" y="4"/>
                      <a:pt x="173" y="4"/>
                    </a:cubicBezTo>
                    <a:cubicBezTo>
                      <a:pt x="175" y="1"/>
                      <a:pt x="178" y="0"/>
                      <a:pt x="182" y="0"/>
                    </a:cubicBezTo>
                    <a:cubicBezTo>
                      <a:pt x="292" y="11"/>
                      <a:pt x="292" y="11"/>
                      <a:pt x="292" y="11"/>
                    </a:cubicBezTo>
                    <a:cubicBezTo>
                      <a:pt x="297" y="11"/>
                      <a:pt x="301" y="15"/>
                      <a:pt x="302" y="20"/>
                    </a:cubicBezTo>
                    <a:cubicBezTo>
                      <a:pt x="317" y="125"/>
                      <a:pt x="317" y="125"/>
                      <a:pt x="317" y="125"/>
                    </a:cubicBezTo>
                    <a:cubicBezTo>
                      <a:pt x="318" y="128"/>
                      <a:pt x="316" y="132"/>
                      <a:pt x="314" y="134"/>
                    </a:cubicBezTo>
                    <a:cubicBezTo>
                      <a:pt x="140" y="309"/>
                      <a:pt x="140" y="309"/>
                      <a:pt x="140" y="309"/>
                    </a:cubicBezTo>
                    <a:cubicBezTo>
                      <a:pt x="137" y="311"/>
                      <a:pt x="135" y="312"/>
                      <a:pt x="132" y="312"/>
                    </a:cubicBezTo>
                    <a:close/>
                    <a:moveTo>
                      <a:pt x="26" y="180"/>
                    </a:moveTo>
                    <a:cubicBezTo>
                      <a:pt x="132" y="286"/>
                      <a:pt x="132" y="286"/>
                      <a:pt x="132" y="286"/>
                    </a:cubicBezTo>
                    <a:cubicBezTo>
                      <a:pt x="295" y="123"/>
                      <a:pt x="295" y="123"/>
                      <a:pt x="295" y="123"/>
                    </a:cubicBezTo>
                    <a:cubicBezTo>
                      <a:pt x="282" y="31"/>
                      <a:pt x="282" y="31"/>
                      <a:pt x="282" y="31"/>
                    </a:cubicBezTo>
                    <a:cubicBezTo>
                      <a:pt x="185" y="22"/>
                      <a:pt x="185" y="22"/>
                      <a:pt x="185" y="22"/>
                    </a:cubicBezTo>
                    <a:lnTo>
                      <a:pt x="26" y="180"/>
                    </a:lnTo>
                    <a:close/>
                    <a:moveTo>
                      <a:pt x="245" y="67"/>
                    </a:moveTo>
                    <a:cubicBezTo>
                      <a:pt x="236" y="58"/>
                      <a:pt x="222" y="58"/>
                      <a:pt x="214" y="67"/>
                    </a:cubicBezTo>
                    <a:cubicBezTo>
                      <a:pt x="205" y="75"/>
                      <a:pt x="205" y="89"/>
                      <a:pt x="214" y="98"/>
                    </a:cubicBezTo>
                    <a:cubicBezTo>
                      <a:pt x="222" y="106"/>
                      <a:pt x="236" y="106"/>
                      <a:pt x="245" y="98"/>
                    </a:cubicBezTo>
                    <a:cubicBezTo>
                      <a:pt x="253" y="89"/>
                      <a:pt x="253" y="75"/>
                      <a:pt x="245"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grpSp>
        <p:sp>
          <p:nvSpPr>
            <p:cNvPr id="60" name="Oval 59">
              <a:extLst>
                <a:ext uri="{FF2B5EF4-FFF2-40B4-BE49-F238E27FC236}">
                  <a16:creationId xmlns:a16="http://schemas.microsoft.com/office/drawing/2014/main" id="{BC1BFB42-C0D8-4A3A-939B-C2C42BE091B9}"/>
                </a:ext>
              </a:extLst>
            </p:cNvPr>
            <p:cNvSpPr/>
            <p:nvPr/>
          </p:nvSpPr>
          <p:spPr bwMode="gray">
            <a:xfrm>
              <a:off x="6108512" y="2224651"/>
              <a:ext cx="804232" cy="816766"/>
            </a:xfrm>
            <a:prstGeom prst="ellipse">
              <a:avLst/>
            </a:prstGeom>
            <a:solidFill>
              <a:sysClr val="window" lastClr="FFFFFF"/>
            </a:solidFill>
            <a:ln w="19050" algn="ctr">
              <a:noFill/>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grpSp>
          <p:nvGrpSpPr>
            <p:cNvPr id="61" name="Group 559">
              <a:extLst>
                <a:ext uri="{FF2B5EF4-FFF2-40B4-BE49-F238E27FC236}">
                  <a16:creationId xmlns:a16="http://schemas.microsoft.com/office/drawing/2014/main" id="{B6D9A7C5-87AB-49A3-A3E9-A10B45115762}"/>
                </a:ext>
              </a:extLst>
            </p:cNvPr>
            <p:cNvGrpSpPr>
              <a:grpSpLocks noChangeAspect="1"/>
            </p:cNvGrpSpPr>
            <p:nvPr/>
          </p:nvGrpSpPr>
          <p:grpSpPr bwMode="auto">
            <a:xfrm>
              <a:off x="6206722" y="2324391"/>
              <a:ext cx="607812" cy="617286"/>
              <a:chOff x="6726" y="2883"/>
              <a:chExt cx="340" cy="340"/>
            </a:xfrm>
            <a:solidFill>
              <a:srgbClr val="046A38"/>
            </a:solidFill>
          </p:grpSpPr>
          <p:sp>
            <p:nvSpPr>
              <p:cNvPr id="82" name="Freeform 560">
                <a:extLst>
                  <a:ext uri="{FF2B5EF4-FFF2-40B4-BE49-F238E27FC236}">
                    <a16:creationId xmlns:a16="http://schemas.microsoft.com/office/drawing/2014/main" id="{72B33A5B-F75F-49CD-A682-0D481A914FB2}"/>
                  </a:ext>
                </a:extLst>
              </p:cNvPr>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sp>
            <p:nvSpPr>
              <p:cNvPr id="83" name="Freeform 561">
                <a:extLst>
                  <a:ext uri="{FF2B5EF4-FFF2-40B4-BE49-F238E27FC236}">
                    <a16:creationId xmlns:a16="http://schemas.microsoft.com/office/drawing/2014/main" id="{BBB2123A-F182-44F4-908B-BDC1D35BE681}"/>
                  </a:ext>
                </a:extLst>
              </p:cNvPr>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grpSp>
        <p:sp>
          <p:nvSpPr>
            <p:cNvPr id="62" name="Oval 61">
              <a:extLst>
                <a:ext uri="{FF2B5EF4-FFF2-40B4-BE49-F238E27FC236}">
                  <a16:creationId xmlns:a16="http://schemas.microsoft.com/office/drawing/2014/main" id="{1D00ABE9-7637-4197-BF7C-3375F934A78E}"/>
                </a:ext>
              </a:extLst>
            </p:cNvPr>
            <p:cNvSpPr/>
            <p:nvPr/>
          </p:nvSpPr>
          <p:spPr bwMode="gray">
            <a:xfrm>
              <a:off x="4371378" y="5370775"/>
              <a:ext cx="804232" cy="816766"/>
            </a:xfrm>
            <a:prstGeom prst="ellipse">
              <a:avLst/>
            </a:prstGeom>
            <a:solidFill>
              <a:sysClr val="window" lastClr="FFFFFF"/>
            </a:solidFill>
            <a:ln w="19050" algn="ctr">
              <a:noFill/>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grpSp>
          <p:nvGrpSpPr>
            <p:cNvPr id="63" name="Group 872">
              <a:extLst>
                <a:ext uri="{FF2B5EF4-FFF2-40B4-BE49-F238E27FC236}">
                  <a16:creationId xmlns:a16="http://schemas.microsoft.com/office/drawing/2014/main" id="{73F7A277-8066-40DC-B104-BFE0A958E21F}"/>
                </a:ext>
              </a:extLst>
            </p:cNvPr>
            <p:cNvGrpSpPr>
              <a:grpSpLocks noChangeAspect="1"/>
            </p:cNvGrpSpPr>
            <p:nvPr/>
          </p:nvGrpSpPr>
          <p:grpSpPr bwMode="auto">
            <a:xfrm>
              <a:off x="4469403" y="5471422"/>
              <a:ext cx="607812" cy="617286"/>
              <a:chOff x="3132" y="3822"/>
              <a:chExt cx="340" cy="340"/>
            </a:xfrm>
            <a:solidFill>
              <a:srgbClr val="86BC25"/>
            </a:solidFill>
          </p:grpSpPr>
          <p:sp>
            <p:nvSpPr>
              <p:cNvPr id="79" name="Freeform 873">
                <a:extLst>
                  <a:ext uri="{FF2B5EF4-FFF2-40B4-BE49-F238E27FC236}">
                    <a16:creationId xmlns:a16="http://schemas.microsoft.com/office/drawing/2014/main" id="{B823ACA0-BDC0-4251-81B1-694E2DEF31EE}"/>
                  </a:ext>
                </a:extLst>
              </p:cNvPr>
              <p:cNvSpPr>
                <a:spLocks noEditPoints="1"/>
              </p:cNvSpPr>
              <p:nvPr/>
            </p:nvSpPr>
            <p:spPr bwMode="auto">
              <a:xfrm>
                <a:off x="3132" y="3822"/>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sp>
            <p:nvSpPr>
              <p:cNvPr id="80" name="Freeform 874">
                <a:extLst>
                  <a:ext uri="{FF2B5EF4-FFF2-40B4-BE49-F238E27FC236}">
                    <a16:creationId xmlns:a16="http://schemas.microsoft.com/office/drawing/2014/main" id="{899994DA-B081-44C5-84F3-76AEC8AAC3D7}"/>
                  </a:ext>
                </a:extLst>
              </p:cNvPr>
              <p:cNvSpPr>
                <a:spLocks/>
              </p:cNvSpPr>
              <p:nvPr/>
            </p:nvSpPr>
            <p:spPr bwMode="auto">
              <a:xfrm>
                <a:off x="3217" y="3999"/>
                <a:ext cx="85" cy="14"/>
              </a:xfrm>
              <a:custGeom>
                <a:avLst/>
                <a:gdLst>
                  <a:gd name="T0" fmla="*/ 128 w 128"/>
                  <a:gd name="T1" fmla="*/ 11 h 21"/>
                  <a:gd name="T2" fmla="*/ 117 w 128"/>
                  <a:gd name="T3" fmla="*/ 0 h 21"/>
                  <a:gd name="T4" fmla="*/ 11 w 128"/>
                  <a:gd name="T5" fmla="*/ 0 h 21"/>
                  <a:gd name="T6" fmla="*/ 0 w 128"/>
                  <a:gd name="T7" fmla="*/ 11 h 21"/>
                  <a:gd name="T8" fmla="*/ 11 w 128"/>
                  <a:gd name="T9" fmla="*/ 21 h 21"/>
                  <a:gd name="T10" fmla="*/ 117 w 128"/>
                  <a:gd name="T11" fmla="*/ 21 h 21"/>
                  <a:gd name="T12" fmla="*/ 128 w 128"/>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28" y="11"/>
                    </a:moveTo>
                    <a:cubicBezTo>
                      <a:pt x="128" y="5"/>
                      <a:pt x="123" y="0"/>
                      <a:pt x="117" y="0"/>
                    </a:cubicBezTo>
                    <a:cubicBezTo>
                      <a:pt x="11" y="0"/>
                      <a:pt x="11" y="0"/>
                      <a:pt x="11" y="0"/>
                    </a:cubicBezTo>
                    <a:cubicBezTo>
                      <a:pt x="5" y="0"/>
                      <a:pt x="0" y="5"/>
                      <a:pt x="0" y="11"/>
                    </a:cubicBezTo>
                    <a:cubicBezTo>
                      <a:pt x="0" y="17"/>
                      <a:pt x="5" y="21"/>
                      <a:pt x="11" y="21"/>
                    </a:cubicBezTo>
                    <a:cubicBezTo>
                      <a:pt x="117" y="21"/>
                      <a:pt x="117" y="21"/>
                      <a:pt x="117" y="21"/>
                    </a:cubicBezTo>
                    <a:cubicBezTo>
                      <a:pt x="123" y="21"/>
                      <a:pt x="128" y="17"/>
                      <a:pt x="128"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sp>
            <p:nvSpPr>
              <p:cNvPr id="81" name="Freeform 875">
                <a:extLst>
                  <a:ext uri="{FF2B5EF4-FFF2-40B4-BE49-F238E27FC236}">
                    <a16:creationId xmlns:a16="http://schemas.microsoft.com/office/drawing/2014/main" id="{42081C76-EC04-48A1-89A0-7ABC3531916C}"/>
                  </a:ext>
                </a:extLst>
              </p:cNvPr>
              <p:cNvSpPr>
                <a:spLocks noEditPoints="1"/>
              </p:cNvSpPr>
              <p:nvPr/>
            </p:nvSpPr>
            <p:spPr bwMode="auto">
              <a:xfrm>
                <a:off x="3230" y="3885"/>
                <a:ext cx="150" cy="213"/>
              </a:xfrm>
              <a:custGeom>
                <a:avLst/>
                <a:gdLst>
                  <a:gd name="T0" fmla="*/ 226 w 226"/>
                  <a:gd name="T1" fmla="*/ 167 h 321"/>
                  <a:gd name="T2" fmla="*/ 169 w 226"/>
                  <a:gd name="T3" fmla="*/ 69 h 321"/>
                  <a:gd name="T4" fmla="*/ 181 w 226"/>
                  <a:gd name="T5" fmla="*/ 57 h 321"/>
                  <a:gd name="T6" fmla="*/ 181 w 226"/>
                  <a:gd name="T7" fmla="*/ 42 h 321"/>
                  <a:gd name="T8" fmla="*/ 173 w 226"/>
                  <a:gd name="T9" fmla="*/ 35 h 321"/>
                  <a:gd name="T10" fmla="*/ 181 w 226"/>
                  <a:gd name="T11" fmla="*/ 27 h 321"/>
                  <a:gd name="T12" fmla="*/ 181 w 226"/>
                  <a:gd name="T13" fmla="*/ 12 h 321"/>
                  <a:gd name="T14" fmla="*/ 173 w 226"/>
                  <a:gd name="T15" fmla="*/ 4 h 321"/>
                  <a:gd name="T16" fmla="*/ 158 w 226"/>
                  <a:gd name="T17" fmla="*/ 4 h 321"/>
                  <a:gd name="T18" fmla="*/ 150 w 226"/>
                  <a:gd name="T19" fmla="*/ 12 h 321"/>
                  <a:gd name="T20" fmla="*/ 143 w 226"/>
                  <a:gd name="T21" fmla="*/ 4 h 321"/>
                  <a:gd name="T22" fmla="*/ 128 w 226"/>
                  <a:gd name="T23" fmla="*/ 4 h 321"/>
                  <a:gd name="T24" fmla="*/ 37 w 226"/>
                  <a:gd name="T25" fmla="*/ 95 h 321"/>
                  <a:gd name="T26" fmla="*/ 37 w 226"/>
                  <a:gd name="T27" fmla="*/ 110 h 321"/>
                  <a:gd name="T28" fmla="*/ 75 w 226"/>
                  <a:gd name="T29" fmla="*/ 148 h 321"/>
                  <a:gd name="T30" fmla="*/ 82 w 226"/>
                  <a:gd name="T31" fmla="*/ 151 h 321"/>
                  <a:gd name="T32" fmla="*/ 82 w 226"/>
                  <a:gd name="T33" fmla="*/ 151 h 321"/>
                  <a:gd name="T34" fmla="*/ 90 w 226"/>
                  <a:gd name="T35" fmla="*/ 148 h 321"/>
                  <a:gd name="T36" fmla="*/ 119 w 226"/>
                  <a:gd name="T37" fmla="*/ 119 h 321"/>
                  <a:gd name="T38" fmla="*/ 152 w 226"/>
                  <a:gd name="T39" fmla="*/ 161 h 321"/>
                  <a:gd name="T40" fmla="*/ 109 w 226"/>
                  <a:gd name="T41" fmla="*/ 204 h 321"/>
                  <a:gd name="T42" fmla="*/ 98 w 226"/>
                  <a:gd name="T43" fmla="*/ 215 h 321"/>
                  <a:gd name="T44" fmla="*/ 109 w 226"/>
                  <a:gd name="T45" fmla="*/ 225 h 321"/>
                  <a:gd name="T46" fmla="*/ 173 w 226"/>
                  <a:gd name="T47" fmla="*/ 161 h 321"/>
                  <a:gd name="T48" fmla="*/ 136 w 226"/>
                  <a:gd name="T49" fmla="*/ 102 h 321"/>
                  <a:gd name="T50" fmla="*/ 153 w 226"/>
                  <a:gd name="T51" fmla="*/ 85 h 321"/>
                  <a:gd name="T52" fmla="*/ 155 w 226"/>
                  <a:gd name="T53" fmla="*/ 86 h 321"/>
                  <a:gd name="T54" fmla="*/ 205 w 226"/>
                  <a:gd name="T55" fmla="*/ 167 h 321"/>
                  <a:gd name="T56" fmla="*/ 129 w 226"/>
                  <a:gd name="T57" fmla="*/ 257 h 321"/>
                  <a:gd name="T58" fmla="*/ 120 w 226"/>
                  <a:gd name="T59" fmla="*/ 266 h 321"/>
                  <a:gd name="T60" fmla="*/ 126 w 226"/>
                  <a:gd name="T61" fmla="*/ 278 h 321"/>
                  <a:gd name="T62" fmla="*/ 147 w 226"/>
                  <a:gd name="T63" fmla="*/ 300 h 321"/>
                  <a:gd name="T64" fmla="*/ 70 w 226"/>
                  <a:gd name="T65" fmla="*/ 300 h 321"/>
                  <a:gd name="T66" fmla="*/ 82 w 226"/>
                  <a:gd name="T67" fmla="*/ 288 h 321"/>
                  <a:gd name="T68" fmla="*/ 88 w 226"/>
                  <a:gd name="T69" fmla="*/ 277 h 321"/>
                  <a:gd name="T70" fmla="*/ 80 w 226"/>
                  <a:gd name="T71" fmla="*/ 268 h 321"/>
                  <a:gd name="T72" fmla="*/ 22 w 226"/>
                  <a:gd name="T73" fmla="*/ 211 h 321"/>
                  <a:gd name="T74" fmla="*/ 8 w 226"/>
                  <a:gd name="T75" fmla="*/ 205 h 321"/>
                  <a:gd name="T76" fmla="*/ 2 w 226"/>
                  <a:gd name="T77" fmla="*/ 219 h 321"/>
                  <a:gd name="T78" fmla="*/ 56 w 226"/>
                  <a:gd name="T79" fmla="*/ 282 h 321"/>
                  <a:gd name="T80" fmla="*/ 45 w 226"/>
                  <a:gd name="T81" fmla="*/ 309 h 321"/>
                  <a:gd name="T82" fmla="*/ 47 w 226"/>
                  <a:gd name="T83" fmla="*/ 317 h 321"/>
                  <a:gd name="T84" fmla="*/ 56 w 226"/>
                  <a:gd name="T85" fmla="*/ 321 h 321"/>
                  <a:gd name="T86" fmla="*/ 162 w 226"/>
                  <a:gd name="T87" fmla="*/ 321 h 321"/>
                  <a:gd name="T88" fmla="*/ 171 w 226"/>
                  <a:gd name="T89" fmla="*/ 317 h 321"/>
                  <a:gd name="T90" fmla="*/ 173 w 226"/>
                  <a:gd name="T91" fmla="*/ 309 h 321"/>
                  <a:gd name="T92" fmla="*/ 154 w 226"/>
                  <a:gd name="T93" fmla="*/ 273 h 321"/>
                  <a:gd name="T94" fmla="*/ 226 w 226"/>
                  <a:gd name="T95" fmla="*/ 167 h 321"/>
                  <a:gd name="T96" fmla="*/ 82 w 226"/>
                  <a:gd name="T97" fmla="*/ 126 h 321"/>
                  <a:gd name="T98" fmla="*/ 60 w 226"/>
                  <a:gd name="T99" fmla="*/ 103 h 321"/>
                  <a:gd name="T100" fmla="*/ 135 w 226"/>
                  <a:gd name="T101" fmla="*/ 27 h 321"/>
                  <a:gd name="T102" fmla="*/ 158 w 226"/>
                  <a:gd name="T103" fmla="*/ 50 h 321"/>
                  <a:gd name="T104" fmla="*/ 82 w 226"/>
                  <a:gd name="T105"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321">
                    <a:moveTo>
                      <a:pt x="226" y="167"/>
                    </a:moveTo>
                    <a:cubicBezTo>
                      <a:pt x="226" y="126"/>
                      <a:pt x="205" y="89"/>
                      <a:pt x="169" y="69"/>
                    </a:cubicBezTo>
                    <a:cubicBezTo>
                      <a:pt x="181" y="57"/>
                      <a:pt x="181" y="57"/>
                      <a:pt x="181" y="57"/>
                    </a:cubicBezTo>
                    <a:cubicBezTo>
                      <a:pt x="185" y="53"/>
                      <a:pt x="185" y="46"/>
                      <a:pt x="181" y="42"/>
                    </a:cubicBezTo>
                    <a:cubicBezTo>
                      <a:pt x="173" y="35"/>
                      <a:pt x="173" y="35"/>
                      <a:pt x="173" y="35"/>
                    </a:cubicBezTo>
                    <a:cubicBezTo>
                      <a:pt x="181" y="27"/>
                      <a:pt x="181" y="27"/>
                      <a:pt x="181" y="27"/>
                    </a:cubicBezTo>
                    <a:cubicBezTo>
                      <a:pt x="185" y="23"/>
                      <a:pt x="185" y="16"/>
                      <a:pt x="181" y="12"/>
                    </a:cubicBezTo>
                    <a:cubicBezTo>
                      <a:pt x="173" y="4"/>
                      <a:pt x="173" y="4"/>
                      <a:pt x="173" y="4"/>
                    </a:cubicBezTo>
                    <a:cubicBezTo>
                      <a:pt x="169" y="0"/>
                      <a:pt x="162" y="0"/>
                      <a:pt x="158" y="4"/>
                    </a:cubicBezTo>
                    <a:cubicBezTo>
                      <a:pt x="150" y="12"/>
                      <a:pt x="150" y="12"/>
                      <a:pt x="150" y="12"/>
                    </a:cubicBezTo>
                    <a:cubicBezTo>
                      <a:pt x="143" y="4"/>
                      <a:pt x="143" y="4"/>
                      <a:pt x="143" y="4"/>
                    </a:cubicBezTo>
                    <a:cubicBezTo>
                      <a:pt x="139" y="0"/>
                      <a:pt x="132" y="0"/>
                      <a:pt x="128" y="4"/>
                    </a:cubicBezTo>
                    <a:cubicBezTo>
                      <a:pt x="37" y="95"/>
                      <a:pt x="37" y="95"/>
                      <a:pt x="37" y="95"/>
                    </a:cubicBezTo>
                    <a:cubicBezTo>
                      <a:pt x="33" y="99"/>
                      <a:pt x="33" y="106"/>
                      <a:pt x="37" y="110"/>
                    </a:cubicBezTo>
                    <a:cubicBezTo>
                      <a:pt x="75" y="148"/>
                      <a:pt x="75" y="148"/>
                      <a:pt x="75" y="148"/>
                    </a:cubicBezTo>
                    <a:cubicBezTo>
                      <a:pt x="77" y="150"/>
                      <a:pt x="79" y="151"/>
                      <a:pt x="82" y="151"/>
                    </a:cubicBezTo>
                    <a:cubicBezTo>
                      <a:pt x="82" y="151"/>
                      <a:pt x="82" y="151"/>
                      <a:pt x="82" y="151"/>
                    </a:cubicBezTo>
                    <a:cubicBezTo>
                      <a:pt x="85" y="151"/>
                      <a:pt x="88" y="150"/>
                      <a:pt x="90" y="148"/>
                    </a:cubicBezTo>
                    <a:cubicBezTo>
                      <a:pt x="119" y="119"/>
                      <a:pt x="119" y="119"/>
                      <a:pt x="119" y="119"/>
                    </a:cubicBezTo>
                    <a:cubicBezTo>
                      <a:pt x="139" y="124"/>
                      <a:pt x="152" y="141"/>
                      <a:pt x="152" y="161"/>
                    </a:cubicBezTo>
                    <a:cubicBezTo>
                      <a:pt x="152" y="186"/>
                      <a:pt x="134" y="204"/>
                      <a:pt x="109" y="204"/>
                    </a:cubicBezTo>
                    <a:cubicBezTo>
                      <a:pt x="103" y="204"/>
                      <a:pt x="98" y="209"/>
                      <a:pt x="98" y="215"/>
                    </a:cubicBezTo>
                    <a:cubicBezTo>
                      <a:pt x="98" y="221"/>
                      <a:pt x="103" y="225"/>
                      <a:pt x="109" y="225"/>
                    </a:cubicBezTo>
                    <a:cubicBezTo>
                      <a:pt x="145" y="225"/>
                      <a:pt x="173" y="198"/>
                      <a:pt x="173" y="161"/>
                    </a:cubicBezTo>
                    <a:cubicBezTo>
                      <a:pt x="173" y="135"/>
                      <a:pt x="158" y="113"/>
                      <a:pt x="136" y="102"/>
                    </a:cubicBezTo>
                    <a:cubicBezTo>
                      <a:pt x="153" y="85"/>
                      <a:pt x="153" y="85"/>
                      <a:pt x="153" y="85"/>
                    </a:cubicBezTo>
                    <a:cubicBezTo>
                      <a:pt x="154" y="85"/>
                      <a:pt x="155" y="86"/>
                      <a:pt x="155" y="86"/>
                    </a:cubicBezTo>
                    <a:cubicBezTo>
                      <a:pt x="186" y="101"/>
                      <a:pt x="205" y="132"/>
                      <a:pt x="205" y="167"/>
                    </a:cubicBezTo>
                    <a:cubicBezTo>
                      <a:pt x="205" y="212"/>
                      <a:pt x="172" y="251"/>
                      <a:pt x="129" y="257"/>
                    </a:cubicBezTo>
                    <a:cubicBezTo>
                      <a:pt x="124" y="258"/>
                      <a:pt x="121" y="262"/>
                      <a:pt x="120" y="266"/>
                    </a:cubicBezTo>
                    <a:cubicBezTo>
                      <a:pt x="119" y="271"/>
                      <a:pt x="121" y="275"/>
                      <a:pt x="126" y="278"/>
                    </a:cubicBezTo>
                    <a:cubicBezTo>
                      <a:pt x="134" y="282"/>
                      <a:pt x="142" y="291"/>
                      <a:pt x="147" y="300"/>
                    </a:cubicBezTo>
                    <a:cubicBezTo>
                      <a:pt x="70" y="300"/>
                      <a:pt x="70" y="300"/>
                      <a:pt x="70" y="300"/>
                    </a:cubicBezTo>
                    <a:cubicBezTo>
                      <a:pt x="73" y="295"/>
                      <a:pt x="77" y="291"/>
                      <a:pt x="82" y="288"/>
                    </a:cubicBezTo>
                    <a:cubicBezTo>
                      <a:pt x="86" y="286"/>
                      <a:pt x="88" y="281"/>
                      <a:pt x="88" y="277"/>
                    </a:cubicBezTo>
                    <a:cubicBezTo>
                      <a:pt x="87" y="273"/>
                      <a:pt x="84" y="269"/>
                      <a:pt x="80" y="268"/>
                    </a:cubicBezTo>
                    <a:cubicBezTo>
                      <a:pt x="55" y="262"/>
                      <a:pt x="34" y="241"/>
                      <a:pt x="22" y="211"/>
                    </a:cubicBezTo>
                    <a:cubicBezTo>
                      <a:pt x="20" y="206"/>
                      <a:pt x="14" y="203"/>
                      <a:pt x="8" y="205"/>
                    </a:cubicBezTo>
                    <a:cubicBezTo>
                      <a:pt x="3" y="207"/>
                      <a:pt x="0" y="213"/>
                      <a:pt x="2" y="219"/>
                    </a:cubicBezTo>
                    <a:cubicBezTo>
                      <a:pt x="14" y="248"/>
                      <a:pt x="33" y="271"/>
                      <a:pt x="56" y="282"/>
                    </a:cubicBezTo>
                    <a:cubicBezTo>
                      <a:pt x="51" y="289"/>
                      <a:pt x="47" y="298"/>
                      <a:pt x="45" y="309"/>
                    </a:cubicBezTo>
                    <a:cubicBezTo>
                      <a:pt x="45" y="312"/>
                      <a:pt x="45" y="315"/>
                      <a:pt x="47" y="317"/>
                    </a:cubicBezTo>
                    <a:cubicBezTo>
                      <a:pt x="49" y="320"/>
                      <a:pt x="52" y="321"/>
                      <a:pt x="56" y="321"/>
                    </a:cubicBezTo>
                    <a:cubicBezTo>
                      <a:pt x="162" y="321"/>
                      <a:pt x="162" y="321"/>
                      <a:pt x="162" y="321"/>
                    </a:cubicBezTo>
                    <a:cubicBezTo>
                      <a:pt x="166" y="321"/>
                      <a:pt x="169" y="320"/>
                      <a:pt x="171" y="317"/>
                    </a:cubicBezTo>
                    <a:cubicBezTo>
                      <a:pt x="173" y="315"/>
                      <a:pt x="173" y="312"/>
                      <a:pt x="173" y="309"/>
                    </a:cubicBezTo>
                    <a:cubicBezTo>
                      <a:pt x="170" y="296"/>
                      <a:pt x="163" y="283"/>
                      <a:pt x="154" y="273"/>
                    </a:cubicBezTo>
                    <a:cubicBezTo>
                      <a:pt x="196" y="257"/>
                      <a:pt x="226" y="214"/>
                      <a:pt x="226" y="167"/>
                    </a:cubicBezTo>
                    <a:close/>
                    <a:moveTo>
                      <a:pt x="82" y="126"/>
                    </a:moveTo>
                    <a:cubicBezTo>
                      <a:pt x="60" y="103"/>
                      <a:pt x="60" y="103"/>
                      <a:pt x="60" y="103"/>
                    </a:cubicBezTo>
                    <a:cubicBezTo>
                      <a:pt x="135" y="27"/>
                      <a:pt x="135" y="27"/>
                      <a:pt x="135" y="27"/>
                    </a:cubicBezTo>
                    <a:cubicBezTo>
                      <a:pt x="158" y="50"/>
                      <a:pt x="158" y="50"/>
                      <a:pt x="158" y="50"/>
                    </a:cubicBezTo>
                    <a:lnTo>
                      <a:pt x="82"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grpSp>
        <p:sp>
          <p:nvSpPr>
            <p:cNvPr id="64" name="Oval 63">
              <a:extLst>
                <a:ext uri="{FF2B5EF4-FFF2-40B4-BE49-F238E27FC236}">
                  <a16:creationId xmlns:a16="http://schemas.microsoft.com/office/drawing/2014/main" id="{5E621E3A-7050-4093-A434-C62EE3F6D553}"/>
                </a:ext>
              </a:extLst>
            </p:cNvPr>
            <p:cNvSpPr/>
            <p:nvPr/>
          </p:nvSpPr>
          <p:spPr bwMode="gray">
            <a:xfrm>
              <a:off x="6429154" y="5112386"/>
              <a:ext cx="804232" cy="816766"/>
            </a:xfrm>
            <a:prstGeom prst="ellipse">
              <a:avLst/>
            </a:prstGeom>
            <a:solidFill>
              <a:sysClr val="window" lastClr="FFFFFF"/>
            </a:solidFill>
            <a:ln w="19050" algn="ctr">
              <a:noFill/>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grpSp>
          <p:nvGrpSpPr>
            <p:cNvPr id="65" name="Group 834">
              <a:extLst>
                <a:ext uri="{FF2B5EF4-FFF2-40B4-BE49-F238E27FC236}">
                  <a16:creationId xmlns:a16="http://schemas.microsoft.com/office/drawing/2014/main" id="{F2D61F20-A28B-41C8-BFB7-913D0A7E7008}"/>
                </a:ext>
              </a:extLst>
            </p:cNvPr>
            <p:cNvGrpSpPr>
              <a:grpSpLocks noChangeAspect="1"/>
            </p:cNvGrpSpPr>
            <p:nvPr/>
          </p:nvGrpSpPr>
          <p:grpSpPr bwMode="auto">
            <a:xfrm>
              <a:off x="6480123" y="5225563"/>
              <a:ext cx="607818" cy="617286"/>
              <a:chOff x="5977" y="3324"/>
              <a:chExt cx="340" cy="340"/>
            </a:xfrm>
            <a:solidFill>
              <a:srgbClr val="046A38"/>
            </a:solidFill>
          </p:grpSpPr>
          <p:sp>
            <p:nvSpPr>
              <p:cNvPr id="76" name="Freeform 835">
                <a:extLst>
                  <a:ext uri="{FF2B5EF4-FFF2-40B4-BE49-F238E27FC236}">
                    <a16:creationId xmlns:a16="http://schemas.microsoft.com/office/drawing/2014/main" id="{926B4BC5-7593-41B4-8DE4-C021E59CA3F1}"/>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sp>
            <p:nvSpPr>
              <p:cNvPr id="77" name="Freeform 836">
                <a:extLst>
                  <a:ext uri="{FF2B5EF4-FFF2-40B4-BE49-F238E27FC236}">
                    <a16:creationId xmlns:a16="http://schemas.microsoft.com/office/drawing/2014/main" id="{BA53D3BE-C33A-4444-97B2-291FA037E386}"/>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sp>
            <p:nvSpPr>
              <p:cNvPr id="78" name="Freeform 837">
                <a:extLst>
                  <a:ext uri="{FF2B5EF4-FFF2-40B4-BE49-F238E27FC236}">
                    <a16:creationId xmlns:a16="http://schemas.microsoft.com/office/drawing/2014/main" id="{055685EE-D90B-4A6C-A33E-496D67293A88}"/>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grpSp>
        <p:sp>
          <p:nvSpPr>
            <p:cNvPr id="66" name="Oval 65">
              <a:extLst>
                <a:ext uri="{FF2B5EF4-FFF2-40B4-BE49-F238E27FC236}">
                  <a16:creationId xmlns:a16="http://schemas.microsoft.com/office/drawing/2014/main" id="{79EBACCD-1DDB-430E-A1D3-36D4578E4C2C}"/>
                </a:ext>
              </a:extLst>
            </p:cNvPr>
            <p:cNvSpPr/>
            <p:nvPr/>
          </p:nvSpPr>
          <p:spPr bwMode="gray">
            <a:xfrm>
              <a:off x="3479991" y="3715982"/>
              <a:ext cx="804232" cy="816766"/>
            </a:xfrm>
            <a:prstGeom prst="ellipse">
              <a:avLst/>
            </a:prstGeom>
            <a:solidFill>
              <a:sysClr val="window" lastClr="FFFFFF"/>
            </a:solidFill>
            <a:ln w="19050" algn="ctr">
              <a:noFill/>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grpSp>
          <p:nvGrpSpPr>
            <p:cNvPr id="67" name="Group 526">
              <a:extLst>
                <a:ext uri="{FF2B5EF4-FFF2-40B4-BE49-F238E27FC236}">
                  <a16:creationId xmlns:a16="http://schemas.microsoft.com/office/drawing/2014/main" id="{D329689B-2393-4E4D-9C2D-28C7C2058E44}"/>
                </a:ext>
              </a:extLst>
            </p:cNvPr>
            <p:cNvGrpSpPr>
              <a:grpSpLocks noChangeAspect="1"/>
            </p:cNvGrpSpPr>
            <p:nvPr/>
          </p:nvGrpSpPr>
          <p:grpSpPr bwMode="auto">
            <a:xfrm>
              <a:off x="3578201" y="3815722"/>
              <a:ext cx="607812" cy="617286"/>
              <a:chOff x="3464" y="1974"/>
              <a:chExt cx="340" cy="340"/>
            </a:xfrm>
            <a:solidFill>
              <a:srgbClr val="046A38"/>
            </a:solidFill>
          </p:grpSpPr>
          <p:sp>
            <p:nvSpPr>
              <p:cNvPr id="74" name="Freeform 527">
                <a:extLst>
                  <a:ext uri="{FF2B5EF4-FFF2-40B4-BE49-F238E27FC236}">
                    <a16:creationId xmlns:a16="http://schemas.microsoft.com/office/drawing/2014/main" id="{EAF7CFB2-9088-42FD-8B86-FC76A8B8B941}"/>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sp>
            <p:nvSpPr>
              <p:cNvPr id="75" name="Freeform 528">
                <a:extLst>
                  <a:ext uri="{FF2B5EF4-FFF2-40B4-BE49-F238E27FC236}">
                    <a16:creationId xmlns:a16="http://schemas.microsoft.com/office/drawing/2014/main" id="{CEC1A1EE-1CDF-497F-8839-239EBAB1B54D}"/>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grpSp>
        <p:sp>
          <p:nvSpPr>
            <p:cNvPr id="68" name="Oval 67">
              <a:extLst>
                <a:ext uri="{FF2B5EF4-FFF2-40B4-BE49-F238E27FC236}">
                  <a16:creationId xmlns:a16="http://schemas.microsoft.com/office/drawing/2014/main" id="{2A2F95CD-C98D-45B5-8EFD-F28492E8C0B5}"/>
                </a:ext>
              </a:extLst>
            </p:cNvPr>
            <p:cNvSpPr/>
            <p:nvPr/>
          </p:nvSpPr>
          <p:spPr bwMode="gray">
            <a:xfrm>
              <a:off x="6906846" y="3715982"/>
              <a:ext cx="804232" cy="816766"/>
            </a:xfrm>
            <a:prstGeom prst="ellipse">
              <a:avLst/>
            </a:prstGeom>
            <a:solidFill>
              <a:sysClr val="window" lastClr="FFFFFF"/>
            </a:solidFill>
            <a:ln w="19050" algn="ctr">
              <a:noFill/>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grpSp>
          <p:nvGrpSpPr>
            <p:cNvPr id="69" name="Group 48">
              <a:extLst>
                <a:ext uri="{FF2B5EF4-FFF2-40B4-BE49-F238E27FC236}">
                  <a16:creationId xmlns:a16="http://schemas.microsoft.com/office/drawing/2014/main" id="{EB333720-DBDF-4114-AD21-F20AC7BF535D}"/>
                </a:ext>
              </a:extLst>
            </p:cNvPr>
            <p:cNvGrpSpPr>
              <a:grpSpLocks noChangeAspect="1"/>
            </p:cNvGrpSpPr>
            <p:nvPr/>
          </p:nvGrpSpPr>
          <p:grpSpPr bwMode="auto">
            <a:xfrm>
              <a:off x="7002039" y="3815721"/>
              <a:ext cx="607812" cy="617286"/>
              <a:chOff x="4277" y="1990"/>
              <a:chExt cx="340" cy="340"/>
            </a:xfrm>
            <a:solidFill>
              <a:srgbClr val="86BC25"/>
            </a:solidFill>
          </p:grpSpPr>
          <p:sp>
            <p:nvSpPr>
              <p:cNvPr id="72" name="Freeform 49">
                <a:extLst>
                  <a:ext uri="{FF2B5EF4-FFF2-40B4-BE49-F238E27FC236}">
                    <a16:creationId xmlns:a16="http://schemas.microsoft.com/office/drawing/2014/main" id="{FBB5D349-8A35-471A-A889-99BDA34E2BEC}"/>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sp>
            <p:nvSpPr>
              <p:cNvPr id="73" name="Freeform 50">
                <a:extLst>
                  <a:ext uri="{FF2B5EF4-FFF2-40B4-BE49-F238E27FC236}">
                    <a16:creationId xmlns:a16="http://schemas.microsoft.com/office/drawing/2014/main" id="{EBB9765C-0C32-4BBA-AB23-C9903D279314}"/>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dirty="0">
                  <a:solidFill>
                    <a:prstClr val="black"/>
                  </a:solidFill>
                  <a:latin typeface="Calibri"/>
                  <a:cs typeface="Calibri" panose="020F0502020204030204" pitchFamily="34" charset="0"/>
                </a:endParaRPr>
              </a:p>
            </p:txBody>
          </p:sp>
        </p:grpSp>
        <p:sp>
          <p:nvSpPr>
            <p:cNvPr id="70" name="Oval 69">
              <a:extLst>
                <a:ext uri="{FF2B5EF4-FFF2-40B4-BE49-F238E27FC236}">
                  <a16:creationId xmlns:a16="http://schemas.microsoft.com/office/drawing/2014/main" id="{33CA8A8F-B81A-4109-936E-E2BCCDA50F6E}"/>
                </a:ext>
              </a:extLst>
            </p:cNvPr>
            <p:cNvSpPr/>
            <p:nvPr/>
          </p:nvSpPr>
          <p:spPr bwMode="gray">
            <a:xfrm>
              <a:off x="3933697" y="6172707"/>
              <a:ext cx="3220824" cy="289143"/>
            </a:xfrm>
            <a:prstGeom prst="ellipse">
              <a:avLst/>
            </a:prstGeom>
            <a:gradFill flip="none" rotWithShape="1">
              <a:gsLst>
                <a:gs pos="0">
                  <a:sysClr val="windowText" lastClr="000000">
                    <a:alpha val="10000"/>
                  </a:sysClr>
                </a:gs>
                <a:gs pos="100000">
                  <a:sysClr val="window" lastClr="FFFFFF">
                    <a:lumMod val="95000"/>
                    <a:alpha val="0"/>
                  </a:sysClr>
                </a:gs>
              </a:gsLst>
              <a:path path="shape">
                <a:fillToRect l="50000" t="50000" r="50000" b="50000"/>
              </a:path>
              <a:tileRect/>
            </a:gradFill>
            <a:ln w="19050" algn="ctr">
              <a:noFill/>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sp>
          <p:nvSpPr>
            <p:cNvPr id="71" name="Oval 70">
              <a:extLst>
                <a:ext uri="{FF2B5EF4-FFF2-40B4-BE49-F238E27FC236}">
                  <a16:creationId xmlns:a16="http://schemas.microsoft.com/office/drawing/2014/main" id="{27885C9B-D25C-434D-9039-F4EE39822A57}"/>
                </a:ext>
              </a:extLst>
            </p:cNvPr>
            <p:cNvSpPr/>
            <p:nvPr/>
          </p:nvSpPr>
          <p:spPr bwMode="gray">
            <a:xfrm>
              <a:off x="4246405" y="2747637"/>
              <a:ext cx="2710864" cy="2753120"/>
            </a:xfrm>
            <a:prstGeom prst="ellipse">
              <a:avLst/>
            </a:prstGeom>
            <a:noFill/>
            <a:ln w="12700" algn="ctr">
              <a:solidFill>
                <a:sysClr val="windowText" lastClr="000000"/>
              </a:solidFill>
              <a:prstDash val="sysDot"/>
              <a:miter lim="800000"/>
              <a:headEnd/>
              <a:tailEnd/>
            </a:ln>
          </p:spPr>
          <p:txBody>
            <a:bodyPr wrap="square" lIns="88900" tIns="88900" rIns="88900" bIns="88900" rtlCol="0" anchor="ctr"/>
            <a:lstStyle/>
            <a:p>
              <a:pPr algn="ctr">
                <a:lnSpc>
                  <a:spcPct val="106000"/>
                </a:lnSpc>
                <a:defRPr/>
              </a:pPr>
              <a:endParaRPr lang="en-US" sz="1400" b="1" kern="0" dirty="0">
                <a:solidFill>
                  <a:prstClr val="white"/>
                </a:solidFill>
                <a:latin typeface="Calibri"/>
                <a:cs typeface="Calibri" panose="020F0502020204030204" pitchFamily="34" charset="0"/>
              </a:endParaRPr>
            </a:p>
          </p:txBody>
        </p:sp>
      </p:grpSp>
    </p:spTree>
    <p:extLst>
      <p:ext uri="{BB962C8B-B14F-4D97-AF65-F5344CB8AC3E}">
        <p14:creationId xmlns:p14="http://schemas.microsoft.com/office/powerpoint/2010/main" val="41926911"/>
      </p:ext>
    </p:extLst>
  </p:cSld>
  <p:clrMapOvr>
    <a:masterClrMapping/>
  </p:clrMapOvr>
  <p:transition spd="med">
    <p:pull/>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2">
            <a:extLst>
              <a:ext uri="{FF2B5EF4-FFF2-40B4-BE49-F238E27FC236}">
                <a16:creationId xmlns:a16="http://schemas.microsoft.com/office/drawing/2014/main" id="{75F4966B-370F-4EA9-8AC3-E1908BAF94B1}"/>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5" name="Text Placeholder 1">
            <a:extLst>
              <a:ext uri="{FF2B5EF4-FFF2-40B4-BE49-F238E27FC236}">
                <a16:creationId xmlns:a16="http://schemas.microsoft.com/office/drawing/2014/main" id="{6CA035C4-A918-41AB-ACC2-A2874578E22E}"/>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Our Awards and Capabilities – Global Recognition</a:t>
            </a:r>
          </a:p>
        </p:txBody>
      </p:sp>
      <p:sp>
        <p:nvSpPr>
          <p:cNvPr id="8" name="Rectangle 7">
            <a:extLst>
              <a:ext uri="{FF2B5EF4-FFF2-40B4-BE49-F238E27FC236}">
                <a16:creationId xmlns:a16="http://schemas.microsoft.com/office/drawing/2014/main" id="{55B0C262-025F-4980-9234-0B527727E432}"/>
              </a:ext>
            </a:extLst>
          </p:cNvPr>
          <p:cNvSpPr/>
          <p:nvPr/>
        </p:nvSpPr>
        <p:spPr>
          <a:xfrm>
            <a:off x="419100" y="1712679"/>
            <a:ext cx="10185400" cy="338554"/>
          </a:xfrm>
          <a:prstGeom prst="rect">
            <a:avLst/>
          </a:prstGeom>
        </p:spPr>
        <p:txBody>
          <a:bodyPr wrap="square">
            <a:spAutoFit/>
          </a:bodyPr>
          <a:lstStyle/>
          <a:p>
            <a:pPr defTabSz="1219170">
              <a:defRPr/>
            </a:pPr>
            <a:r>
              <a:rPr lang="en-US" sz="1600" b="1" dirty="0">
                <a:solidFill>
                  <a:prstClr val="black"/>
                </a:solidFill>
                <a:latin typeface="Calibri"/>
                <a:cs typeface="Calibri" panose="020F0502020204030204" pitchFamily="34" charset="0"/>
              </a:rPr>
              <a:t>Deloitte is recognized as a global leader in capabilities, vision and execution</a:t>
            </a:r>
          </a:p>
        </p:txBody>
      </p:sp>
      <p:sp>
        <p:nvSpPr>
          <p:cNvPr id="9" name="Content Placeholder 3">
            <a:extLst>
              <a:ext uri="{FF2B5EF4-FFF2-40B4-BE49-F238E27FC236}">
                <a16:creationId xmlns:a16="http://schemas.microsoft.com/office/drawing/2014/main" id="{76739659-A779-48ED-8146-74CC4AC315B7}"/>
              </a:ext>
            </a:extLst>
          </p:cNvPr>
          <p:cNvSpPr txBox="1">
            <a:spLocks/>
          </p:cNvSpPr>
          <p:nvPr/>
        </p:nvSpPr>
        <p:spPr>
          <a:xfrm>
            <a:off x="419100" y="2265977"/>
            <a:ext cx="5582500" cy="1779789"/>
          </a:xfrm>
          <a:prstGeom prst="rect">
            <a:avLst/>
          </a:prstGeom>
        </p:spPr>
        <p:txBody>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1100" dirty="0">
                <a:solidFill>
                  <a:prstClr val="black"/>
                </a:solidFill>
                <a:latin typeface="Calibri"/>
                <a:cs typeface="Calibri" panose="020F0502020204030204" pitchFamily="34" charset="0"/>
              </a:rPr>
              <a:t>For several consecutive years, industry analysts have maintained their perspective on Deloitte Consulting practices globally.</a:t>
            </a:r>
          </a:p>
          <a:p>
            <a:pPr>
              <a:defRPr/>
            </a:pPr>
            <a:r>
              <a:rPr lang="en-US" sz="1100" dirty="0">
                <a:solidFill>
                  <a:prstClr val="black"/>
                </a:solidFill>
                <a:latin typeface="Calibri"/>
                <a:cs typeface="Calibri" panose="020F0502020204030204" pitchFamily="34" charset="0"/>
              </a:rPr>
              <a:t>As the </a:t>
            </a:r>
            <a:r>
              <a:rPr lang="en-US" sz="1100" b="1" dirty="0">
                <a:solidFill>
                  <a:prstClr val="black"/>
                </a:solidFill>
                <a:latin typeface="Calibri"/>
                <a:cs typeface="Calibri" panose="020F0502020204030204" pitchFamily="34" charset="0"/>
              </a:rPr>
              <a:t>world's largest management consulting business</a:t>
            </a:r>
            <a:r>
              <a:rPr lang="en-US" sz="1100" dirty="0">
                <a:solidFill>
                  <a:prstClr val="black"/>
                </a:solidFill>
                <a:latin typeface="Calibri"/>
                <a:cs typeface="Calibri" panose="020F0502020204030204" pitchFamily="34" charset="0"/>
              </a:rPr>
              <a:t>, Deloitte is distinct in its ability to help clients solve their most complex problems, from strategy to implementation. </a:t>
            </a:r>
          </a:p>
          <a:p>
            <a:pPr>
              <a:defRPr/>
            </a:pPr>
            <a:r>
              <a:rPr lang="en-US" sz="1100" dirty="0">
                <a:solidFill>
                  <a:prstClr val="black"/>
                </a:solidFill>
                <a:latin typeface="Calibri"/>
                <a:cs typeface="Calibri" panose="020F0502020204030204" pitchFamily="34" charset="0"/>
              </a:rPr>
              <a:t>We are differentiated by our </a:t>
            </a:r>
            <a:r>
              <a:rPr lang="en-US" sz="1100" b="1" dirty="0">
                <a:solidFill>
                  <a:prstClr val="black"/>
                </a:solidFill>
                <a:latin typeface="Calibri"/>
                <a:cs typeface="Calibri" panose="020F0502020204030204" pitchFamily="34" charset="0"/>
              </a:rPr>
              <a:t>capability to execute the advice </a:t>
            </a:r>
            <a:r>
              <a:rPr lang="en-US" sz="1100" dirty="0">
                <a:solidFill>
                  <a:prstClr val="black"/>
                </a:solidFill>
                <a:latin typeface="Calibri"/>
                <a:cs typeface="Calibri" panose="020F0502020204030204" pitchFamily="34" charset="0"/>
              </a:rPr>
              <a:t>we provide to help clients in the markets where they operate today and where they want to be in the future. Delivering this kind of value requires the skills to </a:t>
            </a:r>
            <a:r>
              <a:rPr lang="en-US" sz="1100" b="1" dirty="0">
                <a:solidFill>
                  <a:prstClr val="black"/>
                </a:solidFill>
                <a:latin typeface="Calibri"/>
                <a:cs typeface="Calibri" panose="020F0502020204030204" pitchFamily="34" charset="0"/>
              </a:rPr>
              <a:t>integrate a broad range of talent and skills </a:t>
            </a:r>
            <a:r>
              <a:rPr lang="en-US" sz="1100" dirty="0">
                <a:solidFill>
                  <a:prstClr val="black"/>
                </a:solidFill>
                <a:latin typeface="Calibri"/>
                <a:cs typeface="Calibri" panose="020F0502020204030204" pitchFamily="34" charset="0"/>
              </a:rPr>
              <a:t>– across human capital, strategy &amp; operations, and technology – aligned to the unique needs of our clients’ industry sectors, businesses, and organisations.</a:t>
            </a:r>
          </a:p>
          <a:p>
            <a:pPr>
              <a:defRPr/>
            </a:pPr>
            <a:endParaRPr lang="en-US" sz="1100" dirty="0">
              <a:solidFill>
                <a:prstClr val="black"/>
              </a:solidFill>
              <a:latin typeface="Calibri"/>
              <a:cs typeface="Calibri" panose="020F0502020204030204" pitchFamily="34" charset="0"/>
            </a:endParaRPr>
          </a:p>
          <a:p>
            <a:pPr>
              <a:defRPr/>
            </a:pPr>
            <a:endParaRPr lang="en-US" sz="1100" dirty="0">
              <a:solidFill>
                <a:prstClr val="black"/>
              </a:solidFill>
              <a:latin typeface="Calibri"/>
              <a:cs typeface="Calibri" panose="020F0502020204030204" pitchFamily="34" charset="0"/>
            </a:endParaRPr>
          </a:p>
          <a:p>
            <a:pPr>
              <a:defRPr/>
            </a:pPr>
            <a:endParaRPr lang="en-US" sz="1100" dirty="0">
              <a:solidFill>
                <a:prstClr val="black"/>
              </a:solidFill>
              <a:latin typeface="Calibri"/>
              <a:cs typeface="Calibri" panose="020F0502020204030204" pitchFamily="34" charset="0"/>
            </a:endParaRPr>
          </a:p>
        </p:txBody>
      </p:sp>
      <p:grpSp>
        <p:nvGrpSpPr>
          <p:cNvPr id="10" name="Group 9">
            <a:extLst>
              <a:ext uri="{FF2B5EF4-FFF2-40B4-BE49-F238E27FC236}">
                <a16:creationId xmlns:a16="http://schemas.microsoft.com/office/drawing/2014/main" id="{91760176-FFC3-4B60-B633-71DA1AB9AAD5}"/>
              </a:ext>
            </a:extLst>
          </p:cNvPr>
          <p:cNvGrpSpPr/>
          <p:nvPr/>
        </p:nvGrpSpPr>
        <p:grpSpPr>
          <a:xfrm>
            <a:off x="533400" y="4254085"/>
            <a:ext cx="6682696" cy="1641972"/>
            <a:chOff x="533400" y="4254085"/>
            <a:chExt cx="6682696" cy="1641972"/>
          </a:xfrm>
        </p:grpSpPr>
        <p:sp>
          <p:nvSpPr>
            <p:cNvPr id="11" name="Oval 10">
              <a:extLst>
                <a:ext uri="{FF2B5EF4-FFF2-40B4-BE49-F238E27FC236}">
                  <a16:creationId xmlns:a16="http://schemas.microsoft.com/office/drawing/2014/main" id="{60BD3C88-2C77-4027-9B41-C5DC42FF6C63}"/>
                </a:ext>
              </a:extLst>
            </p:cNvPr>
            <p:cNvSpPr/>
            <p:nvPr/>
          </p:nvSpPr>
          <p:spPr bwMode="gray">
            <a:xfrm>
              <a:off x="575967" y="4321088"/>
              <a:ext cx="1532401" cy="1532402"/>
            </a:xfrm>
            <a:prstGeom prst="ellipse">
              <a:avLst/>
            </a:prstGeom>
            <a:solidFill>
              <a:srgbClr val="86BC25"/>
            </a:solidFill>
            <a:ln w="19050" algn="ctr">
              <a:noFill/>
              <a:miter lim="800000"/>
              <a:headEnd/>
              <a:tailEnd/>
            </a:ln>
          </p:spPr>
          <p:txBody>
            <a:bodyPr wrap="square" lIns="0" tIns="0" rIns="0" bIns="63125" rtlCol="0" anchor="ctr"/>
            <a:lstStyle/>
            <a:p>
              <a:pPr algn="ctr" defTabSz="633046">
                <a:defRPr/>
              </a:pPr>
              <a:r>
                <a:rPr lang="en-US" sz="2000" b="1" kern="0" dirty="0">
                  <a:solidFill>
                    <a:prstClr val="white"/>
                  </a:solidFill>
                  <a:latin typeface="Calibri"/>
                  <a:cs typeface="Calibri" panose="020F0502020204030204" pitchFamily="34" charset="0"/>
                </a:rPr>
                <a:t>#1</a:t>
              </a:r>
            </a:p>
            <a:p>
              <a:pPr algn="ctr" defTabSz="633046">
                <a:defRPr/>
              </a:pPr>
              <a:r>
                <a:rPr lang="en-US" sz="1050" kern="0" dirty="0">
                  <a:solidFill>
                    <a:prstClr val="white"/>
                  </a:solidFill>
                  <a:latin typeface="Calibri"/>
                  <a:cs typeface="Calibri" panose="020F0502020204030204" pitchFamily="34" charset="0"/>
                </a:rPr>
                <a:t>globally in </a:t>
              </a:r>
            </a:p>
            <a:p>
              <a:pPr algn="ctr" defTabSz="633046">
                <a:defRPr/>
              </a:pPr>
              <a:r>
                <a:rPr lang="en-US" sz="1050" kern="0" dirty="0">
                  <a:solidFill>
                    <a:prstClr val="white"/>
                  </a:solidFill>
                  <a:latin typeface="Calibri"/>
                  <a:cs typeface="Calibri" panose="020F0502020204030204" pitchFamily="34" charset="0"/>
                </a:rPr>
                <a:t>Consulting based </a:t>
              </a:r>
            </a:p>
            <a:p>
              <a:pPr algn="ctr" defTabSz="633046">
                <a:defRPr/>
              </a:pPr>
              <a:r>
                <a:rPr lang="en-US" sz="1050" kern="0" dirty="0">
                  <a:solidFill>
                    <a:prstClr val="white"/>
                  </a:solidFill>
                  <a:latin typeface="Calibri"/>
                  <a:cs typeface="Calibri" panose="020F0502020204030204" pitchFamily="34" charset="0"/>
                </a:rPr>
                <a:t>on revenue by </a:t>
              </a:r>
            </a:p>
            <a:p>
              <a:pPr algn="ctr" defTabSz="633046">
                <a:defRPr/>
              </a:pPr>
              <a:r>
                <a:rPr lang="en-US" sz="1050" kern="0" dirty="0">
                  <a:solidFill>
                    <a:prstClr val="white"/>
                  </a:solidFill>
                  <a:latin typeface="Calibri"/>
                  <a:cs typeface="Calibri" panose="020F0502020204030204" pitchFamily="34" charset="0"/>
                </a:rPr>
                <a:t>Gartner</a:t>
              </a:r>
              <a:r>
                <a:rPr lang="en-US" sz="1050" kern="0" baseline="30000" dirty="0">
                  <a:solidFill>
                    <a:prstClr val="white"/>
                  </a:solidFill>
                  <a:latin typeface="Calibri"/>
                  <a:cs typeface="Calibri" panose="020F0502020204030204" pitchFamily="34" charset="0"/>
                </a:rPr>
                <a:t>1</a:t>
              </a:r>
            </a:p>
          </p:txBody>
        </p:sp>
        <p:sp>
          <p:nvSpPr>
            <p:cNvPr id="12" name="Oval 11">
              <a:extLst>
                <a:ext uri="{FF2B5EF4-FFF2-40B4-BE49-F238E27FC236}">
                  <a16:creationId xmlns:a16="http://schemas.microsoft.com/office/drawing/2014/main" id="{EFB7F423-7F78-4A8C-A39C-A9D402B95C6B}"/>
                </a:ext>
              </a:extLst>
            </p:cNvPr>
            <p:cNvSpPr/>
            <p:nvPr/>
          </p:nvSpPr>
          <p:spPr bwMode="gray">
            <a:xfrm>
              <a:off x="3912500" y="4318624"/>
              <a:ext cx="1532401" cy="1532402"/>
            </a:xfrm>
            <a:prstGeom prst="ellipse">
              <a:avLst/>
            </a:prstGeom>
            <a:solidFill>
              <a:srgbClr val="86BC25"/>
            </a:solidFill>
            <a:ln w="6350" algn="ctr">
              <a:solidFill>
                <a:sysClr val="window" lastClr="FFFFFF"/>
              </a:solidFill>
              <a:miter lim="800000"/>
              <a:headEnd/>
              <a:tailEnd/>
            </a:ln>
          </p:spPr>
          <p:txBody>
            <a:bodyPr wrap="square" lIns="0" tIns="0" rIns="0" bIns="0" rtlCol="0" anchor="ctr"/>
            <a:lstStyle/>
            <a:p>
              <a:pPr algn="ctr" defTabSz="633046">
                <a:lnSpc>
                  <a:spcPct val="106000"/>
                </a:lnSpc>
                <a:defRPr/>
              </a:pPr>
              <a:r>
                <a:rPr lang="en-US" sz="2000" b="1" kern="0" dirty="0">
                  <a:solidFill>
                    <a:srgbClr val="FFFFFF"/>
                  </a:solidFill>
                  <a:latin typeface="Calibri"/>
                  <a:cs typeface="Calibri" panose="020F0502020204030204" pitchFamily="34" charset="0"/>
                </a:rPr>
                <a:t>#1</a:t>
              </a:r>
            </a:p>
            <a:p>
              <a:pPr algn="ctr" defTabSz="633046">
                <a:lnSpc>
                  <a:spcPct val="106000"/>
                </a:lnSpc>
                <a:defRPr/>
              </a:pPr>
              <a:r>
                <a:rPr lang="en-US" sz="1050" kern="0" dirty="0">
                  <a:solidFill>
                    <a:srgbClr val="FFFFFF"/>
                  </a:solidFill>
                  <a:latin typeface="Calibri"/>
                  <a:cs typeface="Calibri" panose="020F0502020204030204" pitchFamily="34" charset="0"/>
                </a:rPr>
                <a:t>globally in Consulting based on revenue and market share by Kennedy</a:t>
              </a:r>
              <a:r>
                <a:rPr lang="en-US" sz="1050" kern="0" baseline="30000" dirty="0">
                  <a:solidFill>
                    <a:srgbClr val="FFFFFF"/>
                  </a:solidFill>
                  <a:latin typeface="Calibri"/>
                  <a:cs typeface="Calibri" panose="020F0502020204030204" pitchFamily="34" charset="0"/>
                </a:rPr>
                <a:t>3</a:t>
              </a:r>
              <a:r>
                <a:rPr lang="en-US" sz="1050" kern="0" dirty="0">
                  <a:solidFill>
                    <a:srgbClr val="FFFFFF"/>
                  </a:solidFill>
                  <a:latin typeface="Calibri"/>
                  <a:cs typeface="Calibri" panose="020F0502020204030204" pitchFamily="34" charset="0"/>
                </a:rPr>
                <a:t> </a:t>
              </a:r>
            </a:p>
          </p:txBody>
        </p:sp>
        <p:sp>
          <p:nvSpPr>
            <p:cNvPr id="13" name="Oval 12">
              <a:extLst>
                <a:ext uri="{FF2B5EF4-FFF2-40B4-BE49-F238E27FC236}">
                  <a16:creationId xmlns:a16="http://schemas.microsoft.com/office/drawing/2014/main" id="{C8C13F37-B5BA-4736-A162-DD6E19690AFD}"/>
                </a:ext>
              </a:extLst>
            </p:cNvPr>
            <p:cNvSpPr/>
            <p:nvPr/>
          </p:nvSpPr>
          <p:spPr bwMode="gray">
            <a:xfrm>
              <a:off x="2240941" y="4296651"/>
              <a:ext cx="1532401" cy="1532402"/>
            </a:xfrm>
            <a:prstGeom prst="ellipse">
              <a:avLst/>
            </a:prstGeom>
            <a:solidFill>
              <a:srgbClr val="86BC25"/>
            </a:solidFill>
            <a:ln w="6350" algn="ctr">
              <a:solidFill>
                <a:sysClr val="window" lastClr="FFFFFF"/>
              </a:solidFill>
              <a:miter lim="800000"/>
              <a:headEnd/>
              <a:tailEnd/>
            </a:ln>
          </p:spPr>
          <p:txBody>
            <a:bodyPr wrap="square" lIns="0" tIns="0" rIns="0" bIns="0" rtlCol="0" anchor="ctr"/>
            <a:lstStyle/>
            <a:p>
              <a:pPr algn="ctr" defTabSz="633046">
                <a:lnSpc>
                  <a:spcPct val="106000"/>
                </a:lnSpc>
                <a:defRPr/>
              </a:pPr>
              <a:r>
                <a:rPr lang="en-US" sz="1000" b="1" kern="0" dirty="0">
                  <a:solidFill>
                    <a:srgbClr val="FFFFFF"/>
                  </a:solidFill>
                  <a:latin typeface="Calibri"/>
                  <a:cs typeface="Calibri" panose="020F0502020204030204" pitchFamily="34" charset="0"/>
                </a:rPr>
                <a:t>A</a:t>
              </a:r>
            </a:p>
            <a:p>
              <a:pPr algn="ctr" defTabSz="633046">
                <a:lnSpc>
                  <a:spcPct val="106000"/>
                </a:lnSpc>
                <a:defRPr/>
              </a:pPr>
              <a:r>
                <a:rPr lang="en-US" sz="1000" b="1" kern="0" dirty="0">
                  <a:solidFill>
                    <a:srgbClr val="FFFFFF"/>
                  </a:solidFill>
                  <a:latin typeface="Calibri"/>
                  <a:cs typeface="Calibri" panose="020F0502020204030204" pitchFamily="34" charset="0"/>
                </a:rPr>
                <a:t> </a:t>
              </a:r>
              <a:r>
                <a:rPr lang="en-US" sz="1050" b="1" kern="0" dirty="0">
                  <a:solidFill>
                    <a:srgbClr val="FFFFFF"/>
                  </a:solidFill>
                  <a:latin typeface="Calibri"/>
                  <a:cs typeface="Calibri" panose="020F0502020204030204" pitchFamily="34" charset="0"/>
                </a:rPr>
                <a:t>worldwide leader</a:t>
              </a:r>
              <a:br>
                <a:rPr lang="en-US" sz="1050" b="1" kern="0" dirty="0">
                  <a:solidFill>
                    <a:srgbClr val="FFFFFF"/>
                  </a:solidFill>
                  <a:latin typeface="Calibri"/>
                  <a:cs typeface="Calibri" panose="020F0502020204030204" pitchFamily="34" charset="0"/>
                </a:rPr>
              </a:br>
              <a:r>
                <a:rPr lang="en-US" sz="1050" kern="0" dirty="0">
                  <a:solidFill>
                    <a:srgbClr val="FFFFFF"/>
                  </a:solidFill>
                  <a:latin typeface="Calibri"/>
                  <a:cs typeface="Calibri" panose="020F0502020204030204" pitchFamily="34" charset="0"/>
                </a:rPr>
                <a:t>in Business Consulting Services based on capability and strategy by IDC MarketScape</a:t>
              </a:r>
              <a:r>
                <a:rPr lang="en-US" sz="1050" kern="0" baseline="30000" dirty="0">
                  <a:solidFill>
                    <a:srgbClr val="FFFFFF"/>
                  </a:solidFill>
                  <a:latin typeface="Calibri"/>
                  <a:cs typeface="Calibri" panose="020F0502020204030204" pitchFamily="34" charset="0"/>
                </a:rPr>
                <a:t>2</a:t>
              </a:r>
              <a:endParaRPr lang="en-US" sz="1000" kern="0" baseline="30000" dirty="0">
                <a:solidFill>
                  <a:srgbClr val="FFFFFF"/>
                </a:solidFill>
                <a:latin typeface="Calibri"/>
                <a:cs typeface="Calibri" panose="020F0502020204030204" pitchFamily="34" charset="0"/>
              </a:endParaRPr>
            </a:p>
          </p:txBody>
        </p:sp>
        <p:sp>
          <p:nvSpPr>
            <p:cNvPr id="14" name="Oval 13">
              <a:extLst>
                <a:ext uri="{FF2B5EF4-FFF2-40B4-BE49-F238E27FC236}">
                  <a16:creationId xmlns:a16="http://schemas.microsoft.com/office/drawing/2014/main" id="{EDD1EF95-493C-4C85-9760-B96A541A99E1}"/>
                </a:ext>
              </a:extLst>
            </p:cNvPr>
            <p:cNvSpPr/>
            <p:nvPr/>
          </p:nvSpPr>
          <p:spPr bwMode="gray">
            <a:xfrm>
              <a:off x="3869933" y="4276058"/>
              <a:ext cx="1617534" cy="1617535"/>
            </a:xfrm>
            <a:prstGeom prst="ellipse">
              <a:avLst/>
            </a:prstGeom>
            <a:noFill/>
            <a:ln w="19050" algn="ctr">
              <a:solidFill>
                <a:srgbClr val="B4B4B4"/>
              </a:solidFill>
              <a:prstDash val="sysDash"/>
              <a:miter lim="800000"/>
              <a:headEnd/>
              <a:tailEnd/>
            </a:ln>
          </p:spPr>
          <p:txBody>
            <a:bodyPr wrap="square" lIns="61543" tIns="61543" rIns="61543" bIns="61543" rtlCol="0" anchor="ctr"/>
            <a:lstStyle/>
            <a:p>
              <a:pPr algn="ctr" defTabSz="633046">
                <a:lnSpc>
                  <a:spcPct val="106000"/>
                </a:lnSpc>
                <a:defRPr/>
              </a:pPr>
              <a:endParaRPr lang="en-US" sz="1600" b="1" kern="0" dirty="0">
                <a:solidFill>
                  <a:prstClr val="white"/>
                </a:solidFill>
                <a:latin typeface="Calibri"/>
                <a:cs typeface="Calibri" panose="020F0502020204030204" pitchFamily="34" charset="0"/>
              </a:endParaRPr>
            </a:p>
          </p:txBody>
        </p:sp>
        <p:sp>
          <p:nvSpPr>
            <p:cNvPr id="15" name="Oval 14">
              <a:extLst>
                <a:ext uri="{FF2B5EF4-FFF2-40B4-BE49-F238E27FC236}">
                  <a16:creationId xmlns:a16="http://schemas.microsoft.com/office/drawing/2014/main" id="{691ABFE6-B099-40D7-A30E-373F3ABE2E12}"/>
                </a:ext>
              </a:extLst>
            </p:cNvPr>
            <p:cNvSpPr/>
            <p:nvPr/>
          </p:nvSpPr>
          <p:spPr bwMode="gray">
            <a:xfrm>
              <a:off x="533400" y="4278522"/>
              <a:ext cx="1617534" cy="1617535"/>
            </a:xfrm>
            <a:prstGeom prst="ellipse">
              <a:avLst/>
            </a:prstGeom>
            <a:noFill/>
            <a:ln w="19050" algn="ctr">
              <a:solidFill>
                <a:srgbClr val="B4B4B4"/>
              </a:solidFill>
              <a:prstDash val="sysDash"/>
              <a:miter lim="800000"/>
              <a:headEnd/>
              <a:tailEnd/>
            </a:ln>
          </p:spPr>
          <p:txBody>
            <a:bodyPr wrap="square" lIns="61543" tIns="61543" rIns="61543" bIns="61543" rtlCol="0" anchor="ctr"/>
            <a:lstStyle/>
            <a:p>
              <a:pPr algn="ctr" defTabSz="633046">
                <a:lnSpc>
                  <a:spcPct val="106000"/>
                </a:lnSpc>
                <a:defRPr/>
              </a:pPr>
              <a:endParaRPr lang="en-US" sz="1600" b="1" kern="0" dirty="0">
                <a:solidFill>
                  <a:prstClr val="white"/>
                </a:solidFill>
                <a:latin typeface="Calibri"/>
                <a:cs typeface="Calibri" panose="020F0502020204030204" pitchFamily="34" charset="0"/>
              </a:endParaRPr>
            </a:p>
          </p:txBody>
        </p:sp>
        <p:sp>
          <p:nvSpPr>
            <p:cNvPr id="16" name="Oval 15">
              <a:extLst>
                <a:ext uri="{FF2B5EF4-FFF2-40B4-BE49-F238E27FC236}">
                  <a16:creationId xmlns:a16="http://schemas.microsoft.com/office/drawing/2014/main" id="{3014A519-D600-48A2-B3E9-442321643347}"/>
                </a:ext>
              </a:extLst>
            </p:cNvPr>
            <p:cNvSpPr/>
            <p:nvPr/>
          </p:nvSpPr>
          <p:spPr bwMode="gray">
            <a:xfrm>
              <a:off x="2198374" y="4254085"/>
              <a:ext cx="1617534" cy="1617535"/>
            </a:xfrm>
            <a:prstGeom prst="ellipse">
              <a:avLst/>
            </a:prstGeom>
            <a:noFill/>
            <a:ln w="19050" algn="ctr">
              <a:solidFill>
                <a:srgbClr val="B4B4B4"/>
              </a:solidFill>
              <a:prstDash val="sysDash"/>
              <a:miter lim="800000"/>
              <a:headEnd/>
              <a:tailEnd/>
            </a:ln>
          </p:spPr>
          <p:txBody>
            <a:bodyPr wrap="square" lIns="61543" tIns="61543" rIns="61543" bIns="61543" rtlCol="0" anchor="ctr"/>
            <a:lstStyle/>
            <a:p>
              <a:pPr algn="ctr" defTabSz="633046">
                <a:lnSpc>
                  <a:spcPct val="106000"/>
                </a:lnSpc>
                <a:defRPr/>
              </a:pPr>
              <a:endParaRPr lang="en-US" sz="1600" b="1" kern="0" dirty="0">
                <a:solidFill>
                  <a:prstClr val="white"/>
                </a:solidFill>
                <a:latin typeface="Calibri"/>
                <a:cs typeface="Calibri" panose="020F0502020204030204" pitchFamily="34" charset="0"/>
              </a:endParaRPr>
            </a:p>
          </p:txBody>
        </p:sp>
        <p:sp>
          <p:nvSpPr>
            <p:cNvPr id="17" name="Oval 16">
              <a:extLst>
                <a:ext uri="{FF2B5EF4-FFF2-40B4-BE49-F238E27FC236}">
                  <a16:creationId xmlns:a16="http://schemas.microsoft.com/office/drawing/2014/main" id="{5215351F-1C86-4A7A-A0E8-C76631DE8001}"/>
                </a:ext>
              </a:extLst>
            </p:cNvPr>
            <p:cNvSpPr/>
            <p:nvPr/>
          </p:nvSpPr>
          <p:spPr bwMode="gray">
            <a:xfrm>
              <a:off x="5641129" y="4317133"/>
              <a:ext cx="1532401" cy="1532402"/>
            </a:xfrm>
            <a:prstGeom prst="ellipse">
              <a:avLst/>
            </a:prstGeom>
            <a:solidFill>
              <a:srgbClr val="86BC25"/>
            </a:solidFill>
            <a:ln w="19050" algn="ctr">
              <a:noFill/>
              <a:miter lim="800000"/>
              <a:headEnd/>
              <a:tailEnd/>
            </a:ln>
          </p:spPr>
          <p:txBody>
            <a:bodyPr wrap="square" lIns="0" tIns="0" rIns="0" bIns="63125" rtlCol="0" anchor="ctr"/>
            <a:lstStyle/>
            <a:p>
              <a:pPr algn="ctr" defTabSz="633046">
                <a:defRPr/>
              </a:pPr>
              <a:r>
                <a:rPr lang="en-US" sz="2000" b="1" kern="0" dirty="0">
                  <a:solidFill>
                    <a:prstClr val="white"/>
                  </a:solidFill>
                  <a:latin typeface="Calibri"/>
                  <a:cs typeface="Calibri" panose="020F0502020204030204" pitchFamily="34" charset="0"/>
                </a:rPr>
                <a:t>#1</a:t>
              </a:r>
            </a:p>
            <a:p>
              <a:pPr algn="ctr" defTabSz="633046">
                <a:defRPr/>
              </a:pPr>
              <a:r>
                <a:rPr lang="en-US" sz="1050" kern="0" dirty="0">
                  <a:solidFill>
                    <a:prstClr val="white"/>
                  </a:solidFill>
                  <a:latin typeface="Calibri"/>
                  <a:cs typeface="Calibri" panose="020F0502020204030204" pitchFamily="34" charset="0"/>
                </a:rPr>
                <a:t>Professional services firm for four consecutive years by Brand Finance (2021)</a:t>
              </a:r>
              <a:endParaRPr lang="en-US" sz="1050" kern="0" baseline="30000" dirty="0">
                <a:solidFill>
                  <a:prstClr val="white"/>
                </a:solidFill>
                <a:latin typeface="Calibri"/>
                <a:cs typeface="Calibri" panose="020F0502020204030204" pitchFamily="34" charset="0"/>
              </a:endParaRPr>
            </a:p>
          </p:txBody>
        </p:sp>
        <p:sp>
          <p:nvSpPr>
            <p:cNvPr id="18" name="Oval 17">
              <a:extLst>
                <a:ext uri="{FF2B5EF4-FFF2-40B4-BE49-F238E27FC236}">
                  <a16:creationId xmlns:a16="http://schemas.microsoft.com/office/drawing/2014/main" id="{7F21F9A9-68CD-4680-905F-BB548FE74364}"/>
                </a:ext>
              </a:extLst>
            </p:cNvPr>
            <p:cNvSpPr/>
            <p:nvPr/>
          </p:nvSpPr>
          <p:spPr bwMode="gray">
            <a:xfrm>
              <a:off x="5598562" y="4274567"/>
              <a:ext cx="1617534" cy="1617535"/>
            </a:xfrm>
            <a:prstGeom prst="ellipse">
              <a:avLst/>
            </a:prstGeom>
            <a:noFill/>
            <a:ln w="19050" algn="ctr">
              <a:solidFill>
                <a:srgbClr val="B4B4B4"/>
              </a:solidFill>
              <a:prstDash val="sysDash"/>
              <a:miter lim="800000"/>
              <a:headEnd/>
              <a:tailEnd/>
            </a:ln>
          </p:spPr>
          <p:txBody>
            <a:bodyPr wrap="square" lIns="61543" tIns="61543" rIns="61543" bIns="61543" rtlCol="0" anchor="ctr"/>
            <a:lstStyle/>
            <a:p>
              <a:pPr algn="ctr" defTabSz="633046">
                <a:lnSpc>
                  <a:spcPct val="106000"/>
                </a:lnSpc>
                <a:defRPr/>
              </a:pPr>
              <a:endParaRPr lang="en-US" sz="1600" b="1" kern="0" dirty="0">
                <a:solidFill>
                  <a:prstClr val="white"/>
                </a:solidFill>
                <a:latin typeface="Calibri"/>
                <a:cs typeface="Calibri" panose="020F0502020204030204" pitchFamily="34" charset="0"/>
              </a:endParaRPr>
            </a:p>
          </p:txBody>
        </p:sp>
      </p:grpSp>
      <p:sp>
        <p:nvSpPr>
          <p:cNvPr id="19" name="Rectangle 18">
            <a:extLst>
              <a:ext uri="{FF2B5EF4-FFF2-40B4-BE49-F238E27FC236}">
                <a16:creationId xmlns:a16="http://schemas.microsoft.com/office/drawing/2014/main" id="{51696D29-E3E6-4C39-BB75-24B5E1C060FE}"/>
              </a:ext>
            </a:extLst>
          </p:cNvPr>
          <p:cNvSpPr/>
          <p:nvPr/>
        </p:nvSpPr>
        <p:spPr>
          <a:xfrm>
            <a:off x="7305979" y="1133421"/>
            <a:ext cx="3674040" cy="261610"/>
          </a:xfrm>
          <a:prstGeom prst="rect">
            <a:avLst/>
          </a:prstGeom>
        </p:spPr>
        <p:txBody>
          <a:bodyPr wrap="square">
            <a:spAutoFit/>
          </a:bodyPr>
          <a:lstStyle/>
          <a:p>
            <a:pPr algn="ctr">
              <a:defRPr/>
            </a:pPr>
            <a:r>
              <a:rPr lang="en-US" sz="1100" b="1" dirty="0">
                <a:solidFill>
                  <a:prstClr val="black"/>
                </a:solidFill>
                <a:latin typeface="Calibri"/>
                <a:cs typeface="Calibri" panose="020F0502020204030204" pitchFamily="34" charset="0"/>
              </a:rPr>
              <a:t>What the Analysts say about Deloitte</a:t>
            </a:r>
          </a:p>
        </p:txBody>
      </p:sp>
      <p:grpSp>
        <p:nvGrpSpPr>
          <p:cNvPr id="20" name="Group 19">
            <a:extLst>
              <a:ext uri="{FF2B5EF4-FFF2-40B4-BE49-F238E27FC236}">
                <a16:creationId xmlns:a16="http://schemas.microsoft.com/office/drawing/2014/main" id="{ADD7244A-1F4E-454F-92CF-47F4F4CC6132}"/>
              </a:ext>
            </a:extLst>
          </p:cNvPr>
          <p:cNvGrpSpPr/>
          <p:nvPr/>
        </p:nvGrpSpPr>
        <p:grpSpPr>
          <a:xfrm>
            <a:off x="7674069" y="1492098"/>
            <a:ext cx="2937860" cy="4379087"/>
            <a:chOff x="7374227" y="1404153"/>
            <a:chExt cx="3233863" cy="4820307"/>
          </a:xfrm>
        </p:grpSpPr>
        <p:grpSp>
          <p:nvGrpSpPr>
            <p:cNvPr id="21" name="Group 20">
              <a:extLst>
                <a:ext uri="{FF2B5EF4-FFF2-40B4-BE49-F238E27FC236}">
                  <a16:creationId xmlns:a16="http://schemas.microsoft.com/office/drawing/2014/main" id="{0E6404F8-FB4C-4BD5-A78D-875B7E22A171}"/>
                </a:ext>
              </a:extLst>
            </p:cNvPr>
            <p:cNvGrpSpPr/>
            <p:nvPr/>
          </p:nvGrpSpPr>
          <p:grpSpPr>
            <a:xfrm>
              <a:off x="9002955" y="1405895"/>
              <a:ext cx="1555008" cy="1555008"/>
              <a:chOff x="10626464" y="3078836"/>
              <a:chExt cx="1638222" cy="1838613"/>
            </a:xfrm>
          </p:grpSpPr>
          <p:sp>
            <p:nvSpPr>
              <p:cNvPr id="34" name="Oval 33">
                <a:extLst>
                  <a:ext uri="{FF2B5EF4-FFF2-40B4-BE49-F238E27FC236}">
                    <a16:creationId xmlns:a16="http://schemas.microsoft.com/office/drawing/2014/main" id="{399EF43B-0DA6-493D-A40F-17EB2276BB59}"/>
                  </a:ext>
                </a:extLst>
              </p:cNvPr>
              <p:cNvSpPr/>
              <p:nvPr/>
            </p:nvSpPr>
            <p:spPr bwMode="gray">
              <a:xfrm>
                <a:off x="10671970" y="3129906"/>
                <a:ext cx="1547208" cy="1736472"/>
              </a:xfrm>
              <a:prstGeom prst="ellipse">
                <a:avLst/>
              </a:prstGeom>
              <a:solidFill>
                <a:srgbClr val="046A38"/>
              </a:solidFill>
              <a:ln w="6350" algn="ctr">
                <a:solidFill>
                  <a:sysClr val="window" lastClr="FFFFFF"/>
                </a:solidFill>
                <a:miter lim="800000"/>
                <a:headEnd/>
                <a:tailEnd/>
              </a:ln>
            </p:spPr>
            <p:txBody>
              <a:bodyPr wrap="square" lIns="0" tIns="0" rIns="0" bIns="0" rtlCol="0" anchor="ctr"/>
              <a:lstStyle/>
              <a:p>
                <a:pPr algn="ctr" defTabSz="685800">
                  <a:defRPr/>
                </a:pPr>
                <a:r>
                  <a:rPr lang="en-GB" sz="800" b="1" kern="0" dirty="0">
                    <a:solidFill>
                      <a:prstClr val="white"/>
                    </a:solidFill>
                    <a:latin typeface="Calibri"/>
                    <a:cs typeface="Calibri" panose="020F0502020204030204" pitchFamily="34" charset="0"/>
                  </a:rPr>
                  <a:t>A leader </a:t>
                </a:r>
              </a:p>
              <a:p>
                <a:pPr algn="ctr" defTabSz="685800">
                  <a:defRPr/>
                </a:pPr>
                <a:r>
                  <a:rPr lang="en-GB" sz="800" kern="0" dirty="0">
                    <a:solidFill>
                      <a:prstClr val="white"/>
                    </a:solidFill>
                    <a:latin typeface="Calibri"/>
                    <a:cs typeface="Calibri" panose="020F0502020204030204" pitchFamily="34" charset="0"/>
                  </a:rPr>
                  <a:t>in Global Risk Management Consulting Services, based on completeness of vision and ability to execute” by Gartner </a:t>
                </a:r>
                <a:r>
                  <a:rPr lang="en-US" sz="800" kern="0" baseline="30000" dirty="0">
                    <a:solidFill>
                      <a:prstClr val="white"/>
                    </a:solidFill>
                    <a:latin typeface="Calibri"/>
                    <a:cs typeface="Calibri" panose="020F0502020204030204" pitchFamily="34" charset="0"/>
                  </a:rPr>
                  <a:t>3a</a:t>
                </a:r>
              </a:p>
            </p:txBody>
          </p:sp>
          <p:sp>
            <p:nvSpPr>
              <p:cNvPr id="35" name="Oval 34">
                <a:extLst>
                  <a:ext uri="{FF2B5EF4-FFF2-40B4-BE49-F238E27FC236}">
                    <a16:creationId xmlns:a16="http://schemas.microsoft.com/office/drawing/2014/main" id="{90D72A86-3246-442B-817D-5AB17688EC06}"/>
                  </a:ext>
                </a:extLst>
              </p:cNvPr>
              <p:cNvSpPr/>
              <p:nvPr/>
            </p:nvSpPr>
            <p:spPr bwMode="gray">
              <a:xfrm>
                <a:off x="10626464" y="3078836"/>
                <a:ext cx="1638222" cy="1838613"/>
              </a:xfrm>
              <a:prstGeom prst="ellipse">
                <a:avLst/>
              </a:prstGeom>
              <a:noFill/>
              <a:ln w="19050" algn="ctr">
                <a:solidFill>
                  <a:srgbClr val="B4B4B4"/>
                </a:solidFill>
                <a:prstDash val="sysDash"/>
                <a:miter lim="800000"/>
                <a:headEnd/>
                <a:tailEnd/>
              </a:ln>
            </p:spPr>
            <p:txBody>
              <a:bodyPr wrap="square" lIns="61543" tIns="61543" rIns="61543" bIns="61543" rtlCol="0" anchor="ctr"/>
              <a:lstStyle/>
              <a:p>
                <a:pPr algn="ctr" defTabSz="633046">
                  <a:lnSpc>
                    <a:spcPct val="106000"/>
                  </a:lnSpc>
                  <a:defRPr/>
                </a:pPr>
                <a:endParaRPr lang="en-US" sz="1200" b="1" kern="0" dirty="0">
                  <a:solidFill>
                    <a:prstClr val="white"/>
                  </a:solidFill>
                  <a:latin typeface="Calibri"/>
                  <a:cs typeface="Calibri" panose="020F0502020204030204" pitchFamily="34" charset="0"/>
                </a:endParaRPr>
              </a:p>
            </p:txBody>
          </p:sp>
        </p:grpSp>
        <p:grpSp>
          <p:nvGrpSpPr>
            <p:cNvPr id="22" name="Group 21">
              <a:extLst>
                <a:ext uri="{FF2B5EF4-FFF2-40B4-BE49-F238E27FC236}">
                  <a16:creationId xmlns:a16="http://schemas.microsoft.com/office/drawing/2014/main" id="{F99A8A90-9F39-4F73-B399-C277334BCA18}"/>
                </a:ext>
              </a:extLst>
            </p:cNvPr>
            <p:cNvGrpSpPr/>
            <p:nvPr/>
          </p:nvGrpSpPr>
          <p:grpSpPr>
            <a:xfrm>
              <a:off x="7374878" y="1404153"/>
              <a:ext cx="1555008" cy="1555008"/>
              <a:chOff x="7279290" y="1402459"/>
              <a:chExt cx="1638222" cy="1838614"/>
            </a:xfrm>
          </p:grpSpPr>
          <p:sp>
            <p:nvSpPr>
              <p:cNvPr id="32" name="Oval 31">
                <a:extLst>
                  <a:ext uri="{FF2B5EF4-FFF2-40B4-BE49-F238E27FC236}">
                    <a16:creationId xmlns:a16="http://schemas.microsoft.com/office/drawing/2014/main" id="{FEE629D8-990A-42D1-BAC0-29ADD9BCEFAF}"/>
                  </a:ext>
                </a:extLst>
              </p:cNvPr>
              <p:cNvSpPr/>
              <p:nvPr/>
            </p:nvSpPr>
            <p:spPr bwMode="gray">
              <a:xfrm>
                <a:off x="7324796" y="1453532"/>
                <a:ext cx="1547210" cy="1736469"/>
              </a:xfrm>
              <a:prstGeom prst="ellipse">
                <a:avLst/>
              </a:prstGeom>
              <a:solidFill>
                <a:srgbClr val="046A38"/>
              </a:solidFill>
              <a:ln w="19050" algn="ctr">
                <a:noFill/>
                <a:miter lim="800000"/>
                <a:headEnd/>
                <a:tailEnd/>
              </a:ln>
            </p:spPr>
            <p:txBody>
              <a:bodyPr wrap="square" lIns="0" tIns="0" rIns="0" bIns="63125" rtlCol="0" anchor="ctr"/>
              <a:lstStyle/>
              <a:p>
                <a:pPr algn="ctr" defTabSz="685800">
                  <a:defRPr/>
                </a:pPr>
                <a:r>
                  <a:rPr lang="en-US" sz="800" b="1" kern="0" dirty="0">
                    <a:solidFill>
                      <a:prstClr val="white"/>
                    </a:solidFill>
                    <a:latin typeface="Calibri"/>
                    <a:cs typeface="Calibri" panose="020F0502020204030204" pitchFamily="34" charset="0"/>
                  </a:rPr>
                  <a:t>A </a:t>
                </a:r>
              </a:p>
              <a:p>
                <a:pPr algn="ctr" defTabSz="685800">
                  <a:defRPr/>
                </a:pPr>
                <a:r>
                  <a:rPr lang="en-US" sz="800" b="1" kern="0" dirty="0">
                    <a:solidFill>
                      <a:prstClr val="white"/>
                    </a:solidFill>
                    <a:latin typeface="Calibri"/>
                    <a:cs typeface="Calibri" panose="020F0502020204030204" pitchFamily="34" charset="0"/>
                  </a:rPr>
                  <a:t>global leader</a:t>
                </a:r>
              </a:p>
              <a:p>
                <a:pPr algn="ctr" defTabSz="685800">
                  <a:defRPr/>
                </a:pPr>
                <a:r>
                  <a:rPr lang="en-US" sz="800" kern="0" dirty="0">
                    <a:solidFill>
                      <a:prstClr val="white"/>
                    </a:solidFill>
                    <a:latin typeface="Calibri"/>
                    <a:cs typeface="Calibri" panose="020F0502020204030204" pitchFamily="34" charset="0"/>
                  </a:rPr>
                  <a:t> in Business</a:t>
                </a:r>
                <a:r>
                  <a:rPr lang="en-US" sz="800" b="1" kern="0" dirty="0">
                    <a:solidFill>
                      <a:prstClr val="white"/>
                    </a:solidFill>
                    <a:latin typeface="Calibri"/>
                    <a:cs typeface="Calibri" panose="020F0502020204030204" pitchFamily="34" charset="0"/>
                  </a:rPr>
                  <a:t> </a:t>
                </a:r>
                <a:r>
                  <a:rPr lang="en-US" sz="800" kern="0" dirty="0">
                    <a:solidFill>
                      <a:prstClr val="white"/>
                    </a:solidFill>
                    <a:latin typeface="Calibri"/>
                    <a:cs typeface="Calibri" panose="020F0502020204030204" pitchFamily="34" charset="0"/>
                  </a:rPr>
                  <a:t>Transformation</a:t>
                </a:r>
                <a:r>
                  <a:rPr lang="en-US" sz="800" b="1" kern="0" dirty="0">
                    <a:solidFill>
                      <a:prstClr val="white"/>
                    </a:solidFill>
                    <a:latin typeface="Calibri"/>
                    <a:cs typeface="Calibri" panose="020F0502020204030204" pitchFamily="34" charset="0"/>
                  </a:rPr>
                  <a:t> </a:t>
                </a:r>
                <a:r>
                  <a:rPr lang="en-US" sz="800" kern="0" dirty="0">
                    <a:solidFill>
                      <a:prstClr val="white"/>
                    </a:solidFill>
                    <a:latin typeface="Calibri"/>
                    <a:cs typeface="Calibri" panose="020F0502020204030204" pitchFamily="34" charset="0"/>
                  </a:rPr>
                  <a:t>consulting based on strategy and current offering” by Forrester </a:t>
                </a:r>
                <a:r>
                  <a:rPr lang="en-US" sz="800" kern="0" baseline="30000" dirty="0">
                    <a:solidFill>
                      <a:prstClr val="white"/>
                    </a:solidFill>
                    <a:latin typeface="Calibri"/>
                    <a:cs typeface="Calibri" panose="020F0502020204030204" pitchFamily="34" charset="0"/>
                  </a:rPr>
                  <a:t>5</a:t>
                </a:r>
              </a:p>
            </p:txBody>
          </p:sp>
          <p:sp>
            <p:nvSpPr>
              <p:cNvPr id="33" name="Oval 32">
                <a:extLst>
                  <a:ext uri="{FF2B5EF4-FFF2-40B4-BE49-F238E27FC236}">
                    <a16:creationId xmlns:a16="http://schemas.microsoft.com/office/drawing/2014/main" id="{D826AF0F-785B-4994-8028-A7367AD96891}"/>
                  </a:ext>
                </a:extLst>
              </p:cNvPr>
              <p:cNvSpPr/>
              <p:nvPr/>
            </p:nvSpPr>
            <p:spPr bwMode="gray">
              <a:xfrm>
                <a:off x="7279290" y="1402459"/>
                <a:ext cx="1638222" cy="1838614"/>
              </a:xfrm>
              <a:prstGeom prst="ellipse">
                <a:avLst/>
              </a:prstGeom>
              <a:noFill/>
              <a:ln w="19050" algn="ctr">
                <a:solidFill>
                  <a:srgbClr val="B4B4B4"/>
                </a:solidFill>
                <a:prstDash val="sysDash"/>
                <a:miter lim="800000"/>
                <a:headEnd/>
                <a:tailEnd/>
              </a:ln>
            </p:spPr>
            <p:txBody>
              <a:bodyPr wrap="square" lIns="61543" tIns="61543" rIns="61543" bIns="61543" rtlCol="0" anchor="ctr"/>
              <a:lstStyle/>
              <a:p>
                <a:pPr algn="ctr" defTabSz="633046">
                  <a:lnSpc>
                    <a:spcPct val="106000"/>
                  </a:lnSpc>
                  <a:defRPr/>
                </a:pPr>
                <a:endParaRPr lang="en-US" sz="1200" b="1" kern="0" dirty="0">
                  <a:solidFill>
                    <a:prstClr val="white"/>
                  </a:solidFill>
                  <a:latin typeface="Calibri"/>
                  <a:cs typeface="Calibri" panose="020F0502020204030204" pitchFamily="34" charset="0"/>
                </a:endParaRPr>
              </a:p>
            </p:txBody>
          </p:sp>
        </p:grpSp>
        <p:grpSp>
          <p:nvGrpSpPr>
            <p:cNvPr id="23" name="Group 22">
              <a:extLst>
                <a:ext uri="{FF2B5EF4-FFF2-40B4-BE49-F238E27FC236}">
                  <a16:creationId xmlns:a16="http://schemas.microsoft.com/office/drawing/2014/main" id="{E3AA036A-1CDE-4FC8-A43A-7E73A6A7E53B}"/>
                </a:ext>
              </a:extLst>
            </p:cNvPr>
            <p:cNvGrpSpPr/>
            <p:nvPr/>
          </p:nvGrpSpPr>
          <p:grpSpPr>
            <a:xfrm>
              <a:off x="8170462" y="4669451"/>
              <a:ext cx="1555008" cy="1555009"/>
              <a:chOff x="7108992" y="5241776"/>
              <a:chExt cx="1638222" cy="1838614"/>
            </a:xfrm>
          </p:grpSpPr>
          <p:sp>
            <p:nvSpPr>
              <p:cNvPr id="30" name="Oval 29">
                <a:extLst>
                  <a:ext uri="{FF2B5EF4-FFF2-40B4-BE49-F238E27FC236}">
                    <a16:creationId xmlns:a16="http://schemas.microsoft.com/office/drawing/2014/main" id="{92137C9F-4F72-4FEC-BEAC-1A85214F9E7B}"/>
                  </a:ext>
                </a:extLst>
              </p:cNvPr>
              <p:cNvSpPr/>
              <p:nvPr/>
            </p:nvSpPr>
            <p:spPr bwMode="gray">
              <a:xfrm>
                <a:off x="7154497" y="5292847"/>
                <a:ext cx="1547211" cy="1736470"/>
              </a:xfrm>
              <a:prstGeom prst="ellipse">
                <a:avLst/>
              </a:prstGeom>
              <a:solidFill>
                <a:srgbClr val="046A38"/>
              </a:solidFill>
              <a:ln w="6350" algn="ctr">
                <a:solidFill>
                  <a:sysClr val="window" lastClr="FFFFFF"/>
                </a:solidFill>
                <a:miter lim="800000"/>
                <a:headEnd/>
                <a:tailEnd/>
              </a:ln>
            </p:spPr>
            <p:txBody>
              <a:bodyPr wrap="square" lIns="0" tIns="0" rIns="0" bIns="0" rtlCol="0" anchor="ctr"/>
              <a:lstStyle/>
              <a:p>
                <a:pPr algn="ctr" defTabSz="685800">
                  <a:defRPr/>
                </a:pPr>
                <a:r>
                  <a:rPr lang="en-US" sz="800" b="1" kern="0" dirty="0">
                    <a:solidFill>
                      <a:prstClr val="white"/>
                    </a:solidFill>
                    <a:latin typeface="Calibri"/>
                    <a:cs typeface="Calibri" panose="020F0502020204030204" pitchFamily="34" charset="0"/>
                  </a:rPr>
                  <a:t>A </a:t>
                </a:r>
              </a:p>
              <a:p>
                <a:pPr algn="ctr" defTabSz="685800">
                  <a:defRPr/>
                </a:pPr>
                <a:r>
                  <a:rPr lang="en-US" sz="800" b="1" kern="0" dirty="0">
                    <a:solidFill>
                      <a:prstClr val="white"/>
                    </a:solidFill>
                    <a:latin typeface="Calibri"/>
                    <a:cs typeface="Calibri" panose="020F0502020204030204" pitchFamily="34" charset="0"/>
                  </a:rPr>
                  <a:t>worldwide leader </a:t>
                </a:r>
              </a:p>
              <a:p>
                <a:pPr algn="ctr" defTabSz="685800">
                  <a:defRPr/>
                </a:pPr>
                <a:r>
                  <a:rPr lang="en-US" sz="800" kern="0" dirty="0">
                    <a:solidFill>
                      <a:prstClr val="white"/>
                    </a:solidFill>
                    <a:latin typeface="Calibri"/>
                    <a:cs typeface="Calibri" panose="020F0502020204030204" pitchFamily="34" charset="0"/>
                  </a:rPr>
                  <a:t>in organizational Consulting Services based on capability and strategy” by IDC </a:t>
                </a:r>
                <a:r>
                  <a:rPr lang="en-US" sz="800" kern="0" baseline="30000" dirty="0">
                    <a:solidFill>
                      <a:prstClr val="white"/>
                    </a:solidFill>
                    <a:latin typeface="Calibri"/>
                    <a:cs typeface="Calibri" panose="020F0502020204030204" pitchFamily="34" charset="0"/>
                  </a:rPr>
                  <a:t>4 </a:t>
                </a:r>
                <a:endParaRPr lang="en-US" sz="800" kern="0" dirty="0">
                  <a:solidFill>
                    <a:prstClr val="white"/>
                  </a:solidFill>
                  <a:latin typeface="Calibri"/>
                  <a:cs typeface="Calibri" panose="020F0502020204030204" pitchFamily="34" charset="0"/>
                </a:endParaRPr>
              </a:p>
            </p:txBody>
          </p:sp>
          <p:sp>
            <p:nvSpPr>
              <p:cNvPr id="31" name="Oval 30">
                <a:extLst>
                  <a:ext uri="{FF2B5EF4-FFF2-40B4-BE49-F238E27FC236}">
                    <a16:creationId xmlns:a16="http://schemas.microsoft.com/office/drawing/2014/main" id="{55B83654-FBBB-42D6-8671-EE1E3AF85204}"/>
                  </a:ext>
                </a:extLst>
              </p:cNvPr>
              <p:cNvSpPr/>
              <p:nvPr/>
            </p:nvSpPr>
            <p:spPr bwMode="gray">
              <a:xfrm>
                <a:off x="7108992" y="5241776"/>
                <a:ext cx="1638222" cy="1838614"/>
              </a:xfrm>
              <a:prstGeom prst="ellipse">
                <a:avLst/>
              </a:prstGeom>
              <a:noFill/>
              <a:ln w="19050" algn="ctr">
                <a:solidFill>
                  <a:srgbClr val="B4B4B4"/>
                </a:solidFill>
                <a:prstDash val="sysDash"/>
                <a:miter lim="800000"/>
                <a:headEnd/>
                <a:tailEnd/>
              </a:ln>
            </p:spPr>
            <p:txBody>
              <a:bodyPr wrap="square" lIns="61543" tIns="61543" rIns="61543" bIns="61543" rtlCol="0" anchor="ctr"/>
              <a:lstStyle/>
              <a:p>
                <a:pPr algn="ctr" defTabSz="633046">
                  <a:lnSpc>
                    <a:spcPct val="106000"/>
                  </a:lnSpc>
                  <a:defRPr/>
                </a:pPr>
                <a:endParaRPr lang="en-US" sz="1200" b="1" kern="0" dirty="0">
                  <a:solidFill>
                    <a:prstClr val="white"/>
                  </a:solidFill>
                  <a:latin typeface="Calibri"/>
                  <a:cs typeface="Calibri" panose="020F0502020204030204" pitchFamily="34" charset="0"/>
                </a:endParaRPr>
              </a:p>
            </p:txBody>
          </p:sp>
        </p:grpSp>
        <p:grpSp>
          <p:nvGrpSpPr>
            <p:cNvPr id="24" name="Group 23">
              <a:extLst>
                <a:ext uri="{FF2B5EF4-FFF2-40B4-BE49-F238E27FC236}">
                  <a16:creationId xmlns:a16="http://schemas.microsoft.com/office/drawing/2014/main" id="{933058E3-C72B-4ED4-BBE2-D365F11AD114}"/>
                </a:ext>
              </a:extLst>
            </p:cNvPr>
            <p:cNvGrpSpPr/>
            <p:nvPr/>
          </p:nvGrpSpPr>
          <p:grpSpPr>
            <a:xfrm>
              <a:off x="7374227" y="3098972"/>
              <a:ext cx="1555008" cy="1555008"/>
              <a:chOff x="7596355" y="3292506"/>
              <a:chExt cx="1638222" cy="1838614"/>
            </a:xfrm>
          </p:grpSpPr>
          <p:sp>
            <p:nvSpPr>
              <p:cNvPr id="28" name="Oval 27">
                <a:extLst>
                  <a:ext uri="{FF2B5EF4-FFF2-40B4-BE49-F238E27FC236}">
                    <a16:creationId xmlns:a16="http://schemas.microsoft.com/office/drawing/2014/main" id="{70A1CC09-B15D-4746-8A77-0E4D8212E576}"/>
                  </a:ext>
                </a:extLst>
              </p:cNvPr>
              <p:cNvSpPr/>
              <p:nvPr/>
            </p:nvSpPr>
            <p:spPr bwMode="gray">
              <a:xfrm>
                <a:off x="7641860" y="3343579"/>
                <a:ext cx="1547211" cy="1736469"/>
              </a:xfrm>
              <a:prstGeom prst="ellipse">
                <a:avLst/>
              </a:prstGeom>
              <a:solidFill>
                <a:srgbClr val="046A38"/>
              </a:solidFill>
              <a:ln w="19050" algn="ctr">
                <a:noFill/>
                <a:miter lim="800000"/>
                <a:headEnd/>
                <a:tailEnd/>
              </a:ln>
            </p:spPr>
            <p:txBody>
              <a:bodyPr wrap="square" lIns="0" tIns="0" rIns="0" bIns="63125" rtlCol="0" anchor="ctr"/>
              <a:lstStyle/>
              <a:p>
                <a:pPr algn="ctr" defTabSz="685800">
                  <a:defRPr/>
                </a:pPr>
                <a:r>
                  <a:rPr lang="en-US" sz="800" b="1" kern="0" dirty="0">
                    <a:solidFill>
                      <a:prstClr val="white"/>
                    </a:solidFill>
                    <a:latin typeface="Calibri"/>
                    <a:cs typeface="Calibri" panose="020F0502020204030204" pitchFamily="34" charset="0"/>
                  </a:rPr>
                  <a:t>A </a:t>
                </a:r>
              </a:p>
              <a:p>
                <a:pPr algn="ctr" defTabSz="685800">
                  <a:defRPr/>
                </a:pPr>
                <a:r>
                  <a:rPr lang="en-US" sz="800" b="1" kern="0" dirty="0">
                    <a:solidFill>
                      <a:prstClr val="white"/>
                    </a:solidFill>
                    <a:latin typeface="Calibri"/>
                    <a:cs typeface="Calibri" panose="020F0502020204030204" pitchFamily="34" charset="0"/>
                  </a:rPr>
                  <a:t>global </a:t>
                </a:r>
              </a:p>
              <a:p>
                <a:pPr algn="ctr" defTabSz="685800">
                  <a:defRPr/>
                </a:pPr>
                <a:r>
                  <a:rPr lang="en-US" sz="800" b="1" kern="0" dirty="0">
                    <a:solidFill>
                      <a:prstClr val="white"/>
                    </a:solidFill>
                    <a:latin typeface="Calibri"/>
                    <a:cs typeface="Calibri" panose="020F0502020204030204" pitchFamily="34" charset="0"/>
                  </a:rPr>
                  <a:t>Leader </a:t>
                </a:r>
              </a:p>
              <a:p>
                <a:pPr algn="ctr" defTabSz="685800">
                  <a:defRPr/>
                </a:pPr>
                <a:r>
                  <a:rPr lang="en-US" sz="800" kern="0" dirty="0">
                    <a:solidFill>
                      <a:prstClr val="white"/>
                    </a:solidFill>
                    <a:latin typeface="Calibri"/>
                    <a:cs typeface="Calibri" panose="020F0502020204030204" pitchFamily="34" charset="0"/>
                  </a:rPr>
                  <a:t>in IT Consulting to the Energy &amp; Utilities Industries based on capabilities” by Kennedy </a:t>
                </a:r>
                <a:r>
                  <a:rPr lang="en-US" sz="800" kern="0" baseline="30000" dirty="0">
                    <a:solidFill>
                      <a:prstClr val="white"/>
                    </a:solidFill>
                    <a:latin typeface="Calibri"/>
                    <a:cs typeface="Calibri" panose="020F0502020204030204" pitchFamily="34" charset="0"/>
                  </a:rPr>
                  <a:t>2</a:t>
                </a:r>
              </a:p>
              <a:p>
                <a:pPr algn="ctr" defTabSz="685800">
                  <a:defRPr/>
                </a:pPr>
                <a:endParaRPr lang="en-US" sz="800" kern="0" baseline="30000" dirty="0">
                  <a:solidFill>
                    <a:prstClr val="white"/>
                  </a:solidFill>
                  <a:latin typeface="Calibri"/>
                  <a:cs typeface="Calibri" panose="020F0502020204030204" pitchFamily="34" charset="0"/>
                </a:endParaRPr>
              </a:p>
            </p:txBody>
          </p:sp>
          <p:sp>
            <p:nvSpPr>
              <p:cNvPr id="29" name="Oval 28">
                <a:extLst>
                  <a:ext uri="{FF2B5EF4-FFF2-40B4-BE49-F238E27FC236}">
                    <a16:creationId xmlns:a16="http://schemas.microsoft.com/office/drawing/2014/main" id="{C6F285F0-DE18-4D70-A922-000092048EFE}"/>
                  </a:ext>
                </a:extLst>
              </p:cNvPr>
              <p:cNvSpPr/>
              <p:nvPr/>
            </p:nvSpPr>
            <p:spPr bwMode="gray">
              <a:xfrm>
                <a:off x="7596355" y="3292506"/>
                <a:ext cx="1638222" cy="1838614"/>
              </a:xfrm>
              <a:prstGeom prst="ellipse">
                <a:avLst/>
              </a:prstGeom>
              <a:noFill/>
              <a:ln w="19050" algn="ctr">
                <a:solidFill>
                  <a:srgbClr val="B4B4B4"/>
                </a:solidFill>
                <a:prstDash val="sysDash"/>
                <a:miter lim="800000"/>
                <a:headEnd/>
                <a:tailEnd/>
              </a:ln>
            </p:spPr>
            <p:txBody>
              <a:bodyPr wrap="square" lIns="61543" tIns="61543" rIns="61543" bIns="61543" rtlCol="0" anchor="ctr"/>
              <a:lstStyle/>
              <a:p>
                <a:pPr algn="ctr" defTabSz="633046">
                  <a:lnSpc>
                    <a:spcPct val="106000"/>
                  </a:lnSpc>
                  <a:defRPr/>
                </a:pPr>
                <a:endParaRPr lang="en-US" sz="1200" b="1" kern="0" dirty="0">
                  <a:solidFill>
                    <a:prstClr val="white"/>
                  </a:solidFill>
                  <a:latin typeface="Calibri"/>
                  <a:cs typeface="Calibri" panose="020F0502020204030204" pitchFamily="34" charset="0"/>
                </a:endParaRPr>
              </a:p>
            </p:txBody>
          </p:sp>
        </p:grpSp>
        <p:grpSp>
          <p:nvGrpSpPr>
            <p:cNvPr id="25" name="Group 24">
              <a:extLst>
                <a:ext uri="{FF2B5EF4-FFF2-40B4-BE49-F238E27FC236}">
                  <a16:creationId xmlns:a16="http://schemas.microsoft.com/office/drawing/2014/main" id="{3A34C0A6-A12F-4E7A-B094-7632011FBC04}"/>
                </a:ext>
              </a:extLst>
            </p:cNvPr>
            <p:cNvGrpSpPr/>
            <p:nvPr/>
          </p:nvGrpSpPr>
          <p:grpSpPr>
            <a:xfrm>
              <a:off x="9053082" y="3117815"/>
              <a:ext cx="1555008" cy="1555008"/>
              <a:chOff x="7696431" y="3304851"/>
              <a:chExt cx="1638222" cy="1838614"/>
            </a:xfrm>
          </p:grpSpPr>
          <p:sp>
            <p:nvSpPr>
              <p:cNvPr id="26" name="Oval 25">
                <a:extLst>
                  <a:ext uri="{FF2B5EF4-FFF2-40B4-BE49-F238E27FC236}">
                    <a16:creationId xmlns:a16="http://schemas.microsoft.com/office/drawing/2014/main" id="{4392E56D-3CD6-4A65-AE43-4B425E5C5CD1}"/>
                  </a:ext>
                </a:extLst>
              </p:cNvPr>
              <p:cNvSpPr/>
              <p:nvPr/>
            </p:nvSpPr>
            <p:spPr bwMode="gray">
              <a:xfrm>
                <a:off x="7741936" y="3355924"/>
                <a:ext cx="1547211" cy="1736467"/>
              </a:xfrm>
              <a:prstGeom prst="ellipse">
                <a:avLst/>
              </a:prstGeom>
              <a:solidFill>
                <a:srgbClr val="046A38"/>
              </a:solidFill>
              <a:ln w="19050" algn="ctr">
                <a:noFill/>
                <a:miter lim="800000"/>
                <a:headEnd/>
                <a:tailEnd/>
              </a:ln>
            </p:spPr>
            <p:txBody>
              <a:bodyPr wrap="square" lIns="0" tIns="0" rIns="0" bIns="63125" rtlCol="0" anchor="ctr"/>
              <a:lstStyle/>
              <a:p>
                <a:pPr algn="ctr" defTabSz="685800">
                  <a:defRPr/>
                </a:pPr>
                <a:r>
                  <a:rPr lang="en-US" sz="800" b="1" kern="0" dirty="0">
                    <a:solidFill>
                      <a:prstClr val="white"/>
                    </a:solidFill>
                    <a:latin typeface="Calibri"/>
                    <a:cs typeface="Calibri" panose="020F0502020204030204" pitchFamily="34" charset="0"/>
                  </a:rPr>
                  <a:t>A global </a:t>
                </a:r>
              </a:p>
              <a:p>
                <a:pPr algn="ctr" defTabSz="685800">
                  <a:defRPr/>
                </a:pPr>
                <a:r>
                  <a:rPr lang="en-US" sz="800" b="1" kern="0" dirty="0">
                    <a:solidFill>
                      <a:prstClr val="white"/>
                    </a:solidFill>
                    <a:latin typeface="Calibri"/>
                    <a:cs typeface="Calibri" panose="020F0502020204030204" pitchFamily="34" charset="0"/>
                  </a:rPr>
                  <a:t>leader </a:t>
                </a:r>
                <a:r>
                  <a:rPr lang="en-US" sz="800" kern="0" dirty="0">
                    <a:solidFill>
                      <a:prstClr val="white"/>
                    </a:solidFill>
                    <a:latin typeface="Calibri"/>
                    <a:cs typeface="Calibri" panose="020F0502020204030204" pitchFamily="34" charset="0"/>
                  </a:rPr>
                  <a:t>in Forensics &amp; Dispute Advisory services based on breadth and depth capabilities” by Kennedy </a:t>
                </a:r>
                <a:r>
                  <a:rPr lang="en-US" sz="800" kern="0" baseline="30000" dirty="0">
                    <a:solidFill>
                      <a:prstClr val="white"/>
                    </a:solidFill>
                    <a:latin typeface="Calibri"/>
                    <a:cs typeface="Calibri" panose="020F0502020204030204" pitchFamily="34" charset="0"/>
                  </a:rPr>
                  <a:t>1</a:t>
                </a:r>
              </a:p>
            </p:txBody>
          </p:sp>
          <p:sp>
            <p:nvSpPr>
              <p:cNvPr id="27" name="Oval 26">
                <a:extLst>
                  <a:ext uri="{FF2B5EF4-FFF2-40B4-BE49-F238E27FC236}">
                    <a16:creationId xmlns:a16="http://schemas.microsoft.com/office/drawing/2014/main" id="{16DA8D90-9A95-4312-B198-27018FF2BE14}"/>
                  </a:ext>
                </a:extLst>
              </p:cNvPr>
              <p:cNvSpPr/>
              <p:nvPr/>
            </p:nvSpPr>
            <p:spPr bwMode="gray">
              <a:xfrm>
                <a:off x="7696431" y="3304851"/>
                <a:ext cx="1638222" cy="1838614"/>
              </a:xfrm>
              <a:prstGeom prst="ellipse">
                <a:avLst/>
              </a:prstGeom>
              <a:noFill/>
              <a:ln w="19050" algn="ctr">
                <a:solidFill>
                  <a:srgbClr val="B4B4B4"/>
                </a:solidFill>
                <a:prstDash val="sysDash"/>
                <a:miter lim="800000"/>
                <a:headEnd/>
                <a:tailEnd/>
              </a:ln>
            </p:spPr>
            <p:txBody>
              <a:bodyPr wrap="square" lIns="61543" tIns="61543" rIns="61543" bIns="61543" rtlCol="0" anchor="ctr"/>
              <a:lstStyle/>
              <a:p>
                <a:pPr algn="ctr" defTabSz="633046">
                  <a:lnSpc>
                    <a:spcPct val="106000"/>
                  </a:lnSpc>
                  <a:defRPr/>
                </a:pPr>
                <a:endParaRPr lang="en-US" sz="1200" b="1" kern="0" dirty="0">
                  <a:solidFill>
                    <a:prstClr val="white"/>
                  </a:solidFill>
                  <a:latin typeface="Calibri"/>
                  <a:cs typeface="Calibri" panose="020F0502020204030204" pitchFamily="34" charset="0"/>
                </a:endParaRPr>
              </a:p>
            </p:txBody>
          </p:sp>
        </p:grpSp>
      </p:grpSp>
      <p:sp>
        <p:nvSpPr>
          <p:cNvPr id="36" name="Rectangle 35">
            <a:extLst>
              <a:ext uri="{FF2B5EF4-FFF2-40B4-BE49-F238E27FC236}">
                <a16:creationId xmlns:a16="http://schemas.microsoft.com/office/drawing/2014/main" id="{374074F1-2700-4E9B-9677-B2F52C7AE7DE}"/>
              </a:ext>
            </a:extLst>
          </p:cNvPr>
          <p:cNvSpPr/>
          <p:nvPr/>
        </p:nvSpPr>
        <p:spPr>
          <a:xfrm>
            <a:off x="7674068" y="5967269"/>
            <a:ext cx="2937861" cy="430887"/>
          </a:xfrm>
          <a:prstGeom prst="rect">
            <a:avLst/>
          </a:prstGeom>
        </p:spPr>
        <p:txBody>
          <a:bodyPr wrap="square" lIns="0" tIns="0" rIns="0" bIns="0" anchor="b">
            <a:spAutoFit/>
          </a:bodyPr>
          <a:lstStyle/>
          <a:p>
            <a:pPr marL="66675" indent="-66675" defTabSz="685800">
              <a:defRPr/>
            </a:pPr>
            <a:r>
              <a:rPr lang="en-US" sz="400" baseline="30000" dirty="0">
                <a:solidFill>
                  <a:sysClr val="windowText" lastClr="000000"/>
                </a:solidFill>
                <a:latin typeface="Calibri"/>
                <a:cs typeface="Calibri" panose="020F0502020204030204" pitchFamily="34" charset="0"/>
              </a:rPr>
              <a:t>1</a:t>
            </a:r>
            <a:r>
              <a:rPr lang="en-US" sz="400" dirty="0">
                <a:solidFill>
                  <a:sysClr val="windowText" lastClr="000000"/>
                </a:solidFill>
                <a:latin typeface="Calibri"/>
                <a:cs typeface="Calibri" panose="020F0502020204030204" pitchFamily="34" charset="0"/>
              </a:rPr>
              <a:t> Kennedy Consulting Research &amp; Advisory; Forensic and Dispute Advisory Financial Consulting 2014; Kennedy Consulting Research &amp; Advisory estimate </a:t>
            </a:r>
            <a:r>
              <a:rPr lang="en-GB" sz="400" dirty="0">
                <a:solidFill>
                  <a:sysClr val="windowText" lastClr="000000"/>
                </a:solidFill>
                <a:latin typeface="Calibri"/>
                <a:cs typeface="Calibri" panose="020F0502020204030204" pitchFamily="34" charset="0"/>
              </a:rPr>
              <a:t>© 2014 ALM Media Properties, LLC</a:t>
            </a:r>
            <a:r>
              <a:rPr lang="en-US" sz="400" dirty="0">
                <a:solidFill>
                  <a:sysClr val="windowText" lastClr="000000"/>
                </a:solidFill>
                <a:latin typeface="Calibri"/>
                <a:cs typeface="Calibri" panose="020F0502020204030204" pitchFamily="34" charset="0"/>
              </a:rPr>
              <a:t>. Reproduced </a:t>
            </a:r>
            <a:r>
              <a:rPr lang="en-GB" sz="400" dirty="0">
                <a:solidFill>
                  <a:sysClr val="windowText" lastClr="000000"/>
                </a:solidFill>
                <a:latin typeface="Calibri"/>
                <a:cs typeface="Calibri" panose="020F0502020204030204" pitchFamily="34" charset="0"/>
              </a:rPr>
              <a:t>under license</a:t>
            </a:r>
          </a:p>
          <a:p>
            <a:pPr marL="66675" indent="-66675" defTabSz="685800">
              <a:defRPr/>
            </a:pPr>
            <a:r>
              <a:rPr lang="en-US" sz="400" baseline="30000" dirty="0">
                <a:solidFill>
                  <a:sysClr val="windowText" lastClr="000000"/>
                </a:solidFill>
                <a:latin typeface="Calibri"/>
                <a:cs typeface="Calibri" panose="020F0502020204030204" pitchFamily="34" charset="0"/>
              </a:rPr>
              <a:t>2</a:t>
            </a:r>
            <a:r>
              <a:rPr lang="en-US" sz="400" dirty="0">
                <a:solidFill>
                  <a:sysClr val="windowText" lastClr="000000"/>
                </a:solidFill>
                <a:latin typeface="Calibri"/>
                <a:cs typeface="Calibri" panose="020F0502020204030204" pitchFamily="34" charset="0"/>
              </a:rPr>
              <a:t> Kennedy Consulting Research &amp; Advisory; Information Technology Consulting to the Energy and Utilities Industry; © 2014 Kennedy Information, LLC. Reproduced under license</a:t>
            </a:r>
          </a:p>
          <a:p>
            <a:pPr marL="66675" indent="-66675" defTabSz="685800">
              <a:defRPr/>
            </a:pPr>
            <a:r>
              <a:rPr lang="en-US" sz="400" baseline="30000" dirty="0">
                <a:solidFill>
                  <a:sysClr val="windowText" lastClr="000000"/>
                </a:solidFill>
                <a:latin typeface="Calibri"/>
                <a:cs typeface="Calibri" panose="020F0502020204030204" pitchFamily="34" charset="0"/>
              </a:rPr>
              <a:t>3</a:t>
            </a:r>
            <a:r>
              <a:rPr lang="en-US" sz="400" dirty="0">
                <a:solidFill>
                  <a:sysClr val="windowText" lastClr="000000"/>
                </a:solidFill>
                <a:latin typeface="Calibri"/>
                <a:cs typeface="Calibri" panose="020F0502020204030204" pitchFamily="34" charset="0"/>
              </a:rPr>
              <a:t> Gartner, Magic Quadrant for Global Risk Management Consulting Services, Jacqueline Heng, John A. Wheeler, 7 October, 2014</a:t>
            </a:r>
          </a:p>
          <a:p>
            <a:pPr defTabSz="685800">
              <a:defRPr/>
            </a:pPr>
            <a:r>
              <a:rPr lang="en-US" sz="400" baseline="30000" dirty="0">
                <a:solidFill>
                  <a:sysClr val="windowText" lastClr="000000"/>
                </a:solidFill>
                <a:latin typeface="Calibri"/>
                <a:cs typeface="Calibri" panose="020F0502020204030204" pitchFamily="34" charset="0"/>
              </a:rPr>
              <a:t>4</a:t>
            </a:r>
            <a:r>
              <a:rPr lang="en-US" sz="400" dirty="0">
                <a:solidFill>
                  <a:sysClr val="windowText" lastClr="000000"/>
                </a:solidFill>
                <a:latin typeface="Calibri"/>
                <a:cs typeface="Calibri" panose="020F0502020204030204" pitchFamily="34" charset="0"/>
              </a:rPr>
              <a:t>IDC Markets cape: Worldwide Organisational Consulting Services 2015 Vendor Assessment by Cushing Anderson,2015, IDC #258551</a:t>
            </a:r>
          </a:p>
          <a:p>
            <a:pPr defTabSz="685800">
              <a:defRPr/>
            </a:pPr>
            <a:r>
              <a:rPr lang="en-US" sz="400" baseline="30000" dirty="0">
                <a:solidFill>
                  <a:sysClr val="windowText" lastClr="000000"/>
                </a:solidFill>
                <a:latin typeface="Calibri"/>
                <a:cs typeface="Calibri" panose="020F0502020204030204" pitchFamily="34" charset="0"/>
              </a:rPr>
              <a:t>5</a:t>
            </a:r>
            <a:r>
              <a:rPr lang="en-US" sz="400" dirty="0">
                <a:solidFill>
                  <a:sysClr val="windowText" lastClr="000000"/>
                </a:solidFill>
                <a:latin typeface="Calibri"/>
                <a:cs typeface="Calibri" panose="020F0502020204030204" pitchFamily="34" charset="0"/>
              </a:rPr>
              <a:t>Forrester Research, Forrester WaveTM: Business Transformation Consultancies Q3 2015”, Marc Cecere, July 21, 2015</a:t>
            </a:r>
          </a:p>
        </p:txBody>
      </p:sp>
      <p:sp>
        <p:nvSpPr>
          <p:cNvPr id="37" name="Rectangle 36">
            <a:extLst>
              <a:ext uri="{FF2B5EF4-FFF2-40B4-BE49-F238E27FC236}">
                <a16:creationId xmlns:a16="http://schemas.microsoft.com/office/drawing/2014/main" id="{5B77EA80-219A-4396-A390-F77FE9729385}"/>
              </a:ext>
            </a:extLst>
          </p:cNvPr>
          <p:cNvSpPr/>
          <p:nvPr/>
        </p:nvSpPr>
        <p:spPr>
          <a:xfrm>
            <a:off x="533400" y="6090379"/>
            <a:ext cx="6772578" cy="184666"/>
          </a:xfrm>
          <a:prstGeom prst="rect">
            <a:avLst/>
          </a:prstGeom>
        </p:spPr>
        <p:txBody>
          <a:bodyPr wrap="square" lIns="0" tIns="0" rIns="0" bIns="0" anchor="t">
            <a:spAutoFit/>
          </a:bodyPr>
          <a:lstStyle/>
          <a:p>
            <a:pPr>
              <a:defRPr/>
            </a:pPr>
            <a:r>
              <a:rPr lang="en-US" sz="400" dirty="0">
                <a:solidFill>
                  <a:sysClr val="windowText" lastClr="000000"/>
                </a:solidFill>
                <a:latin typeface="Calibri"/>
                <a:cs typeface="Calibri" panose="020F0502020204030204" pitchFamily="34" charset="0"/>
              </a:rPr>
              <a:t>1 Source: Gartner, Market Share Analysis: Consulting Services Worldwide, 2014, Jacqueline Heng, Dean Blackmore, Julie Short, April 22, 2015</a:t>
            </a:r>
          </a:p>
          <a:p>
            <a:pPr>
              <a:defRPr/>
            </a:pPr>
            <a:r>
              <a:rPr lang="en-US" sz="400" dirty="0">
                <a:solidFill>
                  <a:sysClr val="windowText" lastClr="000000"/>
                </a:solidFill>
                <a:latin typeface="Calibri"/>
                <a:cs typeface="Calibri" panose="020F0502020204030204" pitchFamily="34" charset="0"/>
              </a:rPr>
              <a:t>2 Source: IDC MarketScape: Worldwide Business Consulting Services 2015Vendor Assessment by Cushing Anderson, February 2015, IDC #254320</a:t>
            </a:r>
          </a:p>
          <a:p>
            <a:pPr>
              <a:defRPr/>
            </a:pPr>
            <a:r>
              <a:rPr lang="en-US" sz="400" dirty="0">
                <a:solidFill>
                  <a:sysClr val="windowText" lastClr="000000"/>
                </a:solidFill>
                <a:latin typeface="Calibri"/>
                <a:cs typeface="Calibri" panose="020F0502020204030204" pitchFamily="34" charset="0"/>
              </a:rPr>
              <a:t>3 Source: Kennedy Consulting Research &amp; Advisory; Global Consulting Market Index 2013; Kennedy Consulting Research &amp; Advisory estimates </a:t>
            </a:r>
            <a:r>
              <a:rPr lang="en-GB" sz="400" dirty="0">
                <a:solidFill>
                  <a:sysClr val="windowText" lastClr="000000"/>
                </a:solidFill>
                <a:latin typeface="Calibri"/>
                <a:cs typeface="Calibri" panose="020F0502020204030204" pitchFamily="34" charset="0"/>
              </a:rPr>
              <a:t>© 2014 </a:t>
            </a:r>
            <a:r>
              <a:rPr lang="en-US" sz="400" dirty="0">
                <a:solidFill>
                  <a:sysClr val="windowText" lastClr="000000"/>
                </a:solidFill>
                <a:latin typeface="Calibri"/>
                <a:cs typeface="Calibri" panose="020F0502020204030204" pitchFamily="34" charset="0"/>
              </a:rPr>
              <a:t>Kennedy Information, LLC.  R</a:t>
            </a:r>
            <a:r>
              <a:rPr lang="en-GB" sz="400" dirty="0">
                <a:solidFill>
                  <a:sysClr val="windowText" lastClr="000000"/>
                </a:solidFill>
                <a:latin typeface="Calibri"/>
                <a:cs typeface="Calibri" panose="020F0502020204030204" pitchFamily="34" charset="0"/>
              </a:rPr>
              <a:t>reproduced under license</a:t>
            </a:r>
            <a:endParaRPr lang="en-US" sz="400" dirty="0">
              <a:solidFill>
                <a:sysClr val="windowText" lastClr="000000"/>
              </a:solidFill>
              <a:latin typeface="Calibri"/>
              <a:cs typeface="Calibri" panose="020F0502020204030204" pitchFamily="34" charset="0"/>
            </a:endParaRPr>
          </a:p>
        </p:txBody>
      </p:sp>
    </p:spTree>
    <p:extLst>
      <p:ext uri="{BB962C8B-B14F-4D97-AF65-F5344CB8AC3E}">
        <p14:creationId xmlns:p14="http://schemas.microsoft.com/office/powerpoint/2010/main" val="3637551312"/>
      </p:ext>
    </p:extLst>
  </p:cSld>
  <p:clrMapOvr>
    <a:masterClrMapping/>
  </p:clrMapOvr>
  <p:transition spd="med">
    <p:pull/>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2">
            <a:extLst>
              <a:ext uri="{FF2B5EF4-FFF2-40B4-BE49-F238E27FC236}">
                <a16:creationId xmlns:a16="http://schemas.microsoft.com/office/drawing/2014/main" id="{5322B692-6E7E-405A-971E-6B837DE4E3BE}"/>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5" name="Text Placeholder 1">
            <a:extLst>
              <a:ext uri="{FF2B5EF4-FFF2-40B4-BE49-F238E27FC236}">
                <a16:creationId xmlns:a16="http://schemas.microsoft.com/office/drawing/2014/main" id="{28D0002D-A8EA-40FE-AA72-0D9227C71D44}"/>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Our Awards and Capabilities – Awards and Recognition</a:t>
            </a:r>
          </a:p>
        </p:txBody>
      </p:sp>
      <p:sp>
        <p:nvSpPr>
          <p:cNvPr id="8" name="Text Placeholder 1">
            <a:extLst>
              <a:ext uri="{FF2B5EF4-FFF2-40B4-BE49-F238E27FC236}">
                <a16:creationId xmlns:a16="http://schemas.microsoft.com/office/drawing/2014/main" id="{14AF22D8-E27C-4668-91EC-80940D5AE11B}"/>
              </a:ext>
            </a:extLst>
          </p:cNvPr>
          <p:cNvSpPr txBox="1">
            <a:spLocks/>
          </p:cNvSpPr>
          <p:nvPr/>
        </p:nvSpPr>
        <p:spPr>
          <a:xfrm>
            <a:off x="5243702" y="2434025"/>
            <a:ext cx="4463343" cy="371355"/>
          </a:xfrm>
          <a:prstGeom prst="rect">
            <a:avLst/>
          </a:prstGeom>
        </p:spPr>
        <p:txBody>
          <a:bodyPr vert="horz" lIns="0" tIns="0" rIns="0" bIns="0" rtlCol="0">
            <a:noAutofit/>
          </a:bodyPr>
          <a:lstStyle>
            <a:lvl1pPr marL="0" indent="0" algn="l" defTabSz="990577" rtl="0" eaLnBrk="1" latinLnBrk="0" hangingPunct="1">
              <a:spcBef>
                <a:spcPts val="0"/>
              </a:spcBef>
              <a:spcAft>
                <a:spcPts val="1082"/>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90577" rtl="0" eaLnBrk="1" latinLnBrk="0" hangingPunct="1">
              <a:spcBef>
                <a:spcPts val="0"/>
              </a:spcBef>
              <a:spcAft>
                <a:spcPts val="1082"/>
              </a:spcAft>
              <a:buClrTx/>
              <a:buSzPct val="100000"/>
              <a:buFont typeface="Arial"/>
              <a:buNone/>
              <a:defRPr lang="en-US" sz="1000" b="1" kern="1200" dirty="0" smtClean="0">
                <a:solidFill>
                  <a:schemeClr val="tx1"/>
                </a:solidFill>
                <a:latin typeface="+mn-lt"/>
                <a:ea typeface="+mn-ea"/>
                <a:cs typeface="+mn-cs"/>
              </a:defRPr>
            </a:lvl2pPr>
            <a:lvl3pPr marL="191095" indent="-191095" algn="l" defTabSz="990577" rtl="0" eaLnBrk="1" latinLnBrk="0" hangingPunct="1">
              <a:spcBef>
                <a:spcPts val="0"/>
              </a:spcBef>
              <a:spcAft>
                <a:spcPts val="1082"/>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92" indent="-191095" algn="l" defTabSz="990577" rtl="0" eaLnBrk="1" latinLnBrk="0" hangingPunct="1">
              <a:spcBef>
                <a:spcPts val="0"/>
              </a:spcBef>
              <a:spcAft>
                <a:spcPts val="1082"/>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6" indent="-191095" algn="l" defTabSz="865035" rtl="0" eaLnBrk="1" latinLnBrk="0" hangingPunct="1">
              <a:spcBef>
                <a:spcPts val="0"/>
              </a:spcBef>
              <a:spcAft>
                <a:spcPts val="1082"/>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6pPr>
            <a:lvl7pPr marL="577186" indent="-191095" algn="l" defTabSz="990577" rtl="0" eaLnBrk="1" latinLnBrk="0" hangingPunct="1">
              <a:spcBef>
                <a:spcPts val="0"/>
              </a:spcBef>
              <a:spcAft>
                <a:spcPts val="1082"/>
              </a:spcAft>
              <a:buFont typeface="Verdana" panose="020B0604030504040204" pitchFamily="34" charset="0"/>
              <a:buChar char="−"/>
              <a:defRPr sz="1300" kern="1200">
                <a:solidFill>
                  <a:schemeClr val="tx1"/>
                </a:solidFill>
                <a:latin typeface="+mn-lt"/>
                <a:ea typeface="+mn-ea"/>
                <a:cs typeface="+mn-cs"/>
              </a:defRPr>
            </a:lvl7pPr>
            <a:lvl8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8pPr>
            <a:lvl9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9pPr>
          </a:lstStyle>
          <a:p>
            <a:pPr>
              <a:defRPr/>
            </a:pPr>
            <a:endParaRPr lang="en-US" sz="1600" dirty="0">
              <a:solidFill>
                <a:prstClr val="white">
                  <a:lumMod val="50000"/>
                </a:prstClr>
              </a:solidFill>
              <a:latin typeface="Calibri"/>
              <a:cs typeface="Calibri" panose="020F0502020204030204" pitchFamily="34" charset="0"/>
            </a:endParaRPr>
          </a:p>
        </p:txBody>
      </p:sp>
      <p:sp>
        <p:nvSpPr>
          <p:cNvPr id="9" name="Text Placeholder 1">
            <a:extLst>
              <a:ext uri="{FF2B5EF4-FFF2-40B4-BE49-F238E27FC236}">
                <a16:creationId xmlns:a16="http://schemas.microsoft.com/office/drawing/2014/main" id="{DD30F8AD-D7A8-4EF4-B140-8042BDC2D195}"/>
              </a:ext>
            </a:extLst>
          </p:cNvPr>
          <p:cNvSpPr txBox="1">
            <a:spLocks/>
          </p:cNvSpPr>
          <p:nvPr/>
        </p:nvSpPr>
        <p:spPr>
          <a:xfrm>
            <a:off x="5243702" y="2434025"/>
            <a:ext cx="4463343" cy="371355"/>
          </a:xfrm>
          <a:prstGeom prst="rect">
            <a:avLst/>
          </a:prstGeom>
        </p:spPr>
        <p:txBody>
          <a:bodyPr vert="horz" lIns="0" tIns="0" rIns="0" bIns="0" rtlCol="0">
            <a:noAutofit/>
          </a:bodyPr>
          <a:lstStyle>
            <a:lvl1pPr marL="0" indent="0" algn="l" defTabSz="990577" rtl="0" eaLnBrk="1" latinLnBrk="0" hangingPunct="1">
              <a:spcBef>
                <a:spcPts val="0"/>
              </a:spcBef>
              <a:spcAft>
                <a:spcPts val="1082"/>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90577" rtl="0" eaLnBrk="1" latinLnBrk="0" hangingPunct="1">
              <a:spcBef>
                <a:spcPts val="0"/>
              </a:spcBef>
              <a:spcAft>
                <a:spcPts val="1082"/>
              </a:spcAft>
              <a:buClrTx/>
              <a:buSzPct val="100000"/>
              <a:buFont typeface="Arial"/>
              <a:buNone/>
              <a:defRPr lang="en-US" sz="1000" b="1" kern="1200" dirty="0" smtClean="0">
                <a:solidFill>
                  <a:schemeClr val="tx1"/>
                </a:solidFill>
                <a:latin typeface="+mn-lt"/>
                <a:ea typeface="+mn-ea"/>
                <a:cs typeface="+mn-cs"/>
              </a:defRPr>
            </a:lvl2pPr>
            <a:lvl3pPr marL="191095" indent="-191095" algn="l" defTabSz="990577" rtl="0" eaLnBrk="1" latinLnBrk="0" hangingPunct="1">
              <a:spcBef>
                <a:spcPts val="0"/>
              </a:spcBef>
              <a:spcAft>
                <a:spcPts val="1082"/>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92" indent="-191095" algn="l" defTabSz="990577" rtl="0" eaLnBrk="1" latinLnBrk="0" hangingPunct="1">
              <a:spcBef>
                <a:spcPts val="0"/>
              </a:spcBef>
              <a:spcAft>
                <a:spcPts val="1082"/>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6" indent="-191095" algn="l" defTabSz="865035" rtl="0" eaLnBrk="1" latinLnBrk="0" hangingPunct="1">
              <a:spcBef>
                <a:spcPts val="0"/>
              </a:spcBef>
              <a:spcAft>
                <a:spcPts val="1082"/>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6pPr>
            <a:lvl7pPr marL="577186" indent="-191095" algn="l" defTabSz="990577" rtl="0" eaLnBrk="1" latinLnBrk="0" hangingPunct="1">
              <a:spcBef>
                <a:spcPts val="0"/>
              </a:spcBef>
              <a:spcAft>
                <a:spcPts val="1082"/>
              </a:spcAft>
              <a:buFont typeface="Verdana" panose="020B0604030504040204" pitchFamily="34" charset="0"/>
              <a:buChar char="−"/>
              <a:defRPr sz="1300" kern="1200">
                <a:solidFill>
                  <a:schemeClr val="tx1"/>
                </a:solidFill>
                <a:latin typeface="+mn-lt"/>
                <a:ea typeface="+mn-ea"/>
                <a:cs typeface="+mn-cs"/>
              </a:defRPr>
            </a:lvl7pPr>
            <a:lvl8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8pPr>
            <a:lvl9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9pPr>
          </a:lstStyle>
          <a:p>
            <a:pPr>
              <a:defRPr/>
            </a:pPr>
            <a:endParaRPr lang="en-US" sz="1600" dirty="0">
              <a:solidFill>
                <a:prstClr val="white">
                  <a:lumMod val="50000"/>
                </a:prstClr>
              </a:solidFill>
              <a:latin typeface="Calibri"/>
              <a:cs typeface="Calibri" panose="020F0502020204030204" pitchFamily="34" charset="0"/>
            </a:endParaRPr>
          </a:p>
        </p:txBody>
      </p:sp>
      <p:grpSp>
        <p:nvGrpSpPr>
          <p:cNvPr id="10" name="Group 9">
            <a:extLst>
              <a:ext uri="{FF2B5EF4-FFF2-40B4-BE49-F238E27FC236}">
                <a16:creationId xmlns:a16="http://schemas.microsoft.com/office/drawing/2014/main" id="{89912920-F464-4493-9C2A-F65815F236C3}"/>
              </a:ext>
            </a:extLst>
          </p:cNvPr>
          <p:cNvGrpSpPr/>
          <p:nvPr/>
        </p:nvGrpSpPr>
        <p:grpSpPr>
          <a:xfrm>
            <a:off x="384912" y="1700217"/>
            <a:ext cx="10611930" cy="4592728"/>
            <a:chOff x="384912" y="1700217"/>
            <a:chExt cx="10611930" cy="4592728"/>
          </a:xfrm>
        </p:grpSpPr>
        <p:grpSp>
          <p:nvGrpSpPr>
            <p:cNvPr id="11" name="Group 574">
              <a:extLst>
                <a:ext uri="{FF2B5EF4-FFF2-40B4-BE49-F238E27FC236}">
                  <a16:creationId xmlns:a16="http://schemas.microsoft.com/office/drawing/2014/main" id="{C5C959C8-4056-40FE-BE0E-5A90E775C68B}"/>
                </a:ext>
              </a:extLst>
            </p:cNvPr>
            <p:cNvGrpSpPr>
              <a:grpSpLocks noChangeAspect="1"/>
            </p:cNvGrpSpPr>
            <p:nvPr/>
          </p:nvGrpSpPr>
          <p:grpSpPr bwMode="auto">
            <a:xfrm>
              <a:off x="3998941" y="2312623"/>
              <a:ext cx="611634" cy="613433"/>
              <a:chOff x="1921" y="1949"/>
              <a:chExt cx="340" cy="341"/>
            </a:xfrm>
            <a:solidFill>
              <a:srgbClr val="86BC25"/>
            </a:solidFill>
          </p:grpSpPr>
          <p:sp>
            <p:nvSpPr>
              <p:cNvPr id="79" name="Freeform 575">
                <a:extLst>
                  <a:ext uri="{FF2B5EF4-FFF2-40B4-BE49-F238E27FC236}">
                    <a16:creationId xmlns:a16="http://schemas.microsoft.com/office/drawing/2014/main" id="{5390EFCB-D426-4FE0-9737-0F34729C3A4A}"/>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flat" cmpd="sng" algn="ctr">
                <a:noFill/>
                <a:prstDash val="solid"/>
              </a:ln>
              <a:effectLst/>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CA" sz="1100" kern="0" dirty="0">
                  <a:solidFill>
                    <a:prstClr val="black"/>
                  </a:solidFill>
                  <a:cs typeface="Calibri" panose="020F0502020204030204" pitchFamily="34" charset="0"/>
                </a:endParaRPr>
              </a:p>
            </p:txBody>
          </p:sp>
          <p:sp>
            <p:nvSpPr>
              <p:cNvPr id="80" name="Freeform 576">
                <a:extLst>
                  <a:ext uri="{FF2B5EF4-FFF2-40B4-BE49-F238E27FC236}">
                    <a16:creationId xmlns:a16="http://schemas.microsoft.com/office/drawing/2014/main" id="{490055E4-EDAC-45F4-B9FB-629A92CE9B13}"/>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w="25400" cap="flat" cmpd="sng" algn="ctr">
                <a:noFill/>
                <a:prstDash val="solid"/>
              </a:ln>
              <a:effectLst/>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CA" sz="1100" kern="0" dirty="0">
                  <a:solidFill>
                    <a:prstClr val="black"/>
                  </a:solidFill>
                  <a:cs typeface="Calibri" panose="020F0502020204030204" pitchFamily="34" charset="0"/>
                </a:endParaRPr>
              </a:p>
            </p:txBody>
          </p:sp>
        </p:grpSp>
        <p:grpSp>
          <p:nvGrpSpPr>
            <p:cNvPr id="12" name="Group 489">
              <a:extLst>
                <a:ext uri="{FF2B5EF4-FFF2-40B4-BE49-F238E27FC236}">
                  <a16:creationId xmlns:a16="http://schemas.microsoft.com/office/drawing/2014/main" id="{21B43C11-2227-4175-B35A-BD4827609FA9}"/>
                </a:ext>
              </a:extLst>
            </p:cNvPr>
            <p:cNvGrpSpPr>
              <a:grpSpLocks noChangeAspect="1"/>
            </p:cNvGrpSpPr>
            <p:nvPr/>
          </p:nvGrpSpPr>
          <p:grpSpPr bwMode="auto">
            <a:xfrm>
              <a:off x="1371858" y="2312621"/>
              <a:ext cx="619222" cy="613432"/>
              <a:chOff x="2920" y="2264"/>
              <a:chExt cx="340" cy="340"/>
            </a:xfrm>
            <a:solidFill>
              <a:srgbClr val="86BC25"/>
            </a:solidFill>
          </p:grpSpPr>
          <p:sp>
            <p:nvSpPr>
              <p:cNvPr id="76" name="Freeform 490">
                <a:extLst>
                  <a:ext uri="{FF2B5EF4-FFF2-40B4-BE49-F238E27FC236}">
                    <a16:creationId xmlns:a16="http://schemas.microsoft.com/office/drawing/2014/main" id="{36329A04-CE75-4C79-8637-ACBFB40D8EED}"/>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w="25400" cap="flat" cmpd="sng" algn="ctr">
                <a:noFill/>
                <a:prstDash val="solid"/>
              </a:ln>
              <a:effectLst/>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CA" sz="1100" kern="0" dirty="0">
                  <a:solidFill>
                    <a:prstClr val="black"/>
                  </a:solidFill>
                  <a:cs typeface="Calibri" panose="020F0502020204030204" pitchFamily="34" charset="0"/>
                </a:endParaRPr>
              </a:p>
            </p:txBody>
          </p:sp>
          <p:sp>
            <p:nvSpPr>
              <p:cNvPr id="77" name="Freeform 491">
                <a:extLst>
                  <a:ext uri="{FF2B5EF4-FFF2-40B4-BE49-F238E27FC236}">
                    <a16:creationId xmlns:a16="http://schemas.microsoft.com/office/drawing/2014/main" id="{0920FC86-0480-46CB-A405-F78384EE5A87}"/>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w="25400" cap="flat" cmpd="sng" algn="ctr">
                <a:noFill/>
                <a:prstDash val="solid"/>
              </a:ln>
              <a:effectLst/>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CA" sz="1100" kern="0" dirty="0">
                  <a:solidFill>
                    <a:prstClr val="black"/>
                  </a:solidFill>
                  <a:cs typeface="Calibri" panose="020F0502020204030204" pitchFamily="34" charset="0"/>
                </a:endParaRPr>
              </a:p>
            </p:txBody>
          </p:sp>
          <p:sp>
            <p:nvSpPr>
              <p:cNvPr id="78" name="Freeform 492">
                <a:extLst>
                  <a:ext uri="{FF2B5EF4-FFF2-40B4-BE49-F238E27FC236}">
                    <a16:creationId xmlns:a16="http://schemas.microsoft.com/office/drawing/2014/main" id="{0913E41D-52A0-47EE-AD45-A4C9AB007309}"/>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25400" cap="flat" cmpd="sng" algn="ctr">
                <a:noFill/>
                <a:prstDash val="solid"/>
              </a:ln>
              <a:effectLst/>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CA" sz="1100" kern="0" dirty="0">
                  <a:solidFill>
                    <a:prstClr val="black"/>
                  </a:solidFill>
                  <a:cs typeface="Calibri" panose="020F0502020204030204" pitchFamily="34" charset="0"/>
                </a:endParaRPr>
              </a:p>
            </p:txBody>
          </p:sp>
        </p:grpSp>
        <p:grpSp>
          <p:nvGrpSpPr>
            <p:cNvPr id="13" name="Group 12">
              <a:extLst>
                <a:ext uri="{FF2B5EF4-FFF2-40B4-BE49-F238E27FC236}">
                  <a16:creationId xmlns:a16="http://schemas.microsoft.com/office/drawing/2014/main" id="{39343A74-5365-4E1C-9906-A7AADDBA8E70}"/>
                </a:ext>
              </a:extLst>
            </p:cNvPr>
            <p:cNvGrpSpPr/>
            <p:nvPr/>
          </p:nvGrpSpPr>
          <p:grpSpPr>
            <a:xfrm>
              <a:off x="384912" y="1700217"/>
              <a:ext cx="2593097" cy="477939"/>
              <a:chOff x="413228" y="1371600"/>
              <a:chExt cx="1947702" cy="476173"/>
            </a:xfrm>
          </p:grpSpPr>
          <p:sp>
            <p:nvSpPr>
              <p:cNvPr id="73" name="Right Triangle 49">
                <a:extLst>
                  <a:ext uri="{FF2B5EF4-FFF2-40B4-BE49-F238E27FC236}">
                    <a16:creationId xmlns:a16="http://schemas.microsoft.com/office/drawing/2014/main" id="{8CD61868-A66B-43CE-BACA-575604A2E78E}"/>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74" name="Right Triangle 49">
                <a:extLst>
                  <a:ext uri="{FF2B5EF4-FFF2-40B4-BE49-F238E27FC236}">
                    <a16:creationId xmlns:a16="http://schemas.microsoft.com/office/drawing/2014/main" id="{DFA40C53-4849-409F-BC42-B1936ACEE3B5}"/>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75" name="Round Same Side Corner Rectangle 43">
                <a:extLst>
                  <a:ext uri="{FF2B5EF4-FFF2-40B4-BE49-F238E27FC236}">
                    <a16:creationId xmlns:a16="http://schemas.microsoft.com/office/drawing/2014/main" id="{31DC2DAB-55A9-4CD6-8226-E9CA8246D4F5}"/>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rgbClr val="86BC25"/>
              </a:solidFill>
              <a:ln w="19050" algn="ctr">
                <a:noFill/>
                <a:miter lim="800000"/>
                <a:headEnd/>
                <a:tailEnd/>
              </a:ln>
            </p:spPr>
            <p:txBody>
              <a:bodyPr wrap="square" lIns="66675" tIns="66675" rIns="66675" bIns="81000" rtlCol="0" anchor="ctr"/>
              <a:lstStyle/>
              <a:p>
                <a:pPr algn="ctr">
                  <a:defRPr/>
                </a:pPr>
                <a:endParaRPr lang="en-US" sz="1100" b="1" kern="0" dirty="0">
                  <a:solidFill>
                    <a:prstClr val="white"/>
                  </a:solidFill>
                  <a:latin typeface="Calibri"/>
                  <a:cs typeface="Calibri" panose="020F0502020204030204" pitchFamily="34" charset="0"/>
                </a:endParaRPr>
              </a:p>
            </p:txBody>
          </p:sp>
        </p:grpSp>
        <p:grpSp>
          <p:nvGrpSpPr>
            <p:cNvPr id="14" name="Group 13">
              <a:extLst>
                <a:ext uri="{FF2B5EF4-FFF2-40B4-BE49-F238E27FC236}">
                  <a16:creationId xmlns:a16="http://schemas.microsoft.com/office/drawing/2014/main" id="{F5CD103E-6F51-471D-B4E6-6042F5BEB31D}"/>
                </a:ext>
              </a:extLst>
            </p:cNvPr>
            <p:cNvGrpSpPr/>
            <p:nvPr/>
          </p:nvGrpSpPr>
          <p:grpSpPr>
            <a:xfrm>
              <a:off x="513248" y="3617231"/>
              <a:ext cx="2530813" cy="2675714"/>
              <a:chOff x="582909" y="4047068"/>
              <a:chExt cx="2642778" cy="3211966"/>
            </a:xfrm>
          </p:grpSpPr>
          <p:sp>
            <p:nvSpPr>
              <p:cNvPr id="71" name="Rectangle 70">
                <a:extLst>
                  <a:ext uri="{FF2B5EF4-FFF2-40B4-BE49-F238E27FC236}">
                    <a16:creationId xmlns:a16="http://schemas.microsoft.com/office/drawing/2014/main" id="{4F64ABDC-885C-4485-B5C9-500472571868}"/>
                  </a:ext>
                </a:extLst>
              </p:cNvPr>
              <p:cNvSpPr/>
              <p:nvPr/>
            </p:nvSpPr>
            <p:spPr bwMode="gray">
              <a:xfrm>
                <a:off x="582909" y="4047068"/>
                <a:ext cx="2642778" cy="3124270"/>
              </a:xfrm>
              <a:prstGeom prst="rect">
                <a:avLst/>
              </a:prstGeom>
              <a:solidFill>
                <a:sysClr val="window" lastClr="FFFFFF">
                  <a:lumMod val="95000"/>
                </a:sysClr>
              </a:solidFill>
              <a:ln w="19050" algn="ctr">
                <a:noFill/>
                <a:miter lim="800000"/>
                <a:headEnd/>
                <a:tailEnd/>
              </a:ln>
            </p:spPr>
            <p:txBody>
              <a:bodyPr wrap="square" lIns="91440" tIns="91440" rIns="91440" bIns="91440" rtlCol="0" anchor="t"/>
              <a:lstStyle/>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Best Employer in the Middle East by Hewitt</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Most attractive employer in multiple ME countries by Universum</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Deloitte EMEA HR Award for Business Partnering</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Best professional services firm by Brand Finance </a:t>
                </a:r>
              </a:p>
              <a:p>
                <a:pPr marL="285750" indent="-285750">
                  <a:spcBef>
                    <a:spcPts val="600"/>
                  </a:spcBef>
                  <a:spcAft>
                    <a:spcPts val="600"/>
                  </a:spcAft>
                  <a:buFont typeface="Arial" panose="020B0604020202020204" pitchFamily="34" charset="0"/>
                  <a:buChar char="•"/>
                  <a:defRPr/>
                </a:pPr>
                <a:endParaRPr lang="en-US" sz="1100" kern="0" dirty="0">
                  <a:solidFill>
                    <a:prstClr val="black"/>
                  </a:solidFill>
                  <a:latin typeface="Calibri"/>
                  <a:ea typeface="Verdana" panose="020B0604030504040204" pitchFamily="34" charset="0"/>
                  <a:cs typeface="Calibri" panose="020F0502020204030204" pitchFamily="34" charset="0"/>
                </a:endParaRPr>
              </a:p>
            </p:txBody>
          </p:sp>
          <p:sp>
            <p:nvSpPr>
              <p:cNvPr id="72" name="Rectangle 71">
                <a:extLst>
                  <a:ext uri="{FF2B5EF4-FFF2-40B4-BE49-F238E27FC236}">
                    <a16:creationId xmlns:a16="http://schemas.microsoft.com/office/drawing/2014/main" id="{7202D1AB-4F75-46AF-AD9C-7796BFE37F6F}"/>
                  </a:ext>
                </a:extLst>
              </p:cNvPr>
              <p:cNvSpPr/>
              <p:nvPr/>
            </p:nvSpPr>
            <p:spPr bwMode="gray">
              <a:xfrm>
                <a:off x="756474" y="7171338"/>
                <a:ext cx="2295650" cy="87696"/>
              </a:xfrm>
              <a:prstGeom prst="rect">
                <a:avLst/>
              </a:prstGeom>
              <a:solidFill>
                <a:srgbClr val="86BC2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grpSp>
        <p:grpSp>
          <p:nvGrpSpPr>
            <p:cNvPr id="15" name="Group 14">
              <a:extLst>
                <a:ext uri="{FF2B5EF4-FFF2-40B4-BE49-F238E27FC236}">
                  <a16:creationId xmlns:a16="http://schemas.microsoft.com/office/drawing/2014/main" id="{9532AA3E-9814-4366-B2F5-4A3B7EB7FBA2}"/>
                </a:ext>
              </a:extLst>
            </p:cNvPr>
            <p:cNvGrpSpPr/>
            <p:nvPr/>
          </p:nvGrpSpPr>
          <p:grpSpPr>
            <a:xfrm>
              <a:off x="1256233" y="2178149"/>
              <a:ext cx="850454" cy="1406308"/>
              <a:chOff x="757805" y="1635343"/>
              <a:chExt cx="1185062" cy="2012973"/>
            </a:xfrm>
          </p:grpSpPr>
          <p:sp>
            <p:nvSpPr>
              <p:cNvPr id="66" name="Freeform 36">
                <a:extLst>
                  <a:ext uri="{FF2B5EF4-FFF2-40B4-BE49-F238E27FC236}">
                    <a16:creationId xmlns:a16="http://schemas.microsoft.com/office/drawing/2014/main" id="{E6D5CC7E-CEDC-488D-969C-DFA0905B9F0C}"/>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rgbClr val="86BC25"/>
                </a:solidFill>
                <a:miter lim="800000"/>
                <a:headEnd type="none" w="sm" len="sm"/>
                <a:tailEnd type="oval" w="sm" len="sm"/>
              </a:ln>
            </p:spPr>
            <p:txBody>
              <a:bodyPr rtlCol="0" anchor="ctr"/>
              <a:lstStyle/>
              <a:p>
                <a:pPr algn="ctr">
                  <a:defRPr/>
                </a:pPr>
                <a:endParaRPr lang="en-US" sz="1100" kern="0" dirty="0">
                  <a:solidFill>
                    <a:prstClr val="black"/>
                  </a:solidFill>
                  <a:latin typeface="Calibri"/>
                  <a:cs typeface="Calibri" panose="020F0502020204030204" pitchFamily="34" charset="0"/>
                </a:endParaRPr>
              </a:p>
            </p:txBody>
          </p:sp>
          <p:sp>
            <p:nvSpPr>
              <p:cNvPr id="67" name="Round Same Side Corner Rectangle 37">
                <a:extLst>
                  <a:ext uri="{FF2B5EF4-FFF2-40B4-BE49-F238E27FC236}">
                    <a16:creationId xmlns:a16="http://schemas.microsoft.com/office/drawing/2014/main" id="{60D86965-88B0-4AD9-BE53-3F803113550F}"/>
                  </a:ext>
                </a:extLst>
              </p:cNvPr>
              <p:cNvSpPr/>
              <p:nvPr/>
            </p:nvSpPr>
            <p:spPr bwMode="gray">
              <a:xfrm>
                <a:off x="1289779" y="3495046"/>
                <a:ext cx="116350" cy="108039"/>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68" name="Round Same Side Corner Rectangle 38">
                <a:extLst>
                  <a:ext uri="{FF2B5EF4-FFF2-40B4-BE49-F238E27FC236}">
                    <a16:creationId xmlns:a16="http://schemas.microsoft.com/office/drawing/2014/main" id="{EA3F1A31-09D0-460E-8E19-3546E19DB838}"/>
                  </a:ext>
                </a:extLst>
              </p:cNvPr>
              <p:cNvSpPr/>
              <p:nvPr/>
            </p:nvSpPr>
            <p:spPr bwMode="gray">
              <a:xfrm flipV="1">
                <a:off x="1312850"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69" name="Round Same Side Corner Rectangle 39">
                <a:extLst>
                  <a:ext uri="{FF2B5EF4-FFF2-40B4-BE49-F238E27FC236}">
                    <a16:creationId xmlns:a16="http://schemas.microsoft.com/office/drawing/2014/main" id="{DDAC42C6-2241-428F-BB2B-34DDE07A5A57}"/>
                  </a:ext>
                </a:extLst>
              </p:cNvPr>
              <p:cNvSpPr/>
              <p:nvPr/>
            </p:nvSpPr>
            <p:spPr bwMode="gray">
              <a:xfrm flipV="1">
                <a:off x="1362714"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70" name="Oval 69">
                <a:extLst>
                  <a:ext uri="{FF2B5EF4-FFF2-40B4-BE49-F238E27FC236}">
                    <a16:creationId xmlns:a16="http://schemas.microsoft.com/office/drawing/2014/main" id="{A1DDE619-E4D9-4E8D-A8D5-6E7AF6F8590D}"/>
                  </a:ext>
                </a:extLst>
              </p:cNvPr>
              <p:cNvSpPr/>
              <p:nvPr/>
            </p:nvSpPr>
            <p:spPr bwMode="gray">
              <a:xfrm>
                <a:off x="1329954" y="3531065"/>
                <a:ext cx="36000" cy="36000"/>
              </a:xfrm>
              <a:prstGeom prst="ellipse">
                <a:avLst/>
              </a:prstGeom>
              <a:solidFill>
                <a:sysClr val="window" lastClr="FFFFFF"/>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grpSp>
        <p:grpSp>
          <p:nvGrpSpPr>
            <p:cNvPr id="16" name="Group 15">
              <a:extLst>
                <a:ext uri="{FF2B5EF4-FFF2-40B4-BE49-F238E27FC236}">
                  <a16:creationId xmlns:a16="http://schemas.microsoft.com/office/drawing/2014/main" id="{2A2CC839-11CA-4F41-B0DB-60DD99495FA3}"/>
                </a:ext>
              </a:extLst>
            </p:cNvPr>
            <p:cNvGrpSpPr/>
            <p:nvPr/>
          </p:nvGrpSpPr>
          <p:grpSpPr>
            <a:xfrm>
              <a:off x="3008211" y="1700217"/>
              <a:ext cx="2593097" cy="477939"/>
              <a:chOff x="413228" y="1371600"/>
              <a:chExt cx="1947702" cy="476173"/>
            </a:xfrm>
          </p:grpSpPr>
          <p:sp>
            <p:nvSpPr>
              <p:cNvPr id="63" name="Right Triangle 49">
                <a:extLst>
                  <a:ext uri="{FF2B5EF4-FFF2-40B4-BE49-F238E27FC236}">
                    <a16:creationId xmlns:a16="http://schemas.microsoft.com/office/drawing/2014/main" id="{EB464CA8-A96B-4C7A-BEE6-E69CF3C71A07}"/>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64" name="Right Triangle 49">
                <a:extLst>
                  <a:ext uri="{FF2B5EF4-FFF2-40B4-BE49-F238E27FC236}">
                    <a16:creationId xmlns:a16="http://schemas.microsoft.com/office/drawing/2014/main" id="{412508FA-B053-41CF-A51F-6A6CF1FC35BF}"/>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65" name="Round Same Side Corner Rectangle 43">
                <a:extLst>
                  <a:ext uri="{FF2B5EF4-FFF2-40B4-BE49-F238E27FC236}">
                    <a16:creationId xmlns:a16="http://schemas.microsoft.com/office/drawing/2014/main" id="{DF4EAD73-E7E1-401F-BFAE-2DDF88C9D218}"/>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rgbClr val="86BC25"/>
              </a:solidFill>
              <a:ln w="19050" algn="ctr">
                <a:noFill/>
                <a:miter lim="800000"/>
                <a:headEnd/>
                <a:tailEnd/>
              </a:ln>
            </p:spPr>
            <p:txBody>
              <a:bodyPr wrap="square" lIns="66675" tIns="66675" rIns="66675" bIns="81000" rtlCol="0" anchor="ctr"/>
              <a:lstStyle/>
              <a:p>
                <a:pPr algn="ctr">
                  <a:defRPr/>
                </a:pPr>
                <a:endParaRPr lang="en-US" sz="1100" b="1" kern="0" dirty="0">
                  <a:solidFill>
                    <a:prstClr val="white"/>
                  </a:solidFill>
                  <a:latin typeface="Calibri"/>
                  <a:cs typeface="Calibri" panose="020F0502020204030204" pitchFamily="34" charset="0"/>
                </a:endParaRPr>
              </a:p>
            </p:txBody>
          </p:sp>
        </p:grpSp>
        <p:grpSp>
          <p:nvGrpSpPr>
            <p:cNvPr id="17" name="Group 16">
              <a:extLst>
                <a:ext uri="{FF2B5EF4-FFF2-40B4-BE49-F238E27FC236}">
                  <a16:creationId xmlns:a16="http://schemas.microsoft.com/office/drawing/2014/main" id="{F74DC59E-0535-4069-B758-5086E0EE258B}"/>
                </a:ext>
              </a:extLst>
            </p:cNvPr>
            <p:cNvGrpSpPr/>
            <p:nvPr/>
          </p:nvGrpSpPr>
          <p:grpSpPr>
            <a:xfrm>
              <a:off x="3136547" y="3617231"/>
              <a:ext cx="2530813" cy="2675714"/>
              <a:chOff x="582909" y="4047068"/>
              <a:chExt cx="2642778" cy="3211966"/>
            </a:xfrm>
          </p:grpSpPr>
          <p:sp>
            <p:nvSpPr>
              <p:cNvPr id="61" name="Rectangle 60">
                <a:extLst>
                  <a:ext uri="{FF2B5EF4-FFF2-40B4-BE49-F238E27FC236}">
                    <a16:creationId xmlns:a16="http://schemas.microsoft.com/office/drawing/2014/main" id="{AED5A705-226C-4323-953A-38DFA0D3CD27}"/>
                  </a:ext>
                </a:extLst>
              </p:cNvPr>
              <p:cNvSpPr/>
              <p:nvPr/>
            </p:nvSpPr>
            <p:spPr bwMode="gray">
              <a:xfrm>
                <a:off x="582909" y="4047068"/>
                <a:ext cx="2642778" cy="3124270"/>
              </a:xfrm>
              <a:prstGeom prst="rect">
                <a:avLst/>
              </a:prstGeom>
              <a:solidFill>
                <a:sysClr val="window" lastClr="FFFFFF">
                  <a:lumMod val="95000"/>
                </a:sysClr>
              </a:solidFill>
              <a:ln w="19050" algn="ctr">
                <a:noFill/>
                <a:miter lim="800000"/>
                <a:headEnd/>
                <a:tailEnd/>
              </a:ln>
            </p:spPr>
            <p:txBody>
              <a:bodyPr wrap="square" lIns="91440" tIns="91440" rIns="91440" bIns="91440" rtlCol="0" anchor="t"/>
              <a:lstStyle/>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Best CSR Integrated Organisation” in Levant</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Deloitte Best in Class award for “Outstanding brand building performance”</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Judges Award for Distinction for the Brand and Communications team</a:t>
                </a:r>
              </a:p>
            </p:txBody>
          </p:sp>
          <p:sp>
            <p:nvSpPr>
              <p:cNvPr id="62" name="Rectangle 61">
                <a:extLst>
                  <a:ext uri="{FF2B5EF4-FFF2-40B4-BE49-F238E27FC236}">
                    <a16:creationId xmlns:a16="http://schemas.microsoft.com/office/drawing/2014/main" id="{C3181199-7ACF-472D-9D0A-932D49308D44}"/>
                  </a:ext>
                </a:extLst>
              </p:cNvPr>
              <p:cNvSpPr/>
              <p:nvPr/>
            </p:nvSpPr>
            <p:spPr bwMode="gray">
              <a:xfrm>
                <a:off x="756474" y="7171338"/>
                <a:ext cx="2295650" cy="87696"/>
              </a:xfrm>
              <a:prstGeom prst="rect">
                <a:avLst/>
              </a:prstGeom>
              <a:solidFill>
                <a:srgbClr val="86BC2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grpSp>
        <p:grpSp>
          <p:nvGrpSpPr>
            <p:cNvPr id="18" name="Group 17">
              <a:extLst>
                <a:ext uri="{FF2B5EF4-FFF2-40B4-BE49-F238E27FC236}">
                  <a16:creationId xmlns:a16="http://schemas.microsoft.com/office/drawing/2014/main" id="{983AAD1D-2BB4-4DE5-BDEF-44A001380499}"/>
                </a:ext>
              </a:extLst>
            </p:cNvPr>
            <p:cNvGrpSpPr/>
            <p:nvPr/>
          </p:nvGrpSpPr>
          <p:grpSpPr>
            <a:xfrm>
              <a:off x="3879532" y="2178149"/>
              <a:ext cx="850454" cy="1406308"/>
              <a:chOff x="757805" y="1635343"/>
              <a:chExt cx="1185062" cy="2012973"/>
            </a:xfrm>
          </p:grpSpPr>
          <p:sp>
            <p:nvSpPr>
              <p:cNvPr id="56" name="Freeform 36">
                <a:extLst>
                  <a:ext uri="{FF2B5EF4-FFF2-40B4-BE49-F238E27FC236}">
                    <a16:creationId xmlns:a16="http://schemas.microsoft.com/office/drawing/2014/main" id="{962B8295-322F-4916-92D9-2C048ED59FD1}"/>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rgbClr val="86BC25"/>
                </a:solidFill>
                <a:miter lim="800000"/>
                <a:headEnd type="none" w="sm" len="sm"/>
                <a:tailEnd type="oval" w="sm" len="sm"/>
              </a:ln>
            </p:spPr>
            <p:txBody>
              <a:bodyPr rtlCol="0" anchor="ctr"/>
              <a:lstStyle/>
              <a:p>
                <a:pPr algn="ctr">
                  <a:defRPr/>
                </a:pPr>
                <a:endParaRPr lang="en-US" sz="1100" kern="0" dirty="0">
                  <a:solidFill>
                    <a:prstClr val="black"/>
                  </a:solidFill>
                  <a:latin typeface="Calibri"/>
                  <a:cs typeface="Calibri" panose="020F0502020204030204" pitchFamily="34" charset="0"/>
                </a:endParaRPr>
              </a:p>
            </p:txBody>
          </p:sp>
          <p:sp>
            <p:nvSpPr>
              <p:cNvPr id="57" name="Round Same Side Corner Rectangle 37">
                <a:extLst>
                  <a:ext uri="{FF2B5EF4-FFF2-40B4-BE49-F238E27FC236}">
                    <a16:creationId xmlns:a16="http://schemas.microsoft.com/office/drawing/2014/main" id="{2CEFDE97-A505-44D0-9089-B5E8F56D04A0}"/>
                  </a:ext>
                </a:extLst>
              </p:cNvPr>
              <p:cNvSpPr/>
              <p:nvPr/>
            </p:nvSpPr>
            <p:spPr bwMode="gray">
              <a:xfrm>
                <a:off x="1289779" y="3495046"/>
                <a:ext cx="116350" cy="108039"/>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58" name="Round Same Side Corner Rectangle 38">
                <a:extLst>
                  <a:ext uri="{FF2B5EF4-FFF2-40B4-BE49-F238E27FC236}">
                    <a16:creationId xmlns:a16="http://schemas.microsoft.com/office/drawing/2014/main" id="{E319166F-541F-41B4-9649-DBFF798AF24F}"/>
                  </a:ext>
                </a:extLst>
              </p:cNvPr>
              <p:cNvSpPr/>
              <p:nvPr/>
            </p:nvSpPr>
            <p:spPr bwMode="gray">
              <a:xfrm flipV="1">
                <a:off x="1312850"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59" name="Round Same Side Corner Rectangle 39">
                <a:extLst>
                  <a:ext uri="{FF2B5EF4-FFF2-40B4-BE49-F238E27FC236}">
                    <a16:creationId xmlns:a16="http://schemas.microsoft.com/office/drawing/2014/main" id="{D0A4DFA6-27BC-469B-AD5E-16E9EF74CA5A}"/>
                  </a:ext>
                </a:extLst>
              </p:cNvPr>
              <p:cNvSpPr/>
              <p:nvPr/>
            </p:nvSpPr>
            <p:spPr bwMode="gray">
              <a:xfrm flipV="1">
                <a:off x="1362714"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60" name="Oval 59">
                <a:extLst>
                  <a:ext uri="{FF2B5EF4-FFF2-40B4-BE49-F238E27FC236}">
                    <a16:creationId xmlns:a16="http://schemas.microsoft.com/office/drawing/2014/main" id="{895066DF-FEF9-4FB6-91A9-79C49B126BDF}"/>
                  </a:ext>
                </a:extLst>
              </p:cNvPr>
              <p:cNvSpPr/>
              <p:nvPr/>
            </p:nvSpPr>
            <p:spPr bwMode="gray">
              <a:xfrm>
                <a:off x="1329954" y="3531065"/>
                <a:ext cx="36000" cy="36000"/>
              </a:xfrm>
              <a:prstGeom prst="ellipse">
                <a:avLst/>
              </a:prstGeom>
              <a:solidFill>
                <a:sysClr val="window" lastClr="FFFFFF"/>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grpSp>
        <p:grpSp>
          <p:nvGrpSpPr>
            <p:cNvPr id="19" name="Group 18">
              <a:extLst>
                <a:ext uri="{FF2B5EF4-FFF2-40B4-BE49-F238E27FC236}">
                  <a16:creationId xmlns:a16="http://schemas.microsoft.com/office/drawing/2014/main" id="{7408D564-D5AB-4A7D-B7FB-646C63D50D67}"/>
                </a:ext>
              </a:extLst>
            </p:cNvPr>
            <p:cNvGrpSpPr/>
            <p:nvPr/>
          </p:nvGrpSpPr>
          <p:grpSpPr>
            <a:xfrm>
              <a:off x="5692336" y="1700217"/>
              <a:ext cx="2593097" cy="477939"/>
              <a:chOff x="413228" y="1371600"/>
              <a:chExt cx="1947702" cy="476173"/>
            </a:xfrm>
          </p:grpSpPr>
          <p:sp>
            <p:nvSpPr>
              <p:cNvPr id="53" name="Right Triangle 49">
                <a:extLst>
                  <a:ext uri="{FF2B5EF4-FFF2-40B4-BE49-F238E27FC236}">
                    <a16:creationId xmlns:a16="http://schemas.microsoft.com/office/drawing/2014/main" id="{025DCA5C-1553-4B23-8F1D-13B064731590}"/>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54" name="Right Triangle 49">
                <a:extLst>
                  <a:ext uri="{FF2B5EF4-FFF2-40B4-BE49-F238E27FC236}">
                    <a16:creationId xmlns:a16="http://schemas.microsoft.com/office/drawing/2014/main" id="{836AF8EB-9822-40DD-894C-79E6EAD58889}"/>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55" name="Round Same Side Corner Rectangle 43">
                <a:extLst>
                  <a:ext uri="{FF2B5EF4-FFF2-40B4-BE49-F238E27FC236}">
                    <a16:creationId xmlns:a16="http://schemas.microsoft.com/office/drawing/2014/main" id="{DA9C7593-5300-471A-8178-DDAFABEE0983}"/>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rgbClr val="86BC25"/>
              </a:solidFill>
              <a:ln w="19050" algn="ctr">
                <a:noFill/>
                <a:miter lim="800000"/>
                <a:headEnd/>
                <a:tailEnd/>
              </a:ln>
            </p:spPr>
            <p:txBody>
              <a:bodyPr wrap="square" lIns="66675" tIns="66675" rIns="66675" bIns="81000" rtlCol="0" anchor="ctr"/>
              <a:lstStyle/>
              <a:p>
                <a:pPr algn="ctr">
                  <a:defRPr/>
                </a:pPr>
                <a:endParaRPr lang="en-US" sz="1100" b="1" kern="0" dirty="0">
                  <a:solidFill>
                    <a:prstClr val="white"/>
                  </a:solidFill>
                  <a:latin typeface="Calibri"/>
                  <a:cs typeface="Calibri" panose="020F0502020204030204" pitchFamily="34" charset="0"/>
                </a:endParaRPr>
              </a:p>
            </p:txBody>
          </p:sp>
        </p:grpSp>
        <p:grpSp>
          <p:nvGrpSpPr>
            <p:cNvPr id="20" name="Group 19">
              <a:extLst>
                <a:ext uri="{FF2B5EF4-FFF2-40B4-BE49-F238E27FC236}">
                  <a16:creationId xmlns:a16="http://schemas.microsoft.com/office/drawing/2014/main" id="{E400E588-DA75-45C0-BB31-63A0682513F5}"/>
                </a:ext>
              </a:extLst>
            </p:cNvPr>
            <p:cNvGrpSpPr/>
            <p:nvPr/>
          </p:nvGrpSpPr>
          <p:grpSpPr>
            <a:xfrm>
              <a:off x="5820672" y="3617231"/>
              <a:ext cx="2530813" cy="2675714"/>
              <a:chOff x="582908" y="4047068"/>
              <a:chExt cx="2642778" cy="3211966"/>
            </a:xfrm>
            <a:solidFill>
              <a:sysClr val="window" lastClr="FFFFFF">
                <a:lumMod val="95000"/>
              </a:sysClr>
            </a:solidFill>
          </p:grpSpPr>
          <p:sp>
            <p:nvSpPr>
              <p:cNvPr id="51" name="Rectangle 50">
                <a:extLst>
                  <a:ext uri="{FF2B5EF4-FFF2-40B4-BE49-F238E27FC236}">
                    <a16:creationId xmlns:a16="http://schemas.microsoft.com/office/drawing/2014/main" id="{0BDDC224-7613-4874-9704-DD6C290CC7BC}"/>
                  </a:ext>
                </a:extLst>
              </p:cNvPr>
              <p:cNvSpPr/>
              <p:nvPr/>
            </p:nvSpPr>
            <p:spPr bwMode="gray">
              <a:xfrm>
                <a:off x="582908" y="4047068"/>
                <a:ext cx="2642778" cy="3124270"/>
              </a:xfrm>
              <a:prstGeom prst="rect">
                <a:avLst/>
              </a:prstGeom>
              <a:grpFill/>
              <a:ln w="19050" algn="ctr">
                <a:noFill/>
                <a:miter lim="800000"/>
                <a:headEnd/>
                <a:tailEnd/>
              </a:ln>
            </p:spPr>
            <p:txBody>
              <a:bodyPr wrap="square" lIns="91440" tIns="91440" rIns="91440" bIns="91440" rtlCol="0" anchor="t"/>
              <a:lstStyle/>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Best Consulting Firm of the Year Award</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Citi Performance Excellence Award</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World Tax results: Deloitte tax practice maintains tier one ranking in the GCC</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Middle East’s best Continuity and Resilience provider</a:t>
                </a:r>
              </a:p>
            </p:txBody>
          </p:sp>
          <p:sp>
            <p:nvSpPr>
              <p:cNvPr id="52" name="Rectangle 51">
                <a:extLst>
                  <a:ext uri="{FF2B5EF4-FFF2-40B4-BE49-F238E27FC236}">
                    <a16:creationId xmlns:a16="http://schemas.microsoft.com/office/drawing/2014/main" id="{CACEFF35-9D78-4A78-9421-B9708B82CA30}"/>
                  </a:ext>
                </a:extLst>
              </p:cNvPr>
              <p:cNvSpPr/>
              <p:nvPr/>
            </p:nvSpPr>
            <p:spPr bwMode="gray">
              <a:xfrm>
                <a:off x="756474" y="7171338"/>
                <a:ext cx="2295650" cy="87696"/>
              </a:xfrm>
              <a:prstGeom prst="rect">
                <a:avLst/>
              </a:prstGeom>
              <a:solidFill>
                <a:srgbClr val="86BC2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grpSp>
        <p:grpSp>
          <p:nvGrpSpPr>
            <p:cNvPr id="21" name="Group 20">
              <a:extLst>
                <a:ext uri="{FF2B5EF4-FFF2-40B4-BE49-F238E27FC236}">
                  <a16:creationId xmlns:a16="http://schemas.microsoft.com/office/drawing/2014/main" id="{04F5A464-928F-4EA2-B699-6744E754ED80}"/>
                </a:ext>
              </a:extLst>
            </p:cNvPr>
            <p:cNvGrpSpPr/>
            <p:nvPr/>
          </p:nvGrpSpPr>
          <p:grpSpPr>
            <a:xfrm>
              <a:off x="6563657" y="2178149"/>
              <a:ext cx="850454" cy="1406308"/>
              <a:chOff x="757805" y="1635343"/>
              <a:chExt cx="1185062" cy="2012973"/>
            </a:xfrm>
          </p:grpSpPr>
          <p:sp>
            <p:nvSpPr>
              <p:cNvPr id="46" name="Freeform 36">
                <a:extLst>
                  <a:ext uri="{FF2B5EF4-FFF2-40B4-BE49-F238E27FC236}">
                    <a16:creationId xmlns:a16="http://schemas.microsoft.com/office/drawing/2014/main" id="{3013CB41-42A5-404D-989D-E4C801E6A20C}"/>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rgbClr val="86BC25"/>
                </a:solidFill>
                <a:miter lim="800000"/>
                <a:headEnd type="none" w="sm" len="sm"/>
                <a:tailEnd type="oval" w="sm" len="sm"/>
              </a:ln>
            </p:spPr>
            <p:txBody>
              <a:bodyPr rtlCol="0" anchor="ctr"/>
              <a:lstStyle/>
              <a:p>
                <a:pPr algn="ctr">
                  <a:defRPr/>
                </a:pPr>
                <a:endParaRPr lang="en-US" sz="1100" kern="0" dirty="0">
                  <a:solidFill>
                    <a:prstClr val="black"/>
                  </a:solidFill>
                  <a:latin typeface="Calibri"/>
                  <a:cs typeface="Calibri" panose="020F0502020204030204" pitchFamily="34" charset="0"/>
                </a:endParaRPr>
              </a:p>
            </p:txBody>
          </p:sp>
          <p:sp>
            <p:nvSpPr>
              <p:cNvPr id="47" name="Round Same Side Corner Rectangle 37">
                <a:extLst>
                  <a:ext uri="{FF2B5EF4-FFF2-40B4-BE49-F238E27FC236}">
                    <a16:creationId xmlns:a16="http://schemas.microsoft.com/office/drawing/2014/main" id="{A49E5389-6150-4A11-A1AC-9A58D354934A}"/>
                  </a:ext>
                </a:extLst>
              </p:cNvPr>
              <p:cNvSpPr/>
              <p:nvPr/>
            </p:nvSpPr>
            <p:spPr bwMode="gray">
              <a:xfrm>
                <a:off x="1289779" y="3495046"/>
                <a:ext cx="116350" cy="108039"/>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48" name="Round Same Side Corner Rectangle 38">
                <a:extLst>
                  <a:ext uri="{FF2B5EF4-FFF2-40B4-BE49-F238E27FC236}">
                    <a16:creationId xmlns:a16="http://schemas.microsoft.com/office/drawing/2014/main" id="{F63B48D0-DF91-484E-A163-70CDAE3E8463}"/>
                  </a:ext>
                </a:extLst>
              </p:cNvPr>
              <p:cNvSpPr/>
              <p:nvPr/>
            </p:nvSpPr>
            <p:spPr bwMode="gray">
              <a:xfrm flipV="1">
                <a:off x="1312850"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49" name="Round Same Side Corner Rectangle 39">
                <a:extLst>
                  <a:ext uri="{FF2B5EF4-FFF2-40B4-BE49-F238E27FC236}">
                    <a16:creationId xmlns:a16="http://schemas.microsoft.com/office/drawing/2014/main" id="{2039BB2C-2EFB-460F-9B30-E784D835DCA9}"/>
                  </a:ext>
                </a:extLst>
              </p:cNvPr>
              <p:cNvSpPr/>
              <p:nvPr/>
            </p:nvSpPr>
            <p:spPr bwMode="gray">
              <a:xfrm flipV="1">
                <a:off x="1362714"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50" name="Oval 49">
                <a:extLst>
                  <a:ext uri="{FF2B5EF4-FFF2-40B4-BE49-F238E27FC236}">
                    <a16:creationId xmlns:a16="http://schemas.microsoft.com/office/drawing/2014/main" id="{F6D380F1-5BA6-49EE-95BF-CAB523F50ADE}"/>
                  </a:ext>
                </a:extLst>
              </p:cNvPr>
              <p:cNvSpPr/>
              <p:nvPr/>
            </p:nvSpPr>
            <p:spPr bwMode="gray">
              <a:xfrm>
                <a:off x="1329954" y="3531065"/>
                <a:ext cx="36000" cy="36000"/>
              </a:xfrm>
              <a:prstGeom prst="ellipse">
                <a:avLst/>
              </a:prstGeom>
              <a:solidFill>
                <a:sysClr val="window" lastClr="FFFFFF"/>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grpSp>
        <p:grpSp>
          <p:nvGrpSpPr>
            <p:cNvPr id="22" name="Group 21">
              <a:extLst>
                <a:ext uri="{FF2B5EF4-FFF2-40B4-BE49-F238E27FC236}">
                  <a16:creationId xmlns:a16="http://schemas.microsoft.com/office/drawing/2014/main" id="{712EAB58-E0DF-4C29-8A9B-C4EEE15FF1D5}"/>
                </a:ext>
              </a:extLst>
            </p:cNvPr>
            <p:cNvGrpSpPr/>
            <p:nvPr/>
          </p:nvGrpSpPr>
          <p:grpSpPr>
            <a:xfrm>
              <a:off x="8337693" y="1700217"/>
              <a:ext cx="2593097" cy="477939"/>
              <a:chOff x="413228" y="1371600"/>
              <a:chExt cx="1947702" cy="476173"/>
            </a:xfrm>
          </p:grpSpPr>
          <p:sp>
            <p:nvSpPr>
              <p:cNvPr id="43" name="Right Triangle 49">
                <a:extLst>
                  <a:ext uri="{FF2B5EF4-FFF2-40B4-BE49-F238E27FC236}">
                    <a16:creationId xmlns:a16="http://schemas.microsoft.com/office/drawing/2014/main" id="{99485625-75AD-4127-B7E4-5BC104EF0867}"/>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44" name="Right Triangle 49">
                <a:extLst>
                  <a:ext uri="{FF2B5EF4-FFF2-40B4-BE49-F238E27FC236}">
                    <a16:creationId xmlns:a16="http://schemas.microsoft.com/office/drawing/2014/main" id="{E20894C2-2B24-40EF-BAD0-8BB62FFDC31A}"/>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45" name="Round Same Side Corner Rectangle 43">
                <a:extLst>
                  <a:ext uri="{FF2B5EF4-FFF2-40B4-BE49-F238E27FC236}">
                    <a16:creationId xmlns:a16="http://schemas.microsoft.com/office/drawing/2014/main" id="{F686FAC6-9463-4F6E-B290-6367A75999F8}"/>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rgbClr val="86BC25"/>
              </a:solidFill>
              <a:ln w="19050" algn="ctr">
                <a:noFill/>
                <a:miter lim="800000"/>
                <a:headEnd/>
                <a:tailEnd/>
              </a:ln>
            </p:spPr>
            <p:txBody>
              <a:bodyPr wrap="square" lIns="66675" tIns="66675" rIns="66675" bIns="81000" rtlCol="0" anchor="ctr"/>
              <a:lstStyle/>
              <a:p>
                <a:pPr algn="ctr">
                  <a:defRPr/>
                </a:pPr>
                <a:endParaRPr lang="en-US" sz="1100" b="1" kern="0" dirty="0">
                  <a:solidFill>
                    <a:prstClr val="white"/>
                  </a:solidFill>
                  <a:latin typeface="Calibri"/>
                  <a:cs typeface="Calibri" panose="020F0502020204030204" pitchFamily="34" charset="0"/>
                </a:endParaRPr>
              </a:p>
            </p:txBody>
          </p:sp>
        </p:grpSp>
        <p:grpSp>
          <p:nvGrpSpPr>
            <p:cNvPr id="23" name="Group 22">
              <a:extLst>
                <a:ext uri="{FF2B5EF4-FFF2-40B4-BE49-F238E27FC236}">
                  <a16:creationId xmlns:a16="http://schemas.microsoft.com/office/drawing/2014/main" id="{35D5BBFB-B70D-470A-8383-55ADF8FADC13}"/>
                </a:ext>
              </a:extLst>
            </p:cNvPr>
            <p:cNvGrpSpPr/>
            <p:nvPr/>
          </p:nvGrpSpPr>
          <p:grpSpPr>
            <a:xfrm>
              <a:off x="8466029" y="3617231"/>
              <a:ext cx="2530813" cy="2675714"/>
              <a:chOff x="582910" y="4047068"/>
              <a:chExt cx="2642778" cy="3211966"/>
            </a:xfrm>
          </p:grpSpPr>
          <p:sp>
            <p:nvSpPr>
              <p:cNvPr id="41" name="Rectangle 40">
                <a:extLst>
                  <a:ext uri="{FF2B5EF4-FFF2-40B4-BE49-F238E27FC236}">
                    <a16:creationId xmlns:a16="http://schemas.microsoft.com/office/drawing/2014/main" id="{453B9856-D1C4-4EAC-9341-C1B57ECAB16B}"/>
                  </a:ext>
                </a:extLst>
              </p:cNvPr>
              <p:cNvSpPr/>
              <p:nvPr/>
            </p:nvSpPr>
            <p:spPr bwMode="gray">
              <a:xfrm>
                <a:off x="582910" y="4047068"/>
                <a:ext cx="2642778" cy="3124270"/>
              </a:xfrm>
              <a:prstGeom prst="rect">
                <a:avLst/>
              </a:prstGeom>
              <a:solidFill>
                <a:sysClr val="window" lastClr="FFFFFF">
                  <a:lumMod val="95000"/>
                </a:sysClr>
              </a:solidFill>
              <a:ln w="19050" algn="ctr">
                <a:noFill/>
                <a:miter lim="800000"/>
                <a:headEnd/>
                <a:tailEnd/>
              </a:ln>
            </p:spPr>
            <p:txBody>
              <a:bodyPr wrap="square" lIns="91440" tIns="91440" rIns="91440" bIns="91440" rtlCol="0" anchor="t"/>
              <a:lstStyle/>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World Tax awards Deloitte more tier one ratings than ever before</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Deloitte Middle East partner named at top of Financial Times and HERoes global champions of women in business </a:t>
                </a:r>
              </a:p>
              <a:p>
                <a:pPr marL="285750" indent="-285750">
                  <a:spcBef>
                    <a:spcPts val="600"/>
                  </a:spcBef>
                  <a:spcAft>
                    <a:spcPts val="600"/>
                  </a:spcAft>
                  <a:buFont typeface="Arial" panose="020B0604020202020204" pitchFamily="34" charset="0"/>
                  <a:buChar char="•"/>
                  <a:defRPr/>
                </a:pPr>
                <a:r>
                  <a:rPr lang="en-US" sz="1100" kern="0" dirty="0">
                    <a:solidFill>
                      <a:prstClr val="black"/>
                    </a:solidFill>
                    <a:latin typeface="Calibri"/>
                    <a:ea typeface="Verdana" panose="020B0604030504040204" pitchFamily="34" charset="0"/>
                    <a:cs typeface="Calibri" panose="020F0502020204030204" pitchFamily="34" charset="0"/>
                  </a:rPr>
                  <a:t>Central Banking Awards - Saudi Arabia (with Deloitte Canada and Hong Kong)</a:t>
                </a:r>
              </a:p>
            </p:txBody>
          </p:sp>
          <p:sp>
            <p:nvSpPr>
              <p:cNvPr id="42" name="Rectangle 41">
                <a:extLst>
                  <a:ext uri="{FF2B5EF4-FFF2-40B4-BE49-F238E27FC236}">
                    <a16:creationId xmlns:a16="http://schemas.microsoft.com/office/drawing/2014/main" id="{EE558B47-4671-4BD1-8AFB-EF50993C86BB}"/>
                  </a:ext>
                </a:extLst>
              </p:cNvPr>
              <p:cNvSpPr/>
              <p:nvPr/>
            </p:nvSpPr>
            <p:spPr bwMode="gray">
              <a:xfrm>
                <a:off x="756474" y="7171338"/>
                <a:ext cx="2295650" cy="87696"/>
              </a:xfrm>
              <a:prstGeom prst="rect">
                <a:avLst/>
              </a:prstGeom>
              <a:solidFill>
                <a:srgbClr val="86BC2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grpSp>
        <p:grpSp>
          <p:nvGrpSpPr>
            <p:cNvPr id="24" name="Group 23">
              <a:extLst>
                <a:ext uri="{FF2B5EF4-FFF2-40B4-BE49-F238E27FC236}">
                  <a16:creationId xmlns:a16="http://schemas.microsoft.com/office/drawing/2014/main" id="{82AFC5E7-9CAD-4E12-8670-5F23338D6B2A}"/>
                </a:ext>
              </a:extLst>
            </p:cNvPr>
            <p:cNvGrpSpPr/>
            <p:nvPr/>
          </p:nvGrpSpPr>
          <p:grpSpPr>
            <a:xfrm>
              <a:off x="9209014" y="2178149"/>
              <a:ext cx="850454" cy="1406308"/>
              <a:chOff x="757805" y="1635343"/>
              <a:chExt cx="1185062" cy="2012973"/>
            </a:xfrm>
          </p:grpSpPr>
          <p:sp>
            <p:nvSpPr>
              <p:cNvPr id="36" name="Freeform 36">
                <a:extLst>
                  <a:ext uri="{FF2B5EF4-FFF2-40B4-BE49-F238E27FC236}">
                    <a16:creationId xmlns:a16="http://schemas.microsoft.com/office/drawing/2014/main" id="{9E45736A-28FC-43E1-9A01-4BEB580AE8A6}"/>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rgbClr val="86BC25"/>
                </a:solidFill>
                <a:miter lim="800000"/>
                <a:headEnd type="none" w="sm" len="sm"/>
                <a:tailEnd type="oval" w="sm" len="sm"/>
              </a:ln>
            </p:spPr>
            <p:txBody>
              <a:bodyPr rtlCol="0" anchor="ctr"/>
              <a:lstStyle/>
              <a:p>
                <a:pPr algn="ctr">
                  <a:defRPr/>
                </a:pPr>
                <a:endParaRPr lang="en-US" sz="1100" kern="0" dirty="0">
                  <a:solidFill>
                    <a:prstClr val="black"/>
                  </a:solidFill>
                  <a:latin typeface="Calibri"/>
                  <a:cs typeface="Calibri" panose="020F0502020204030204" pitchFamily="34" charset="0"/>
                </a:endParaRPr>
              </a:p>
            </p:txBody>
          </p:sp>
          <p:sp>
            <p:nvSpPr>
              <p:cNvPr id="37" name="Round Same Side Corner Rectangle 37">
                <a:extLst>
                  <a:ext uri="{FF2B5EF4-FFF2-40B4-BE49-F238E27FC236}">
                    <a16:creationId xmlns:a16="http://schemas.microsoft.com/office/drawing/2014/main" id="{EB98B76B-272D-4ADF-80F9-ABFDA4BC7FA9}"/>
                  </a:ext>
                </a:extLst>
              </p:cNvPr>
              <p:cNvSpPr/>
              <p:nvPr/>
            </p:nvSpPr>
            <p:spPr bwMode="gray">
              <a:xfrm>
                <a:off x="1289779" y="3495046"/>
                <a:ext cx="116350" cy="108039"/>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38" name="Round Same Side Corner Rectangle 38">
                <a:extLst>
                  <a:ext uri="{FF2B5EF4-FFF2-40B4-BE49-F238E27FC236}">
                    <a16:creationId xmlns:a16="http://schemas.microsoft.com/office/drawing/2014/main" id="{8852D017-ECF1-481B-A601-DD6AAC710CCD}"/>
                  </a:ext>
                </a:extLst>
              </p:cNvPr>
              <p:cNvSpPr/>
              <p:nvPr/>
            </p:nvSpPr>
            <p:spPr bwMode="gray">
              <a:xfrm flipV="1">
                <a:off x="1312850"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39" name="Round Same Side Corner Rectangle 39">
                <a:extLst>
                  <a:ext uri="{FF2B5EF4-FFF2-40B4-BE49-F238E27FC236}">
                    <a16:creationId xmlns:a16="http://schemas.microsoft.com/office/drawing/2014/main" id="{FC5F30D5-A391-417A-919B-31D4D09995C8}"/>
                  </a:ext>
                </a:extLst>
              </p:cNvPr>
              <p:cNvSpPr/>
              <p:nvPr/>
            </p:nvSpPr>
            <p:spPr bwMode="gray">
              <a:xfrm flipV="1">
                <a:off x="1362714"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sp>
            <p:nvSpPr>
              <p:cNvPr id="40" name="Oval 39">
                <a:extLst>
                  <a:ext uri="{FF2B5EF4-FFF2-40B4-BE49-F238E27FC236}">
                    <a16:creationId xmlns:a16="http://schemas.microsoft.com/office/drawing/2014/main" id="{3205053C-1ED6-461A-9A3B-9C57E7431D57}"/>
                  </a:ext>
                </a:extLst>
              </p:cNvPr>
              <p:cNvSpPr/>
              <p:nvPr/>
            </p:nvSpPr>
            <p:spPr bwMode="gray">
              <a:xfrm>
                <a:off x="1329954" y="3531065"/>
                <a:ext cx="36000" cy="36000"/>
              </a:xfrm>
              <a:prstGeom prst="ellipse">
                <a:avLst/>
              </a:prstGeom>
              <a:solidFill>
                <a:sysClr val="window" lastClr="FFFFFF"/>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100" kern="0" dirty="0">
                  <a:solidFill>
                    <a:prstClr val="white"/>
                  </a:solidFill>
                  <a:latin typeface="Calibri"/>
                  <a:cs typeface="Calibri" panose="020F0502020204030204" pitchFamily="34" charset="0"/>
                </a:endParaRPr>
              </a:p>
            </p:txBody>
          </p:sp>
        </p:grpSp>
        <p:grpSp>
          <p:nvGrpSpPr>
            <p:cNvPr id="25" name="Group 24">
              <a:extLst>
                <a:ext uri="{FF2B5EF4-FFF2-40B4-BE49-F238E27FC236}">
                  <a16:creationId xmlns:a16="http://schemas.microsoft.com/office/drawing/2014/main" id="{00A34ADF-D3B4-4873-AA61-D2ABF28654AD}"/>
                </a:ext>
              </a:extLst>
            </p:cNvPr>
            <p:cNvGrpSpPr>
              <a:grpSpLocks noChangeAspect="1"/>
            </p:cNvGrpSpPr>
            <p:nvPr/>
          </p:nvGrpSpPr>
          <p:grpSpPr>
            <a:xfrm>
              <a:off x="9318540" y="2298423"/>
              <a:ext cx="631430" cy="627631"/>
              <a:chOff x="6537910" y="4611206"/>
              <a:chExt cx="1849437" cy="1838325"/>
            </a:xfrm>
            <a:solidFill>
              <a:srgbClr val="86BC25"/>
            </a:solidFill>
          </p:grpSpPr>
          <p:sp>
            <p:nvSpPr>
              <p:cNvPr id="29" name="Freeform 15">
                <a:extLst>
                  <a:ext uri="{FF2B5EF4-FFF2-40B4-BE49-F238E27FC236}">
                    <a16:creationId xmlns:a16="http://schemas.microsoft.com/office/drawing/2014/main" id="{1BCCD1D8-DC6E-4DB8-A77C-8EFA3B210C1C}"/>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1100" kern="0" dirty="0">
                  <a:solidFill>
                    <a:prstClr val="black"/>
                  </a:solidFill>
                  <a:latin typeface="Calibri"/>
                  <a:cs typeface="Calibri" panose="020F0502020204030204" pitchFamily="34" charset="0"/>
                </a:endParaRPr>
              </a:p>
            </p:txBody>
          </p:sp>
          <p:sp>
            <p:nvSpPr>
              <p:cNvPr id="30" name="Freeform 16">
                <a:extLst>
                  <a:ext uri="{FF2B5EF4-FFF2-40B4-BE49-F238E27FC236}">
                    <a16:creationId xmlns:a16="http://schemas.microsoft.com/office/drawing/2014/main" id="{4EE9807B-78B3-470C-AF99-92613A36257F}"/>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1100" kern="0" dirty="0">
                  <a:solidFill>
                    <a:prstClr val="black"/>
                  </a:solidFill>
                  <a:latin typeface="Calibri"/>
                  <a:cs typeface="Calibri" panose="020F0502020204030204" pitchFamily="34" charset="0"/>
                </a:endParaRPr>
              </a:p>
            </p:txBody>
          </p:sp>
          <p:sp>
            <p:nvSpPr>
              <p:cNvPr id="31" name="Freeform 17">
                <a:extLst>
                  <a:ext uri="{FF2B5EF4-FFF2-40B4-BE49-F238E27FC236}">
                    <a16:creationId xmlns:a16="http://schemas.microsoft.com/office/drawing/2014/main" id="{C53B6A36-5A21-4B7C-9163-06F6F64C8F05}"/>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1100" kern="0" dirty="0">
                  <a:solidFill>
                    <a:prstClr val="black"/>
                  </a:solidFill>
                  <a:latin typeface="Calibri"/>
                  <a:cs typeface="Calibri" panose="020F0502020204030204" pitchFamily="34" charset="0"/>
                </a:endParaRPr>
              </a:p>
            </p:txBody>
          </p:sp>
          <p:sp>
            <p:nvSpPr>
              <p:cNvPr id="32" name="Freeform 18">
                <a:extLst>
                  <a:ext uri="{FF2B5EF4-FFF2-40B4-BE49-F238E27FC236}">
                    <a16:creationId xmlns:a16="http://schemas.microsoft.com/office/drawing/2014/main" id="{93E2967B-0061-45AD-82B2-FF91168D5EB7}"/>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1100" kern="0" dirty="0">
                  <a:solidFill>
                    <a:prstClr val="black"/>
                  </a:solidFill>
                  <a:latin typeface="Calibri"/>
                  <a:cs typeface="Calibri" panose="020F0502020204030204" pitchFamily="34" charset="0"/>
                </a:endParaRPr>
              </a:p>
            </p:txBody>
          </p:sp>
          <p:sp>
            <p:nvSpPr>
              <p:cNvPr id="33" name="Freeform 19">
                <a:extLst>
                  <a:ext uri="{FF2B5EF4-FFF2-40B4-BE49-F238E27FC236}">
                    <a16:creationId xmlns:a16="http://schemas.microsoft.com/office/drawing/2014/main" id="{1FC342C6-F60A-45A3-AE9E-D42A356D7989}"/>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1100" kern="0" dirty="0">
                  <a:solidFill>
                    <a:prstClr val="black"/>
                  </a:solidFill>
                  <a:latin typeface="Calibri"/>
                  <a:cs typeface="Calibri" panose="020F0502020204030204" pitchFamily="34" charset="0"/>
                </a:endParaRPr>
              </a:p>
            </p:txBody>
          </p:sp>
          <p:sp>
            <p:nvSpPr>
              <p:cNvPr id="34" name="Freeform 20">
                <a:extLst>
                  <a:ext uri="{FF2B5EF4-FFF2-40B4-BE49-F238E27FC236}">
                    <a16:creationId xmlns:a16="http://schemas.microsoft.com/office/drawing/2014/main" id="{82022DAB-8BD7-4A8C-8F55-6E2E95178101}"/>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1100" kern="0" dirty="0">
                  <a:solidFill>
                    <a:prstClr val="black"/>
                  </a:solidFill>
                  <a:latin typeface="Calibri"/>
                  <a:cs typeface="Calibri" panose="020F0502020204030204" pitchFamily="34" charset="0"/>
                </a:endParaRPr>
              </a:p>
            </p:txBody>
          </p:sp>
          <p:sp>
            <p:nvSpPr>
              <p:cNvPr id="35" name="Freeform 21">
                <a:extLst>
                  <a:ext uri="{FF2B5EF4-FFF2-40B4-BE49-F238E27FC236}">
                    <a16:creationId xmlns:a16="http://schemas.microsoft.com/office/drawing/2014/main" id="{D1CF8A32-FAA0-4D3F-8379-95F0D89DC587}"/>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1100" kern="0" dirty="0">
                  <a:solidFill>
                    <a:prstClr val="black"/>
                  </a:solidFill>
                  <a:latin typeface="Calibri"/>
                  <a:cs typeface="Calibri" panose="020F0502020204030204" pitchFamily="34" charset="0"/>
                </a:endParaRPr>
              </a:p>
            </p:txBody>
          </p:sp>
        </p:grpSp>
        <p:grpSp>
          <p:nvGrpSpPr>
            <p:cNvPr id="26" name="Group 569">
              <a:extLst>
                <a:ext uri="{FF2B5EF4-FFF2-40B4-BE49-F238E27FC236}">
                  <a16:creationId xmlns:a16="http://schemas.microsoft.com/office/drawing/2014/main" id="{E06AA93C-9B60-42EA-B752-99186083D284}"/>
                </a:ext>
              </a:extLst>
            </p:cNvPr>
            <p:cNvGrpSpPr>
              <a:grpSpLocks noChangeAspect="1"/>
            </p:cNvGrpSpPr>
            <p:nvPr/>
          </p:nvGrpSpPr>
          <p:grpSpPr bwMode="auto">
            <a:xfrm>
              <a:off x="6680911" y="2310120"/>
              <a:ext cx="615945" cy="615946"/>
              <a:chOff x="5648" y="3248"/>
              <a:chExt cx="340" cy="340"/>
            </a:xfrm>
            <a:solidFill>
              <a:srgbClr val="86BC25"/>
            </a:solidFill>
          </p:grpSpPr>
          <p:sp>
            <p:nvSpPr>
              <p:cNvPr id="27" name="Freeform 570">
                <a:extLst>
                  <a:ext uri="{FF2B5EF4-FFF2-40B4-BE49-F238E27FC236}">
                    <a16:creationId xmlns:a16="http://schemas.microsoft.com/office/drawing/2014/main" id="{4441E4BE-FF80-4ACB-A532-A879B2072074}"/>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GB" sz="1100" kern="0" dirty="0">
                  <a:solidFill>
                    <a:prstClr val="black"/>
                  </a:solidFill>
                  <a:latin typeface="Calibri"/>
                  <a:cs typeface="Calibri" panose="020F0502020204030204" pitchFamily="34" charset="0"/>
                </a:endParaRPr>
              </a:p>
            </p:txBody>
          </p:sp>
          <p:sp>
            <p:nvSpPr>
              <p:cNvPr id="28" name="Freeform 571">
                <a:extLst>
                  <a:ext uri="{FF2B5EF4-FFF2-40B4-BE49-F238E27FC236}">
                    <a16:creationId xmlns:a16="http://schemas.microsoft.com/office/drawing/2014/main" id="{42D45A27-77C8-45BE-BC72-030DE62662F4}"/>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GB" sz="1100" kern="0" dirty="0">
                  <a:solidFill>
                    <a:prstClr val="black"/>
                  </a:solidFill>
                  <a:latin typeface="Calibri"/>
                  <a:cs typeface="Calibri" panose="020F0502020204030204" pitchFamily="34" charset="0"/>
                </a:endParaRPr>
              </a:p>
            </p:txBody>
          </p:sp>
        </p:grpSp>
      </p:grpSp>
    </p:spTree>
    <p:extLst>
      <p:ext uri="{BB962C8B-B14F-4D97-AF65-F5344CB8AC3E}">
        <p14:creationId xmlns:p14="http://schemas.microsoft.com/office/powerpoint/2010/main" val="1012448482"/>
      </p:ext>
    </p:extLst>
  </p:cSld>
  <p:clrMapOvr>
    <a:masterClrMapping/>
  </p:clrMapOvr>
  <p:transition spd="med">
    <p:pull/>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7A9D4386-815B-44E6-9526-0FD6104C187E}"/>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98EE3D90-9EC4-4CBE-BE11-ADB7A6947B1B}"/>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2">
            <a:extLst>
              <a:ext uri="{FF2B5EF4-FFF2-40B4-BE49-F238E27FC236}">
                <a16:creationId xmlns:a16="http://schemas.microsoft.com/office/drawing/2014/main" id="{126425B7-D4EE-48A3-ADBD-D90392A30576}"/>
              </a:ext>
            </a:extLst>
          </p:cNvPr>
          <p:cNvSpPr txBox="1">
            <a:spLocks/>
          </p:cNvSpPr>
          <p:nvPr/>
        </p:nvSpPr>
        <p:spPr bwMode="gray">
          <a:xfrm>
            <a:off x="448633" y="39164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dirty="0">
                <a:solidFill>
                  <a:prstClr val="black"/>
                </a:solidFill>
                <a:latin typeface="Calibri" panose="020F0502020204030204" pitchFamily="34" charset="0"/>
              </a:rPr>
              <a:t>About Deloitte Global professional services firm</a:t>
            </a:r>
          </a:p>
        </p:txBody>
      </p:sp>
      <p:sp>
        <p:nvSpPr>
          <p:cNvPr id="5" name="Text Placeholder 1">
            <a:extLst>
              <a:ext uri="{FF2B5EF4-FFF2-40B4-BE49-F238E27FC236}">
                <a16:creationId xmlns:a16="http://schemas.microsoft.com/office/drawing/2014/main" id="{66FE7C8F-7C33-45B4-8E67-C1C1FDC1EAED}"/>
              </a:ext>
            </a:extLst>
          </p:cNvPr>
          <p:cNvSpPr txBox="1">
            <a:spLocks/>
          </p:cNvSpPr>
          <p:nvPr/>
        </p:nvSpPr>
        <p:spPr>
          <a:xfrm>
            <a:off x="469899" y="736689"/>
            <a:ext cx="10648963" cy="340271"/>
          </a:xfrm>
          <a:prstGeom prst="rect">
            <a:avLst/>
          </a:prstGeom>
        </p:spPr>
        <p:txBody>
          <a:bodyPr lIns="0" tIns="0" rIns="0" bIns="0"/>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2400" dirty="0">
                <a:solidFill>
                  <a:srgbClr val="343434"/>
                </a:solidFill>
                <a:latin typeface="Calibri" panose="020F0502020204030204" pitchFamily="34" charset="0"/>
              </a:rPr>
              <a:t>Our Awards and Capabilities – Capabilities</a:t>
            </a:r>
          </a:p>
        </p:txBody>
      </p:sp>
      <p:sp>
        <p:nvSpPr>
          <p:cNvPr id="8" name="Text Placeholder 1">
            <a:extLst>
              <a:ext uri="{FF2B5EF4-FFF2-40B4-BE49-F238E27FC236}">
                <a16:creationId xmlns:a16="http://schemas.microsoft.com/office/drawing/2014/main" id="{73CB330D-A4F4-4B3A-9E58-C5D02B8076F8}"/>
              </a:ext>
            </a:extLst>
          </p:cNvPr>
          <p:cNvSpPr txBox="1">
            <a:spLocks/>
          </p:cNvSpPr>
          <p:nvPr/>
        </p:nvSpPr>
        <p:spPr>
          <a:xfrm>
            <a:off x="5243702" y="2434025"/>
            <a:ext cx="4463343" cy="371355"/>
          </a:xfrm>
          <a:prstGeom prst="rect">
            <a:avLst/>
          </a:prstGeom>
        </p:spPr>
        <p:txBody>
          <a:bodyPr vert="horz" lIns="0" tIns="0" rIns="0" bIns="0" rtlCol="0">
            <a:noAutofit/>
          </a:bodyPr>
          <a:lstStyle>
            <a:lvl1pPr marL="0" indent="0" algn="l" defTabSz="990577" rtl="0" eaLnBrk="1" latinLnBrk="0" hangingPunct="1">
              <a:spcBef>
                <a:spcPts val="0"/>
              </a:spcBef>
              <a:spcAft>
                <a:spcPts val="1082"/>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90577" rtl="0" eaLnBrk="1" latinLnBrk="0" hangingPunct="1">
              <a:spcBef>
                <a:spcPts val="0"/>
              </a:spcBef>
              <a:spcAft>
                <a:spcPts val="1082"/>
              </a:spcAft>
              <a:buClrTx/>
              <a:buSzPct val="100000"/>
              <a:buFont typeface="Arial"/>
              <a:buNone/>
              <a:defRPr lang="en-US" sz="1000" b="1" kern="1200" dirty="0" smtClean="0">
                <a:solidFill>
                  <a:schemeClr val="tx1"/>
                </a:solidFill>
                <a:latin typeface="+mn-lt"/>
                <a:ea typeface="+mn-ea"/>
                <a:cs typeface="+mn-cs"/>
              </a:defRPr>
            </a:lvl2pPr>
            <a:lvl3pPr marL="191095" indent="-191095" algn="l" defTabSz="990577" rtl="0" eaLnBrk="1" latinLnBrk="0" hangingPunct="1">
              <a:spcBef>
                <a:spcPts val="0"/>
              </a:spcBef>
              <a:spcAft>
                <a:spcPts val="1082"/>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92" indent="-191095" algn="l" defTabSz="990577" rtl="0" eaLnBrk="1" latinLnBrk="0" hangingPunct="1">
              <a:spcBef>
                <a:spcPts val="0"/>
              </a:spcBef>
              <a:spcAft>
                <a:spcPts val="1082"/>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6" indent="-191095" algn="l" defTabSz="865035" rtl="0" eaLnBrk="1" latinLnBrk="0" hangingPunct="1">
              <a:spcBef>
                <a:spcPts val="0"/>
              </a:spcBef>
              <a:spcAft>
                <a:spcPts val="1082"/>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6pPr>
            <a:lvl7pPr marL="577186" indent="-191095" algn="l" defTabSz="990577" rtl="0" eaLnBrk="1" latinLnBrk="0" hangingPunct="1">
              <a:spcBef>
                <a:spcPts val="0"/>
              </a:spcBef>
              <a:spcAft>
                <a:spcPts val="1082"/>
              </a:spcAft>
              <a:buFont typeface="Verdana" panose="020B0604030504040204" pitchFamily="34" charset="0"/>
              <a:buChar char="−"/>
              <a:defRPr sz="1300" kern="1200">
                <a:solidFill>
                  <a:schemeClr val="tx1"/>
                </a:solidFill>
                <a:latin typeface="+mn-lt"/>
                <a:ea typeface="+mn-ea"/>
                <a:cs typeface="+mn-cs"/>
              </a:defRPr>
            </a:lvl7pPr>
            <a:lvl8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8pPr>
            <a:lvl9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9pPr>
          </a:lstStyle>
          <a:p>
            <a:pPr>
              <a:defRPr/>
            </a:pPr>
            <a:endParaRPr lang="en-US" sz="1600" dirty="0">
              <a:solidFill>
                <a:prstClr val="white">
                  <a:lumMod val="50000"/>
                </a:prstClr>
              </a:solidFill>
              <a:latin typeface="Calibri"/>
              <a:cs typeface="Calibri" panose="020F0502020204030204" pitchFamily="34" charset="0"/>
            </a:endParaRPr>
          </a:p>
        </p:txBody>
      </p:sp>
      <p:sp>
        <p:nvSpPr>
          <p:cNvPr id="9" name="Text Placeholder 1">
            <a:extLst>
              <a:ext uri="{FF2B5EF4-FFF2-40B4-BE49-F238E27FC236}">
                <a16:creationId xmlns:a16="http://schemas.microsoft.com/office/drawing/2014/main" id="{D3C31441-AABB-4AA0-B015-F263CF2CF7A8}"/>
              </a:ext>
            </a:extLst>
          </p:cNvPr>
          <p:cNvSpPr txBox="1">
            <a:spLocks/>
          </p:cNvSpPr>
          <p:nvPr/>
        </p:nvSpPr>
        <p:spPr>
          <a:xfrm>
            <a:off x="5243702" y="2434025"/>
            <a:ext cx="4463343" cy="371355"/>
          </a:xfrm>
          <a:prstGeom prst="rect">
            <a:avLst/>
          </a:prstGeom>
        </p:spPr>
        <p:txBody>
          <a:bodyPr vert="horz" lIns="0" tIns="0" rIns="0" bIns="0" rtlCol="0">
            <a:noAutofit/>
          </a:bodyPr>
          <a:lstStyle>
            <a:lvl1pPr marL="0" indent="0" algn="l" defTabSz="990577" rtl="0" eaLnBrk="1" latinLnBrk="0" hangingPunct="1">
              <a:spcBef>
                <a:spcPts val="0"/>
              </a:spcBef>
              <a:spcAft>
                <a:spcPts val="1082"/>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90577" rtl="0" eaLnBrk="1" latinLnBrk="0" hangingPunct="1">
              <a:spcBef>
                <a:spcPts val="0"/>
              </a:spcBef>
              <a:spcAft>
                <a:spcPts val="1082"/>
              </a:spcAft>
              <a:buClrTx/>
              <a:buSzPct val="100000"/>
              <a:buFont typeface="Arial"/>
              <a:buNone/>
              <a:defRPr lang="en-US" sz="1000" b="1" kern="1200" dirty="0" smtClean="0">
                <a:solidFill>
                  <a:schemeClr val="tx1"/>
                </a:solidFill>
                <a:latin typeface="+mn-lt"/>
                <a:ea typeface="+mn-ea"/>
                <a:cs typeface="+mn-cs"/>
              </a:defRPr>
            </a:lvl2pPr>
            <a:lvl3pPr marL="191095" indent="-191095" algn="l" defTabSz="990577" rtl="0" eaLnBrk="1" latinLnBrk="0" hangingPunct="1">
              <a:spcBef>
                <a:spcPts val="0"/>
              </a:spcBef>
              <a:spcAft>
                <a:spcPts val="1082"/>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92" indent="-191095" algn="l" defTabSz="990577" rtl="0" eaLnBrk="1" latinLnBrk="0" hangingPunct="1">
              <a:spcBef>
                <a:spcPts val="0"/>
              </a:spcBef>
              <a:spcAft>
                <a:spcPts val="1082"/>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6" indent="-191095" algn="l" defTabSz="865035" rtl="0" eaLnBrk="1" latinLnBrk="0" hangingPunct="1">
              <a:spcBef>
                <a:spcPts val="0"/>
              </a:spcBef>
              <a:spcAft>
                <a:spcPts val="1082"/>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6pPr>
            <a:lvl7pPr marL="577186" indent="-191095" algn="l" defTabSz="990577" rtl="0" eaLnBrk="1" latinLnBrk="0" hangingPunct="1">
              <a:spcBef>
                <a:spcPts val="0"/>
              </a:spcBef>
              <a:spcAft>
                <a:spcPts val="1082"/>
              </a:spcAft>
              <a:buFont typeface="Verdana" panose="020B0604030504040204" pitchFamily="34" charset="0"/>
              <a:buChar char="−"/>
              <a:defRPr sz="1300" kern="1200">
                <a:solidFill>
                  <a:schemeClr val="tx1"/>
                </a:solidFill>
                <a:latin typeface="+mn-lt"/>
                <a:ea typeface="+mn-ea"/>
                <a:cs typeface="+mn-cs"/>
              </a:defRPr>
            </a:lvl7pPr>
            <a:lvl8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8pPr>
            <a:lvl9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9pPr>
          </a:lstStyle>
          <a:p>
            <a:pPr>
              <a:defRPr/>
            </a:pPr>
            <a:endParaRPr lang="en-US" sz="1600" dirty="0">
              <a:solidFill>
                <a:prstClr val="white">
                  <a:lumMod val="50000"/>
                </a:prstClr>
              </a:solidFill>
              <a:latin typeface="Calibri"/>
              <a:cs typeface="Calibri" panose="020F0502020204030204" pitchFamily="34" charset="0"/>
            </a:endParaRPr>
          </a:p>
        </p:txBody>
      </p:sp>
      <p:sp>
        <p:nvSpPr>
          <p:cNvPr id="10" name="Text Placeholder 1">
            <a:extLst>
              <a:ext uri="{FF2B5EF4-FFF2-40B4-BE49-F238E27FC236}">
                <a16:creationId xmlns:a16="http://schemas.microsoft.com/office/drawing/2014/main" id="{6262DE9A-CADB-4070-810B-8A3CFBC79CD4}"/>
              </a:ext>
            </a:extLst>
          </p:cNvPr>
          <p:cNvSpPr txBox="1">
            <a:spLocks/>
          </p:cNvSpPr>
          <p:nvPr/>
        </p:nvSpPr>
        <p:spPr>
          <a:xfrm>
            <a:off x="5243702" y="2484825"/>
            <a:ext cx="4463343" cy="371355"/>
          </a:xfrm>
          <a:prstGeom prst="rect">
            <a:avLst/>
          </a:prstGeom>
        </p:spPr>
        <p:txBody>
          <a:bodyPr vert="horz" lIns="0" tIns="0" rIns="0" bIns="0" rtlCol="0">
            <a:noAutofit/>
          </a:bodyPr>
          <a:lstStyle>
            <a:lvl1pPr marL="0" indent="0" algn="l" defTabSz="990577" rtl="0" eaLnBrk="1" latinLnBrk="0" hangingPunct="1">
              <a:spcBef>
                <a:spcPts val="0"/>
              </a:spcBef>
              <a:spcAft>
                <a:spcPts val="1082"/>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90577" rtl="0" eaLnBrk="1" latinLnBrk="0" hangingPunct="1">
              <a:spcBef>
                <a:spcPts val="0"/>
              </a:spcBef>
              <a:spcAft>
                <a:spcPts val="1082"/>
              </a:spcAft>
              <a:buClrTx/>
              <a:buSzPct val="100000"/>
              <a:buFont typeface="Arial"/>
              <a:buNone/>
              <a:defRPr lang="en-US" sz="1000" b="1" kern="1200" dirty="0" smtClean="0">
                <a:solidFill>
                  <a:schemeClr val="tx1"/>
                </a:solidFill>
                <a:latin typeface="+mn-lt"/>
                <a:ea typeface="+mn-ea"/>
                <a:cs typeface="+mn-cs"/>
              </a:defRPr>
            </a:lvl2pPr>
            <a:lvl3pPr marL="191095" indent="-191095" algn="l" defTabSz="990577" rtl="0" eaLnBrk="1" latinLnBrk="0" hangingPunct="1">
              <a:spcBef>
                <a:spcPts val="0"/>
              </a:spcBef>
              <a:spcAft>
                <a:spcPts val="1082"/>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92" indent="-191095" algn="l" defTabSz="990577" rtl="0" eaLnBrk="1" latinLnBrk="0" hangingPunct="1">
              <a:spcBef>
                <a:spcPts val="0"/>
              </a:spcBef>
              <a:spcAft>
                <a:spcPts val="1082"/>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6" indent="-191095" algn="l" defTabSz="865035" rtl="0" eaLnBrk="1" latinLnBrk="0" hangingPunct="1">
              <a:spcBef>
                <a:spcPts val="0"/>
              </a:spcBef>
              <a:spcAft>
                <a:spcPts val="1082"/>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6pPr>
            <a:lvl7pPr marL="577186" indent="-191095" algn="l" defTabSz="990577" rtl="0" eaLnBrk="1" latinLnBrk="0" hangingPunct="1">
              <a:spcBef>
                <a:spcPts val="0"/>
              </a:spcBef>
              <a:spcAft>
                <a:spcPts val="1082"/>
              </a:spcAft>
              <a:buFont typeface="Verdana" panose="020B0604030504040204" pitchFamily="34" charset="0"/>
              <a:buChar char="−"/>
              <a:defRPr sz="1300" kern="1200">
                <a:solidFill>
                  <a:schemeClr val="tx1"/>
                </a:solidFill>
                <a:latin typeface="+mn-lt"/>
                <a:ea typeface="+mn-ea"/>
                <a:cs typeface="+mn-cs"/>
              </a:defRPr>
            </a:lvl7pPr>
            <a:lvl8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8pPr>
            <a:lvl9pPr marL="577186" indent="-191095" algn="l" defTabSz="990577" rtl="0" eaLnBrk="1" latinLnBrk="0" hangingPunct="1">
              <a:spcBef>
                <a:spcPts val="0"/>
              </a:spcBef>
              <a:spcAft>
                <a:spcPts val="1082"/>
              </a:spcAft>
              <a:buFont typeface="Verdana" panose="020B0604030504040204" pitchFamily="34" charset="0"/>
              <a:buChar char="−"/>
              <a:defRPr sz="1300" kern="1200" baseline="0">
                <a:solidFill>
                  <a:schemeClr val="tx1"/>
                </a:solidFill>
                <a:latin typeface="+mn-lt"/>
                <a:ea typeface="+mn-ea"/>
                <a:cs typeface="+mn-cs"/>
              </a:defRPr>
            </a:lvl9pPr>
          </a:lstStyle>
          <a:p>
            <a:pPr>
              <a:defRPr/>
            </a:pPr>
            <a:endParaRPr lang="en-US" sz="1600" dirty="0">
              <a:solidFill>
                <a:prstClr val="white">
                  <a:lumMod val="50000"/>
                </a:prstClr>
              </a:solidFill>
              <a:latin typeface="Calibri"/>
              <a:cs typeface="Calibri" panose="020F0502020204030204" pitchFamily="34" charset="0"/>
            </a:endParaRPr>
          </a:p>
        </p:txBody>
      </p:sp>
      <p:sp>
        <p:nvSpPr>
          <p:cNvPr id="11" name="Text Placeholder 2">
            <a:extLst>
              <a:ext uri="{FF2B5EF4-FFF2-40B4-BE49-F238E27FC236}">
                <a16:creationId xmlns:a16="http://schemas.microsoft.com/office/drawing/2014/main" id="{70D5137D-7232-4E49-8788-E585BDDB1264}"/>
              </a:ext>
            </a:extLst>
          </p:cNvPr>
          <p:cNvSpPr txBox="1">
            <a:spLocks/>
          </p:cNvSpPr>
          <p:nvPr/>
        </p:nvSpPr>
        <p:spPr>
          <a:xfrm>
            <a:off x="448673" y="1476938"/>
            <a:ext cx="7315200" cy="75725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endParaRPr lang="en-US" sz="1400" b="1" dirty="0">
              <a:solidFill>
                <a:prstClr val="black"/>
              </a:solidFill>
              <a:latin typeface="Calibri"/>
              <a:cs typeface="Calibri" panose="020F0502020204030204" pitchFamily="34" charset="0"/>
            </a:endParaRPr>
          </a:p>
        </p:txBody>
      </p:sp>
      <p:sp>
        <p:nvSpPr>
          <p:cNvPr id="12" name="Right Arrow 2">
            <a:extLst>
              <a:ext uri="{FF2B5EF4-FFF2-40B4-BE49-F238E27FC236}">
                <a16:creationId xmlns:a16="http://schemas.microsoft.com/office/drawing/2014/main" id="{AA968689-B6CC-4B2C-BDDC-B75281CFE67E}"/>
              </a:ext>
            </a:extLst>
          </p:cNvPr>
          <p:cNvSpPr/>
          <p:nvPr/>
        </p:nvSpPr>
        <p:spPr bwMode="gray">
          <a:xfrm>
            <a:off x="448672" y="2026724"/>
            <a:ext cx="10597795" cy="1880115"/>
          </a:xfrm>
          <a:prstGeom prst="rightArrow">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600" b="1" kern="0" dirty="0">
              <a:solidFill>
                <a:prstClr val="white"/>
              </a:solidFill>
              <a:latin typeface="Calibri"/>
              <a:cs typeface="Calibri" panose="020F0502020204030204" pitchFamily="34" charset="0"/>
            </a:endParaRPr>
          </a:p>
        </p:txBody>
      </p:sp>
      <p:sp>
        <p:nvSpPr>
          <p:cNvPr id="13" name="Oval 12">
            <a:extLst>
              <a:ext uri="{FF2B5EF4-FFF2-40B4-BE49-F238E27FC236}">
                <a16:creationId xmlns:a16="http://schemas.microsoft.com/office/drawing/2014/main" id="{EFBFCD7B-CC34-48DF-9FBF-396EB82DEF52}"/>
              </a:ext>
            </a:extLst>
          </p:cNvPr>
          <p:cNvSpPr/>
          <p:nvPr/>
        </p:nvSpPr>
        <p:spPr bwMode="gray">
          <a:xfrm>
            <a:off x="539751" y="1646239"/>
            <a:ext cx="2260600" cy="2260600"/>
          </a:xfrm>
          <a:prstGeom prst="ellipse">
            <a:avLst/>
          </a:prstGeom>
          <a:solidFill>
            <a:sysClr val="window" lastClr="FFFFFF"/>
          </a:solidFill>
          <a:ln w="19050" algn="ctr">
            <a:solidFill>
              <a:srgbClr val="86BC25"/>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endParaRPr lang="en-US" sz="1600" b="1" kern="0" dirty="0">
              <a:solidFill>
                <a:prstClr val="white"/>
              </a:solidFill>
              <a:latin typeface="Calibri"/>
              <a:cs typeface="Calibri" panose="020F0502020204030204" pitchFamily="34" charset="0"/>
            </a:endParaRPr>
          </a:p>
        </p:txBody>
      </p:sp>
      <p:pic>
        <p:nvPicPr>
          <p:cNvPr id="14" name="Picture 4" descr="https://global.deloitteresources.com/ClientsIndustries/ps/PublishingImages/Solution.png">
            <a:extLst>
              <a:ext uri="{FF2B5EF4-FFF2-40B4-BE49-F238E27FC236}">
                <a16:creationId xmlns:a16="http://schemas.microsoft.com/office/drawing/2014/main" id="{4AFE688C-6DD3-45E7-8C27-76A3B488E824}"/>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36167" y="2662742"/>
            <a:ext cx="501754" cy="581969"/>
          </a:xfrm>
          <a:prstGeom prst="rect">
            <a:avLst/>
          </a:prstGeom>
          <a:noFill/>
          <a:ln>
            <a:solidFill>
              <a:sysClr val="window" lastClr="FFFFFF">
                <a:lumMod val="85000"/>
              </a:sysClr>
            </a:solidFill>
          </a:ln>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5C498C3F-452B-477B-94D2-4AC7D8AC5C6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89509" y="2718866"/>
            <a:ext cx="600741" cy="653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a:extLst>
              <a:ext uri="{FF2B5EF4-FFF2-40B4-BE49-F238E27FC236}">
                <a16:creationId xmlns:a16="http://schemas.microsoft.com/office/drawing/2014/main" id="{DD1A7D22-1BE9-4B8E-8CCC-C5CB1737BAA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87044" y="2026724"/>
            <a:ext cx="966014" cy="565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Oval 16">
            <a:extLst>
              <a:ext uri="{FF2B5EF4-FFF2-40B4-BE49-F238E27FC236}">
                <a16:creationId xmlns:a16="http://schemas.microsoft.com/office/drawing/2014/main" id="{D8F72E2F-B63F-4AA3-95BF-91CF072E28FA}"/>
              </a:ext>
            </a:extLst>
          </p:cNvPr>
          <p:cNvSpPr/>
          <p:nvPr/>
        </p:nvSpPr>
        <p:spPr bwMode="gray">
          <a:xfrm>
            <a:off x="3196767" y="1669662"/>
            <a:ext cx="2260600" cy="2260600"/>
          </a:xfrm>
          <a:prstGeom prst="ellipse">
            <a:avLst/>
          </a:prstGeom>
          <a:solidFill>
            <a:sysClr val="window" lastClr="FFFFFF"/>
          </a:solidFill>
          <a:ln w="19050" algn="ctr">
            <a:solidFill>
              <a:srgbClr val="86BC25"/>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endParaRPr lang="en-US" sz="1600" b="1" kern="0" dirty="0">
              <a:solidFill>
                <a:prstClr val="white"/>
              </a:solidFill>
              <a:latin typeface="Calibri"/>
              <a:cs typeface="Calibri" panose="020F0502020204030204" pitchFamily="34" charset="0"/>
            </a:endParaRPr>
          </a:p>
        </p:txBody>
      </p:sp>
      <p:pic>
        <p:nvPicPr>
          <p:cNvPr id="18" name="Picture 17">
            <a:extLst>
              <a:ext uri="{FF2B5EF4-FFF2-40B4-BE49-F238E27FC236}">
                <a16:creationId xmlns:a16="http://schemas.microsoft.com/office/drawing/2014/main" id="{A859155B-7DE6-488F-BC9D-0142E8435D3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36963" y="2450062"/>
            <a:ext cx="936800" cy="252317"/>
          </a:xfrm>
          <a:prstGeom prst="rect">
            <a:avLst/>
          </a:prstGeom>
        </p:spPr>
      </p:pic>
      <p:pic>
        <p:nvPicPr>
          <p:cNvPr id="19" name="Picture 18">
            <a:extLst>
              <a:ext uri="{FF2B5EF4-FFF2-40B4-BE49-F238E27FC236}">
                <a16:creationId xmlns:a16="http://schemas.microsoft.com/office/drawing/2014/main" id="{6306EE2D-5C55-4B7E-9479-F03CA16C264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77649" y="2444781"/>
            <a:ext cx="689973" cy="776088"/>
          </a:xfrm>
          <a:prstGeom prst="rect">
            <a:avLst/>
          </a:prstGeom>
        </p:spPr>
      </p:pic>
      <p:pic>
        <p:nvPicPr>
          <p:cNvPr id="20" name="Picture 19">
            <a:extLst>
              <a:ext uri="{FF2B5EF4-FFF2-40B4-BE49-F238E27FC236}">
                <a16:creationId xmlns:a16="http://schemas.microsoft.com/office/drawing/2014/main" id="{38B44882-A27A-480F-B822-88DE0B31A38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231046" y="2758857"/>
            <a:ext cx="952134" cy="373363"/>
          </a:xfrm>
          <a:prstGeom prst="rect">
            <a:avLst/>
          </a:prstGeom>
        </p:spPr>
      </p:pic>
      <p:sp>
        <p:nvSpPr>
          <p:cNvPr id="21" name="Oval 20">
            <a:extLst>
              <a:ext uri="{FF2B5EF4-FFF2-40B4-BE49-F238E27FC236}">
                <a16:creationId xmlns:a16="http://schemas.microsoft.com/office/drawing/2014/main" id="{EC566B83-BDA2-45BA-9F7E-2CE93E355879}"/>
              </a:ext>
            </a:extLst>
          </p:cNvPr>
          <p:cNvSpPr/>
          <p:nvPr/>
        </p:nvSpPr>
        <p:spPr bwMode="gray">
          <a:xfrm>
            <a:off x="5718686" y="1696739"/>
            <a:ext cx="2260600" cy="2260600"/>
          </a:xfrm>
          <a:prstGeom prst="ellipse">
            <a:avLst/>
          </a:prstGeom>
          <a:solidFill>
            <a:sysClr val="window" lastClr="FFFFFF"/>
          </a:solidFill>
          <a:ln w="19050" algn="ctr">
            <a:solidFill>
              <a:srgbClr val="86BC25"/>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endParaRPr lang="en-US" sz="1600" b="1" kern="0" dirty="0">
              <a:solidFill>
                <a:prstClr val="white"/>
              </a:solidFill>
              <a:latin typeface="Calibri"/>
              <a:cs typeface="Calibri" panose="020F0502020204030204" pitchFamily="34" charset="0"/>
            </a:endParaRPr>
          </a:p>
        </p:txBody>
      </p:sp>
      <p:pic>
        <p:nvPicPr>
          <p:cNvPr id="22" name="Picture 21">
            <a:extLst>
              <a:ext uri="{FF2B5EF4-FFF2-40B4-BE49-F238E27FC236}">
                <a16:creationId xmlns:a16="http://schemas.microsoft.com/office/drawing/2014/main" id="{A4BA97C6-1B89-4B2C-8E41-25DC9FB8C32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784506" y="2238332"/>
            <a:ext cx="678545" cy="693872"/>
          </a:xfrm>
          <a:prstGeom prst="rect">
            <a:avLst/>
          </a:prstGeom>
        </p:spPr>
      </p:pic>
      <p:pic>
        <p:nvPicPr>
          <p:cNvPr id="23" name="Picture 22">
            <a:extLst>
              <a:ext uri="{FF2B5EF4-FFF2-40B4-BE49-F238E27FC236}">
                <a16:creationId xmlns:a16="http://schemas.microsoft.com/office/drawing/2014/main" id="{B38961DA-FCFF-4DAB-B2C1-F051BC62554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76089" y="2232472"/>
            <a:ext cx="647737" cy="693872"/>
          </a:xfrm>
          <a:prstGeom prst="rect">
            <a:avLst/>
          </a:prstGeom>
        </p:spPr>
      </p:pic>
      <p:pic>
        <p:nvPicPr>
          <p:cNvPr id="24" name="Picture 23">
            <a:extLst>
              <a:ext uri="{FF2B5EF4-FFF2-40B4-BE49-F238E27FC236}">
                <a16:creationId xmlns:a16="http://schemas.microsoft.com/office/drawing/2014/main" id="{9F34D28B-65F7-4B0D-A846-F00A7F028E3C}"/>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523901" y="3072007"/>
            <a:ext cx="650170" cy="693872"/>
          </a:xfrm>
          <a:prstGeom prst="rect">
            <a:avLst/>
          </a:prstGeom>
        </p:spPr>
      </p:pic>
      <p:sp>
        <p:nvSpPr>
          <p:cNvPr id="25" name="Oval 24">
            <a:extLst>
              <a:ext uri="{FF2B5EF4-FFF2-40B4-BE49-F238E27FC236}">
                <a16:creationId xmlns:a16="http://schemas.microsoft.com/office/drawing/2014/main" id="{D7162264-8403-4983-BFF9-7F5E115EE9B4}"/>
              </a:ext>
            </a:extLst>
          </p:cNvPr>
          <p:cNvSpPr/>
          <p:nvPr/>
        </p:nvSpPr>
        <p:spPr bwMode="gray">
          <a:xfrm>
            <a:off x="8262119" y="1696739"/>
            <a:ext cx="2260600" cy="2260600"/>
          </a:xfrm>
          <a:prstGeom prst="ellipse">
            <a:avLst/>
          </a:prstGeom>
          <a:solidFill>
            <a:sysClr val="window" lastClr="FFFFFF"/>
          </a:solidFill>
          <a:ln w="19050" algn="ctr">
            <a:solidFill>
              <a:srgbClr val="86BC25"/>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endParaRPr lang="en-US" sz="1600" b="1" kern="0" dirty="0">
              <a:solidFill>
                <a:prstClr val="white"/>
              </a:solidFill>
              <a:latin typeface="Calibri"/>
              <a:cs typeface="Calibri" panose="020F0502020204030204" pitchFamily="34" charset="0"/>
            </a:endParaRPr>
          </a:p>
        </p:txBody>
      </p:sp>
      <p:pic>
        <p:nvPicPr>
          <p:cNvPr id="26" name="Picture 25">
            <a:extLst>
              <a:ext uri="{FF2B5EF4-FFF2-40B4-BE49-F238E27FC236}">
                <a16:creationId xmlns:a16="http://schemas.microsoft.com/office/drawing/2014/main" id="{8C81DC5B-3CE7-4DF2-81A0-4052CCBF9DB6}"/>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8543564" y="2881906"/>
            <a:ext cx="1256866" cy="289114"/>
          </a:xfrm>
          <a:prstGeom prst="rect">
            <a:avLst/>
          </a:prstGeom>
        </p:spPr>
      </p:pic>
      <p:pic>
        <p:nvPicPr>
          <p:cNvPr id="27" name="Picture 26">
            <a:extLst>
              <a:ext uri="{FF2B5EF4-FFF2-40B4-BE49-F238E27FC236}">
                <a16:creationId xmlns:a16="http://schemas.microsoft.com/office/drawing/2014/main" id="{B200A6C2-CD33-44D7-ACAC-244AC7C5FD78}"/>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9165255" y="3571674"/>
            <a:ext cx="677701" cy="252361"/>
          </a:xfrm>
          <a:prstGeom prst="rect">
            <a:avLst/>
          </a:prstGeom>
        </p:spPr>
      </p:pic>
      <p:pic>
        <p:nvPicPr>
          <p:cNvPr id="28" name="Picture 27">
            <a:extLst>
              <a:ext uri="{FF2B5EF4-FFF2-40B4-BE49-F238E27FC236}">
                <a16:creationId xmlns:a16="http://schemas.microsoft.com/office/drawing/2014/main" id="{B64D120B-FB41-47BF-9089-E77B7AEBFE1B}"/>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8757270" y="3199615"/>
            <a:ext cx="1003083" cy="277549"/>
          </a:xfrm>
          <a:prstGeom prst="rect">
            <a:avLst/>
          </a:prstGeom>
        </p:spPr>
      </p:pic>
      <p:pic>
        <p:nvPicPr>
          <p:cNvPr id="29" name="Picture 8">
            <a:extLst>
              <a:ext uri="{FF2B5EF4-FFF2-40B4-BE49-F238E27FC236}">
                <a16:creationId xmlns:a16="http://schemas.microsoft.com/office/drawing/2014/main" id="{4EE189F8-7292-4A95-95F1-4B86864F2155}"/>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8806056" y="2004815"/>
            <a:ext cx="1180814" cy="346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9">
            <a:extLst>
              <a:ext uri="{FF2B5EF4-FFF2-40B4-BE49-F238E27FC236}">
                <a16:creationId xmlns:a16="http://schemas.microsoft.com/office/drawing/2014/main" id="{D5FB597E-F64A-4D9F-A4A0-C3A62CED47D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636639" y="2663147"/>
            <a:ext cx="1520523" cy="194480"/>
          </a:xfrm>
          <a:prstGeom prst="rect">
            <a:avLst/>
          </a:prstGeom>
        </p:spPr>
      </p:pic>
      <p:pic>
        <p:nvPicPr>
          <p:cNvPr id="31" name="Picture 30">
            <a:extLst>
              <a:ext uri="{FF2B5EF4-FFF2-40B4-BE49-F238E27FC236}">
                <a16:creationId xmlns:a16="http://schemas.microsoft.com/office/drawing/2014/main" id="{04591BD4-2199-4C54-93EF-2A467AE6EB24}"/>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8775442" y="2428222"/>
            <a:ext cx="1499142" cy="191694"/>
          </a:xfrm>
          <a:prstGeom prst="rect">
            <a:avLst/>
          </a:prstGeom>
        </p:spPr>
      </p:pic>
      <p:sp>
        <p:nvSpPr>
          <p:cNvPr id="32" name="Right Arrow 150">
            <a:extLst>
              <a:ext uri="{FF2B5EF4-FFF2-40B4-BE49-F238E27FC236}">
                <a16:creationId xmlns:a16="http://schemas.microsoft.com/office/drawing/2014/main" id="{B282F509-A3C0-4241-9766-D89E777FC6F3}"/>
              </a:ext>
            </a:extLst>
          </p:cNvPr>
          <p:cNvSpPr/>
          <p:nvPr/>
        </p:nvSpPr>
        <p:spPr bwMode="gray">
          <a:xfrm>
            <a:off x="448672" y="4668674"/>
            <a:ext cx="6313254" cy="1880115"/>
          </a:xfrm>
          <a:prstGeom prst="rightArrow">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600" b="1" kern="0" dirty="0">
              <a:solidFill>
                <a:prstClr val="white"/>
              </a:solidFill>
              <a:latin typeface="Calibri"/>
              <a:cs typeface="Calibri" panose="020F0502020204030204" pitchFamily="34" charset="0"/>
            </a:endParaRPr>
          </a:p>
        </p:txBody>
      </p:sp>
      <p:sp>
        <p:nvSpPr>
          <p:cNvPr id="33" name="Oval 32">
            <a:extLst>
              <a:ext uri="{FF2B5EF4-FFF2-40B4-BE49-F238E27FC236}">
                <a16:creationId xmlns:a16="http://schemas.microsoft.com/office/drawing/2014/main" id="{3FF10CD0-32DA-4FA1-AFD4-CE793A98180D}"/>
              </a:ext>
            </a:extLst>
          </p:cNvPr>
          <p:cNvSpPr/>
          <p:nvPr/>
        </p:nvSpPr>
        <p:spPr bwMode="gray">
          <a:xfrm>
            <a:off x="539751" y="4288189"/>
            <a:ext cx="2260600" cy="2260600"/>
          </a:xfrm>
          <a:prstGeom prst="ellipse">
            <a:avLst/>
          </a:prstGeom>
          <a:solidFill>
            <a:sysClr val="window" lastClr="FFFFFF"/>
          </a:solidFill>
          <a:ln w="19050" algn="ctr">
            <a:solidFill>
              <a:srgbClr val="046A38"/>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endParaRPr lang="en-US" sz="1600" b="1" kern="0" dirty="0">
              <a:solidFill>
                <a:prstClr val="white"/>
              </a:solidFill>
              <a:latin typeface="Calibri"/>
              <a:cs typeface="Calibri" panose="020F0502020204030204" pitchFamily="34" charset="0"/>
            </a:endParaRPr>
          </a:p>
        </p:txBody>
      </p:sp>
      <p:sp>
        <p:nvSpPr>
          <p:cNvPr id="34" name="Oval 33">
            <a:extLst>
              <a:ext uri="{FF2B5EF4-FFF2-40B4-BE49-F238E27FC236}">
                <a16:creationId xmlns:a16="http://schemas.microsoft.com/office/drawing/2014/main" id="{F0B67605-EE2D-423F-AA28-1905EBBCC12B}"/>
              </a:ext>
            </a:extLst>
          </p:cNvPr>
          <p:cNvSpPr/>
          <p:nvPr/>
        </p:nvSpPr>
        <p:spPr bwMode="gray">
          <a:xfrm>
            <a:off x="3196767" y="4311612"/>
            <a:ext cx="2260600" cy="2260600"/>
          </a:xfrm>
          <a:prstGeom prst="ellipse">
            <a:avLst/>
          </a:prstGeom>
          <a:solidFill>
            <a:sysClr val="window" lastClr="FFFFFF"/>
          </a:solidFill>
          <a:ln w="19050" algn="ctr">
            <a:solidFill>
              <a:srgbClr val="046A38"/>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endParaRPr lang="en-US" sz="1600" b="1" kern="0" dirty="0">
              <a:solidFill>
                <a:prstClr val="white"/>
              </a:solidFill>
              <a:latin typeface="Calibri"/>
              <a:cs typeface="Calibri" panose="020F0502020204030204" pitchFamily="34" charset="0"/>
            </a:endParaRPr>
          </a:p>
        </p:txBody>
      </p:sp>
      <p:pic>
        <p:nvPicPr>
          <p:cNvPr id="35" name="Picture 2">
            <a:extLst>
              <a:ext uri="{FF2B5EF4-FFF2-40B4-BE49-F238E27FC236}">
                <a16:creationId xmlns:a16="http://schemas.microsoft.com/office/drawing/2014/main" id="{A804A1CA-AC94-496F-97CB-4AE2208D1CF1}"/>
              </a:ext>
            </a:extLst>
          </p:cNvPr>
          <p:cNvPicPr>
            <a:picLocks noChangeAspect="1" noChangeArrowheads="1"/>
          </p:cNvPicPr>
          <p:nvPr/>
        </p:nvPicPr>
        <p:blipFill>
          <a:blip r:embed="rId1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72581" y="5188697"/>
            <a:ext cx="718778" cy="555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30">
            <a:extLst>
              <a:ext uri="{FF2B5EF4-FFF2-40B4-BE49-F238E27FC236}">
                <a16:creationId xmlns:a16="http://schemas.microsoft.com/office/drawing/2014/main" id="{B87F4066-E0C5-4A20-B8B9-EEE73A8B9DAF}"/>
              </a:ext>
            </a:extLst>
          </p:cNvPr>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67647" y="4853155"/>
            <a:ext cx="516653" cy="120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36">
            <a:extLst>
              <a:ext uri="{FF2B5EF4-FFF2-40B4-BE49-F238E27FC236}">
                <a16:creationId xmlns:a16="http://schemas.microsoft.com/office/drawing/2014/main" id="{36BD4B5D-1B16-4A68-8C1D-08EA66709C89}"/>
              </a:ext>
            </a:extLst>
          </p:cNvPr>
          <p:cNvSpPr txBox="1"/>
          <p:nvPr/>
        </p:nvSpPr>
        <p:spPr bwMode="auto">
          <a:xfrm>
            <a:off x="1591359" y="5400807"/>
            <a:ext cx="1207304" cy="400110"/>
          </a:xfrm>
          <a:prstGeom prst="rect">
            <a:avLst/>
          </a:prstGeom>
          <a:noFill/>
        </p:spPr>
        <p:txBody>
          <a:bodyPr wrap="square">
            <a:spAutoFit/>
          </a:bodyPr>
          <a:lstStyle/>
          <a:p>
            <a:pPr>
              <a:spcBef>
                <a:spcPts val="600"/>
              </a:spcBef>
              <a:defRPr/>
            </a:pPr>
            <a:r>
              <a:rPr lang="en-US" sz="1000" dirty="0">
                <a:solidFill>
                  <a:prstClr val="black">
                    <a:lumMod val="85000"/>
                    <a:lumOff val="15000"/>
                  </a:prstClr>
                </a:solidFill>
                <a:latin typeface="Calibri"/>
                <a:cs typeface="Calibri" panose="020F0502020204030204" pitchFamily="34" charset="0"/>
              </a:rPr>
              <a:t>Deloitte Client Experience Labs</a:t>
            </a:r>
          </a:p>
        </p:txBody>
      </p:sp>
      <p:pic>
        <p:nvPicPr>
          <p:cNvPr id="38" name="Picture 4" descr="http://www2.deloitte.com/content/dam/Deloitte/global/Images/promo_images/gx-deloitte-greenhouse-logo-700x700.jpg">
            <a:extLst>
              <a:ext uri="{FF2B5EF4-FFF2-40B4-BE49-F238E27FC236}">
                <a16:creationId xmlns:a16="http://schemas.microsoft.com/office/drawing/2014/main" id="{CDFB8089-572A-4671-967C-A19D697BB17D}"/>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1259052" y="4388660"/>
            <a:ext cx="821998" cy="351471"/>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BD752176-EED2-4D5C-89CE-6A395A5A8FF5}"/>
              </a:ext>
            </a:extLst>
          </p:cNvPr>
          <p:cNvSpPr txBox="1"/>
          <p:nvPr/>
        </p:nvSpPr>
        <p:spPr bwMode="auto">
          <a:xfrm>
            <a:off x="1032876" y="5923154"/>
            <a:ext cx="1165335" cy="446276"/>
          </a:xfrm>
          <a:prstGeom prst="rect">
            <a:avLst/>
          </a:prstGeom>
          <a:noFill/>
        </p:spPr>
        <p:txBody>
          <a:bodyPr wrap="square" lIns="0" tIns="0" rIns="0" bIns="0">
            <a:spAutoFit/>
          </a:bodyPr>
          <a:lstStyle/>
          <a:p>
            <a:pPr>
              <a:spcBef>
                <a:spcPts val="600"/>
              </a:spcBef>
              <a:defRPr/>
            </a:pPr>
            <a:r>
              <a:rPr lang="en-US" sz="1200" b="1" dirty="0">
                <a:solidFill>
                  <a:prstClr val="black">
                    <a:lumMod val="85000"/>
                    <a:lumOff val="15000"/>
                  </a:prstClr>
                </a:solidFill>
                <a:latin typeface="Calibri"/>
                <a:cs typeface="Calibri" panose="020F0502020204030204" pitchFamily="34" charset="0"/>
              </a:rPr>
              <a:t>Deloitte Analytics </a:t>
            </a:r>
          </a:p>
          <a:p>
            <a:pPr algn="r">
              <a:spcBef>
                <a:spcPts val="600"/>
              </a:spcBef>
              <a:defRPr/>
            </a:pPr>
            <a:r>
              <a:rPr lang="en-US" sz="1200" dirty="0">
                <a:solidFill>
                  <a:srgbClr val="86BC25"/>
                </a:solidFill>
                <a:latin typeface="Calibri"/>
                <a:cs typeface="Calibri" panose="020F0502020204030204" pitchFamily="34" charset="0"/>
              </a:rPr>
              <a:t>Insight</a:t>
            </a:r>
            <a:r>
              <a:rPr lang="en-US" sz="1200" dirty="0">
                <a:solidFill>
                  <a:prstClr val="black">
                    <a:lumMod val="85000"/>
                    <a:lumOff val="15000"/>
                  </a:prstClr>
                </a:solidFill>
                <a:latin typeface="Calibri"/>
                <a:cs typeface="Calibri" panose="020F0502020204030204" pitchFamily="34" charset="0"/>
              </a:rPr>
              <a:t>Studio</a:t>
            </a:r>
          </a:p>
        </p:txBody>
      </p:sp>
      <p:pic>
        <p:nvPicPr>
          <p:cNvPr id="40" name="Picture 4">
            <a:extLst>
              <a:ext uri="{FF2B5EF4-FFF2-40B4-BE49-F238E27FC236}">
                <a16:creationId xmlns:a16="http://schemas.microsoft.com/office/drawing/2014/main" id="{0021B133-10B0-4137-BE87-72328F0CB1AE}"/>
              </a:ext>
            </a:extLst>
          </p:cNvPr>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a:stretch/>
        </p:blipFill>
        <p:spPr bwMode="auto">
          <a:xfrm>
            <a:off x="1708151" y="4913926"/>
            <a:ext cx="882758" cy="421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15">
            <a:extLst>
              <a:ext uri="{FF2B5EF4-FFF2-40B4-BE49-F238E27FC236}">
                <a16:creationId xmlns:a16="http://schemas.microsoft.com/office/drawing/2014/main" id="{5501A90C-19C4-4FEB-9093-D9BC5DBFD6F3}"/>
              </a:ext>
            </a:extLst>
          </p:cNvPr>
          <p:cNvPicPr>
            <a:picLocks noChangeAspect="1" noChangeArrowheads="1"/>
          </p:cNvPicPr>
          <p:nvPr/>
        </p:nvPicPr>
        <p:blipFill rotWithShape="1">
          <a:blip r:embed="rId21" cstate="email">
            <a:extLst>
              <a:ext uri="{28A0092B-C50C-407E-A947-70E740481C1C}">
                <a14:useLocalDpi xmlns:a14="http://schemas.microsoft.com/office/drawing/2010/main"/>
              </a:ext>
            </a:extLst>
          </a:blip>
          <a:srcRect/>
          <a:stretch/>
        </p:blipFill>
        <p:spPr bwMode="auto">
          <a:xfrm>
            <a:off x="3692073" y="5592435"/>
            <a:ext cx="1267877" cy="2303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15">
            <a:extLst>
              <a:ext uri="{FF2B5EF4-FFF2-40B4-BE49-F238E27FC236}">
                <a16:creationId xmlns:a16="http://schemas.microsoft.com/office/drawing/2014/main" id="{DD90B382-307F-450C-A0FC-E0A0D74D53A0}"/>
              </a:ext>
            </a:extLst>
          </p:cNvPr>
          <p:cNvPicPr>
            <a:picLocks noChangeAspect="1" noChangeArrowheads="1"/>
          </p:cNvPicPr>
          <p:nvPr/>
        </p:nvPicPr>
        <p:blipFill rotWithShape="1">
          <a:blip r:embed="rId22" cstate="email">
            <a:extLst>
              <a:ext uri="{28A0092B-C50C-407E-A947-70E740481C1C}">
                <a14:useLocalDpi xmlns:a14="http://schemas.microsoft.com/office/drawing/2010/main"/>
              </a:ext>
            </a:extLst>
          </a:blip>
          <a:srcRect/>
          <a:stretch/>
        </p:blipFill>
        <p:spPr bwMode="auto">
          <a:xfrm>
            <a:off x="3692072" y="5817911"/>
            <a:ext cx="983757" cy="2303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TextBox 5">
            <a:extLst>
              <a:ext uri="{FF2B5EF4-FFF2-40B4-BE49-F238E27FC236}">
                <a16:creationId xmlns:a16="http://schemas.microsoft.com/office/drawing/2014/main" id="{A2FE3D2A-D509-4A4B-A1D5-A6662C5F7CFD}"/>
              </a:ext>
            </a:extLst>
          </p:cNvPr>
          <p:cNvSpPr txBox="1">
            <a:spLocks noChangeArrowheads="1"/>
          </p:cNvSpPr>
          <p:nvPr/>
        </p:nvSpPr>
        <p:spPr bwMode="auto">
          <a:xfrm>
            <a:off x="3725489" y="4848762"/>
            <a:ext cx="1697393" cy="730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eaLnBrk="1" hangingPunct="1">
              <a:spcBef>
                <a:spcPts val="300"/>
              </a:spcBef>
              <a:defRPr/>
            </a:pPr>
            <a:r>
              <a:rPr lang="en-US" sz="1000" dirty="0">
                <a:solidFill>
                  <a:prstClr val="black">
                    <a:lumMod val="85000"/>
                    <a:lumOff val="15000"/>
                  </a:prstClr>
                </a:solidFill>
                <a:latin typeface="Calibri" panose="020F0502020204030204" pitchFamily="34" charset="0"/>
                <a:cs typeface="Calibri" panose="020F0502020204030204" pitchFamily="34" charset="0"/>
              </a:rPr>
              <a:t>Dbriefs Webcasts</a:t>
            </a:r>
          </a:p>
          <a:p>
            <a:pPr eaLnBrk="1" hangingPunct="1">
              <a:spcBef>
                <a:spcPts val="300"/>
              </a:spcBef>
              <a:defRPr/>
            </a:pPr>
            <a:r>
              <a:rPr lang="en-US" sz="1000" dirty="0">
                <a:solidFill>
                  <a:prstClr val="black">
                    <a:lumMod val="85000"/>
                    <a:lumOff val="15000"/>
                  </a:prstClr>
                </a:solidFill>
                <a:latin typeface="Calibri" panose="020F0502020204030204" pitchFamily="34" charset="0"/>
                <a:cs typeface="Calibri" panose="020F0502020204030204" pitchFamily="34" charset="0"/>
              </a:rPr>
              <a:t>Deloitte Insights Podcasts</a:t>
            </a:r>
          </a:p>
          <a:p>
            <a:pPr eaLnBrk="1" hangingPunct="1">
              <a:spcBef>
                <a:spcPts val="300"/>
              </a:spcBef>
              <a:defRPr/>
            </a:pPr>
            <a:r>
              <a:rPr lang="en-US" sz="1000" dirty="0">
                <a:solidFill>
                  <a:prstClr val="black">
                    <a:lumMod val="85000"/>
                    <a:lumOff val="15000"/>
                  </a:prstClr>
                </a:solidFill>
                <a:latin typeface="Calibri" panose="020F0502020204030204" pitchFamily="34" charset="0"/>
                <a:cs typeface="Calibri" panose="020F0502020204030204" pitchFamily="34" charset="0"/>
              </a:rPr>
              <a:t>Deloitte Perspectives Blog</a:t>
            </a:r>
          </a:p>
          <a:p>
            <a:pPr eaLnBrk="1" hangingPunct="1">
              <a:spcBef>
                <a:spcPts val="300"/>
              </a:spcBef>
              <a:defRPr/>
            </a:pPr>
            <a:r>
              <a:rPr lang="en-US" sz="1000" dirty="0">
                <a:solidFill>
                  <a:prstClr val="black">
                    <a:lumMod val="85000"/>
                    <a:lumOff val="15000"/>
                  </a:prstClr>
                </a:solidFill>
                <a:latin typeface="Calibri" panose="020F0502020204030204" pitchFamily="34" charset="0"/>
                <a:cs typeface="Calibri" panose="020F0502020204030204" pitchFamily="34" charset="0"/>
              </a:rPr>
              <a:t>Deloitte TV </a:t>
            </a:r>
          </a:p>
        </p:txBody>
      </p:sp>
      <p:sp>
        <p:nvSpPr>
          <p:cNvPr id="44" name="Rounded Rectangle 6">
            <a:extLst>
              <a:ext uri="{FF2B5EF4-FFF2-40B4-BE49-F238E27FC236}">
                <a16:creationId xmlns:a16="http://schemas.microsoft.com/office/drawing/2014/main" id="{1013DCB0-773C-46CF-AABD-E9CD9C581596}"/>
              </a:ext>
            </a:extLst>
          </p:cNvPr>
          <p:cNvSpPr/>
          <p:nvPr/>
        </p:nvSpPr>
        <p:spPr bwMode="gray">
          <a:xfrm>
            <a:off x="871052" y="1502495"/>
            <a:ext cx="1539611" cy="353070"/>
          </a:xfrm>
          <a:prstGeom prst="roundRect">
            <a:avLst/>
          </a:prstGeom>
          <a:solidFill>
            <a:srgbClr val="86BC2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r>
              <a:rPr lang="en-US" sz="1100" b="1" kern="0" dirty="0">
                <a:solidFill>
                  <a:prstClr val="white"/>
                </a:solidFill>
                <a:latin typeface="Calibri"/>
                <a:cs typeface="Calibri" panose="020F0502020204030204" pitchFamily="34" charset="0"/>
              </a:rPr>
              <a:t>Books &amp; Magazines</a:t>
            </a:r>
          </a:p>
        </p:txBody>
      </p:sp>
      <p:sp>
        <p:nvSpPr>
          <p:cNvPr id="45" name="Rounded Rectangle 179">
            <a:extLst>
              <a:ext uri="{FF2B5EF4-FFF2-40B4-BE49-F238E27FC236}">
                <a16:creationId xmlns:a16="http://schemas.microsoft.com/office/drawing/2014/main" id="{9C54CACF-0F64-4FEF-80A1-E558B2B36232}"/>
              </a:ext>
            </a:extLst>
          </p:cNvPr>
          <p:cNvSpPr/>
          <p:nvPr/>
        </p:nvSpPr>
        <p:spPr bwMode="gray">
          <a:xfrm>
            <a:off x="3544834" y="1502495"/>
            <a:ext cx="1539611" cy="353070"/>
          </a:xfrm>
          <a:prstGeom prst="roundRect">
            <a:avLst/>
          </a:prstGeom>
          <a:solidFill>
            <a:srgbClr val="86BC2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r>
              <a:rPr lang="en-US" sz="1100" b="1" kern="0" dirty="0">
                <a:solidFill>
                  <a:prstClr val="white"/>
                </a:solidFill>
                <a:latin typeface="Calibri"/>
                <a:cs typeface="Calibri" panose="020F0502020204030204" pitchFamily="34" charset="0"/>
              </a:rPr>
              <a:t>Publications</a:t>
            </a:r>
          </a:p>
        </p:txBody>
      </p:sp>
      <p:sp>
        <p:nvSpPr>
          <p:cNvPr id="46" name="Rounded Rectangle 180">
            <a:extLst>
              <a:ext uri="{FF2B5EF4-FFF2-40B4-BE49-F238E27FC236}">
                <a16:creationId xmlns:a16="http://schemas.microsoft.com/office/drawing/2014/main" id="{C69EAFB5-D964-49EC-914A-41E54B12FB84}"/>
              </a:ext>
            </a:extLst>
          </p:cNvPr>
          <p:cNvSpPr/>
          <p:nvPr/>
        </p:nvSpPr>
        <p:spPr bwMode="gray">
          <a:xfrm>
            <a:off x="6021542" y="1502495"/>
            <a:ext cx="1539611" cy="353070"/>
          </a:xfrm>
          <a:prstGeom prst="roundRect">
            <a:avLst/>
          </a:prstGeom>
          <a:solidFill>
            <a:srgbClr val="86BC2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r>
              <a:rPr lang="en-US" sz="1100" b="1" kern="0" dirty="0">
                <a:solidFill>
                  <a:prstClr val="white"/>
                </a:solidFill>
                <a:latin typeface="Calibri"/>
                <a:cs typeface="Calibri" panose="020F0502020204030204" pitchFamily="34" charset="0"/>
              </a:rPr>
              <a:t>Research</a:t>
            </a:r>
          </a:p>
        </p:txBody>
      </p:sp>
      <p:sp>
        <p:nvSpPr>
          <p:cNvPr id="47" name="Rounded Rectangle 181">
            <a:extLst>
              <a:ext uri="{FF2B5EF4-FFF2-40B4-BE49-F238E27FC236}">
                <a16:creationId xmlns:a16="http://schemas.microsoft.com/office/drawing/2014/main" id="{6293719A-B89F-4B47-9A42-4749366C365F}"/>
              </a:ext>
            </a:extLst>
          </p:cNvPr>
          <p:cNvSpPr/>
          <p:nvPr/>
        </p:nvSpPr>
        <p:spPr bwMode="gray">
          <a:xfrm>
            <a:off x="8592331" y="1502495"/>
            <a:ext cx="1539611" cy="353070"/>
          </a:xfrm>
          <a:prstGeom prst="roundRect">
            <a:avLst/>
          </a:prstGeom>
          <a:solidFill>
            <a:srgbClr val="86BC2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r>
              <a:rPr lang="en-US" sz="1100" b="1" kern="0" dirty="0">
                <a:solidFill>
                  <a:prstClr val="white"/>
                </a:solidFill>
                <a:latin typeface="Calibri"/>
                <a:cs typeface="Calibri" panose="020F0502020204030204" pitchFamily="34" charset="0"/>
              </a:rPr>
              <a:t>Assets &amp; Capabilities</a:t>
            </a:r>
          </a:p>
        </p:txBody>
      </p:sp>
      <p:sp>
        <p:nvSpPr>
          <p:cNvPr id="48" name="Rounded Rectangle 182">
            <a:extLst>
              <a:ext uri="{FF2B5EF4-FFF2-40B4-BE49-F238E27FC236}">
                <a16:creationId xmlns:a16="http://schemas.microsoft.com/office/drawing/2014/main" id="{9FD4760C-188A-442C-87F0-75B5B310034A}"/>
              </a:ext>
            </a:extLst>
          </p:cNvPr>
          <p:cNvSpPr/>
          <p:nvPr/>
        </p:nvSpPr>
        <p:spPr bwMode="gray">
          <a:xfrm>
            <a:off x="871137" y="4030633"/>
            <a:ext cx="1539611" cy="353070"/>
          </a:xfrm>
          <a:prstGeom prst="roundRect">
            <a:avLst/>
          </a:prstGeom>
          <a:solidFill>
            <a:srgbClr val="046A38"/>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r>
              <a:rPr lang="en-US" sz="1100" b="1" kern="0" dirty="0">
                <a:solidFill>
                  <a:prstClr val="white"/>
                </a:solidFill>
                <a:latin typeface="Calibri"/>
                <a:cs typeface="Calibri" panose="020F0502020204030204" pitchFamily="34" charset="0"/>
              </a:rPr>
              <a:t>Client Labs</a:t>
            </a:r>
          </a:p>
        </p:txBody>
      </p:sp>
      <p:sp>
        <p:nvSpPr>
          <p:cNvPr id="49" name="Rounded Rectangle 183">
            <a:extLst>
              <a:ext uri="{FF2B5EF4-FFF2-40B4-BE49-F238E27FC236}">
                <a16:creationId xmlns:a16="http://schemas.microsoft.com/office/drawing/2014/main" id="{EF7B0180-C5CC-4AF1-A820-5D536565416B}"/>
              </a:ext>
            </a:extLst>
          </p:cNvPr>
          <p:cNvSpPr/>
          <p:nvPr/>
        </p:nvSpPr>
        <p:spPr bwMode="gray">
          <a:xfrm>
            <a:off x="3565629" y="4030633"/>
            <a:ext cx="1539611" cy="353070"/>
          </a:xfrm>
          <a:prstGeom prst="roundRect">
            <a:avLst/>
          </a:prstGeom>
          <a:solidFill>
            <a:srgbClr val="046A38"/>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defRPr/>
            </a:pPr>
            <a:r>
              <a:rPr lang="en-US" sz="1100" b="1" kern="0" dirty="0">
                <a:solidFill>
                  <a:prstClr val="white"/>
                </a:solidFill>
                <a:latin typeface="Calibri"/>
                <a:cs typeface="Calibri" panose="020F0502020204030204" pitchFamily="34" charset="0"/>
              </a:rPr>
              <a:t>Media</a:t>
            </a:r>
          </a:p>
        </p:txBody>
      </p:sp>
      <p:grpSp>
        <p:nvGrpSpPr>
          <p:cNvPr id="50" name="Group 49">
            <a:extLst>
              <a:ext uri="{FF2B5EF4-FFF2-40B4-BE49-F238E27FC236}">
                <a16:creationId xmlns:a16="http://schemas.microsoft.com/office/drawing/2014/main" id="{10C09C9E-ABC7-45D7-B619-E12B3BBBDE33}"/>
              </a:ext>
            </a:extLst>
          </p:cNvPr>
          <p:cNvGrpSpPr/>
          <p:nvPr/>
        </p:nvGrpSpPr>
        <p:grpSpPr>
          <a:xfrm>
            <a:off x="6914548" y="4316034"/>
            <a:ext cx="3983063" cy="2247611"/>
            <a:chOff x="6972299" y="4498912"/>
            <a:chExt cx="3983063" cy="2247611"/>
          </a:xfrm>
        </p:grpSpPr>
        <p:sp>
          <p:nvSpPr>
            <p:cNvPr id="51" name="Rectangle 50">
              <a:extLst>
                <a:ext uri="{FF2B5EF4-FFF2-40B4-BE49-F238E27FC236}">
                  <a16:creationId xmlns:a16="http://schemas.microsoft.com/office/drawing/2014/main" id="{8E16E169-60F4-4774-9DAD-7D3165304DE8}"/>
                </a:ext>
              </a:extLst>
            </p:cNvPr>
            <p:cNvSpPr/>
            <p:nvPr/>
          </p:nvSpPr>
          <p:spPr bwMode="gray">
            <a:xfrm>
              <a:off x="6972299" y="4498912"/>
              <a:ext cx="3983063" cy="2247611"/>
            </a:xfrm>
            <a:prstGeom prst="rect">
              <a:avLst/>
            </a:prstGeom>
            <a:solidFill>
              <a:sysClr val="window" lastClr="FFFFFF"/>
            </a:solidFill>
            <a:ln w="19050" algn="ctr">
              <a:solidFill>
                <a:sysClr val="window" lastClr="FFFFFF">
                  <a:lumMod val="75000"/>
                </a:sysClr>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600" b="1" kern="0" dirty="0">
                <a:solidFill>
                  <a:prstClr val="white"/>
                </a:solidFill>
                <a:latin typeface="Calibri"/>
                <a:cs typeface="Calibri" panose="020F0502020204030204" pitchFamily="34" charset="0"/>
              </a:endParaRPr>
            </a:p>
          </p:txBody>
        </p:sp>
        <p:sp>
          <p:nvSpPr>
            <p:cNvPr id="52" name="TextBox 51">
              <a:extLst>
                <a:ext uri="{FF2B5EF4-FFF2-40B4-BE49-F238E27FC236}">
                  <a16:creationId xmlns:a16="http://schemas.microsoft.com/office/drawing/2014/main" id="{F6F434C3-7B98-4BCE-897F-12604B0FBFAE}"/>
                </a:ext>
              </a:extLst>
            </p:cNvPr>
            <p:cNvSpPr txBox="1"/>
            <p:nvPr/>
          </p:nvSpPr>
          <p:spPr>
            <a:xfrm>
              <a:off x="7138635" y="5036044"/>
              <a:ext cx="1382940" cy="1231106"/>
            </a:xfrm>
            <a:prstGeom prst="rect">
              <a:avLst/>
            </a:prstGeom>
            <a:noFill/>
          </p:spPr>
          <p:txBody>
            <a:bodyPr wrap="square" lIns="0" tIns="0" rIns="0" bIns="0">
              <a:spAutoFit/>
            </a:bodyPr>
            <a:lstStyle/>
            <a:p>
              <a:pPr marL="176213" indent="-176213">
                <a:buFont typeface="Arial" pitchFamily="34" charset="0"/>
                <a:buChar char="•"/>
                <a:defRPr/>
              </a:pPr>
              <a:r>
                <a:rPr lang="en-US" sz="1000" kern="0" dirty="0">
                  <a:solidFill>
                    <a:prstClr val="black">
                      <a:lumMod val="85000"/>
                      <a:lumOff val="15000"/>
                    </a:prstClr>
                  </a:solidFill>
                  <a:latin typeface="Calibri"/>
                  <a:cs typeface="Calibri" panose="020F0502020204030204" pitchFamily="34" charset="0"/>
                </a:rPr>
                <a:t>Corporate Governance</a:t>
              </a:r>
            </a:p>
            <a:p>
              <a:pPr marL="176213" indent="-176213">
                <a:buFont typeface="Arial" pitchFamily="34" charset="0"/>
                <a:buChar char="•"/>
                <a:defRPr/>
              </a:pPr>
              <a:r>
                <a:rPr lang="en-US" sz="1000" kern="0" dirty="0">
                  <a:solidFill>
                    <a:prstClr val="black">
                      <a:lumMod val="85000"/>
                      <a:lumOff val="15000"/>
                    </a:prstClr>
                  </a:solidFill>
                  <a:latin typeface="Calibri"/>
                  <a:cs typeface="Calibri" panose="020F0502020204030204" pitchFamily="34" charset="0"/>
                </a:rPr>
                <a:t>Cyber Innovation</a:t>
              </a:r>
            </a:p>
            <a:p>
              <a:pPr marL="176213" indent="-176213">
                <a:buFont typeface="Arial" pitchFamily="34" charset="0"/>
                <a:buChar char="•"/>
                <a:defRPr/>
              </a:pPr>
              <a:r>
                <a:rPr lang="en-US" sz="1000" kern="0" dirty="0">
                  <a:solidFill>
                    <a:prstClr val="black">
                      <a:lumMod val="85000"/>
                      <a:lumOff val="15000"/>
                    </a:prstClr>
                  </a:solidFill>
                  <a:latin typeface="Calibri"/>
                  <a:cs typeface="Calibri" panose="020F0502020204030204" pitchFamily="34" charset="0"/>
                </a:rPr>
                <a:t>Doblin</a:t>
              </a:r>
            </a:p>
            <a:p>
              <a:pPr marL="176213" indent="-176213">
                <a:buFont typeface="Arial" pitchFamily="34" charset="0"/>
                <a:buChar char="•"/>
                <a:defRPr/>
              </a:pPr>
              <a:r>
                <a:rPr lang="en-US" sz="1000" kern="0" dirty="0">
                  <a:solidFill>
                    <a:prstClr val="black">
                      <a:lumMod val="85000"/>
                      <a:lumOff val="15000"/>
                    </a:prstClr>
                  </a:solidFill>
                  <a:latin typeface="Calibri"/>
                  <a:cs typeface="Calibri" panose="020F0502020204030204" pitchFamily="34" charset="0"/>
                </a:rPr>
                <a:t>Federal Innovation</a:t>
              </a:r>
            </a:p>
            <a:p>
              <a:pPr marL="176213" indent="-176213">
                <a:buFont typeface="Arial" pitchFamily="34" charset="0"/>
                <a:buChar char="•"/>
                <a:defRPr/>
              </a:pPr>
              <a:r>
                <a:rPr lang="en-US" sz="1000" kern="0" dirty="0">
                  <a:solidFill>
                    <a:prstClr val="black">
                      <a:lumMod val="85000"/>
                      <a:lumOff val="15000"/>
                    </a:prstClr>
                  </a:solidFill>
                  <a:latin typeface="Calibri"/>
                  <a:cs typeface="Calibri" panose="020F0502020204030204" pitchFamily="34" charset="0"/>
                </a:rPr>
                <a:t>Health Solutions</a:t>
              </a:r>
            </a:p>
            <a:p>
              <a:pPr marL="176213" indent="-176213">
                <a:buFont typeface="Arial" pitchFamily="34" charset="0"/>
                <a:buChar char="•"/>
                <a:defRPr/>
              </a:pPr>
              <a:r>
                <a:rPr lang="en-US" sz="1000" kern="0" dirty="0">
                  <a:solidFill>
                    <a:prstClr val="black">
                      <a:lumMod val="85000"/>
                      <a:lumOff val="15000"/>
                    </a:prstClr>
                  </a:solidFill>
                  <a:latin typeface="Calibri"/>
                  <a:cs typeface="Calibri" panose="020F0502020204030204" pitchFamily="34" charset="0"/>
                </a:rPr>
                <a:t>Center for the Edge</a:t>
              </a:r>
            </a:p>
            <a:p>
              <a:pPr marL="176213" indent="-176213">
                <a:buFont typeface="Arial" pitchFamily="34" charset="0"/>
                <a:buChar char="•"/>
                <a:defRPr/>
              </a:pPr>
              <a:r>
                <a:rPr lang="en-US" sz="1000" kern="0" dirty="0">
                  <a:solidFill>
                    <a:prstClr val="black">
                      <a:lumMod val="85000"/>
                      <a:lumOff val="15000"/>
                    </a:prstClr>
                  </a:solidFill>
                  <a:latin typeface="Calibri"/>
                  <a:cs typeface="Calibri" panose="020F0502020204030204" pitchFamily="34" charset="0"/>
                </a:rPr>
                <a:t>Energy Solutions</a:t>
              </a:r>
            </a:p>
            <a:p>
              <a:pPr marL="176213" indent="-176213">
                <a:buFont typeface="Arial" pitchFamily="34" charset="0"/>
                <a:buChar char="•"/>
                <a:defRPr/>
              </a:pPr>
              <a:r>
                <a:rPr lang="en-US" sz="1000" kern="0" dirty="0">
                  <a:solidFill>
                    <a:prstClr val="black">
                      <a:lumMod val="85000"/>
                      <a:lumOff val="15000"/>
                    </a:prstClr>
                  </a:solidFill>
                  <a:latin typeface="Calibri"/>
                  <a:cs typeface="Calibri" panose="020F0502020204030204" pitchFamily="34" charset="0"/>
                </a:rPr>
                <a:t>Monitor Institute</a:t>
              </a:r>
            </a:p>
          </p:txBody>
        </p:sp>
        <p:sp>
          <p:nvSpPr>
            <p:cNvPr id="53" name="Rectangle 52">
              <a:extLst>
                <a:ext uri="{FF2B5EF4-FFF2-40B4-BE49-F238E27FC236}">
                  <a16:creationId xmlns:a16="http://schemas.microsoft.com/office/drawing/2014/main" id="{C796081D-C97B-4DE4-9E6A-0280F72783E9}"/>
                </a:ext>
              </a:extLst>
            </p:cNvPr>
            <p:cNvSpPr/>
            <p:nvPr/>
          </p:nvSpPr>
          <p:spPr>
            <a:xfrm>
              <a:off x="8496078" y="5036044"/>
              <a:ext cx="2363031" cy="1631216"/>
            </a:xfrm>
            <a:prstGeom prst="rect">
              <a:avLst/>
            </a:prstGeom>
          </p:spPr>
          <p:txBody>
            <a:bodyPr wrap="square" tIns="0">
              <a:spAutoFit/>
            </a:bodyPr>
            <a:lstStyle/>
            <a:p>
              <a:pPr marL="171450" indent="-171450">
                <a:buFont typeface="Arial" panose="020B0604020202020204" pitchFamily="34" charset="0"/>
                <a:buChar char="•"/>
                <a:defRPr/>
              </a:pPr>
              <a:r>
                <a:rPr lang="en-US" sz="1000" kern="0" dirty="0">
                  <a:solidFill>
                    <a:prstClr val="black">
                      <a:lumMod val="85000"/>
                      <a:lumOff val="15000"/>
                    </a:prstClr>
                  </a:solidFill>
                  <a:latin typeface="Calibri"/>
                  <a:cs typeface="Calibri" panose="020F0502020204030204" pitchFamily="34" charset="0"/>
                </a:rPr>
                <a:t>Middle East Islamic Finance Knowledge Center </a:t>
              </a:r>
            </a:p>
            <a:p>
              <a:pPr marL="171450" indent="-171450">
                <a:buFont typeface="Arial" panose="020B0604020202020204" pitchFamily="34" charset="0"/>
                <a:buChar char="•"/>
                <a:defRPr/>
              </a:pPr>
              <a:r>
                <a:rPr lang="en-US" sz="1000" kern="0" dirty="0">
                  <a:solidFill>
                    <a:prstClr val="black">
                      <a:lumMod val="85000"/>
                      <a:lumOff val="15000"/>
                    </a:prstClr>
                  </a:solidFill>
                  <a:latin typeface="Calibri"/>
                  <a:cs typeface="Calibri" panose="020F0502020204030204" pitchFamily="34" charset="0"/>
                </a:rPr>
                <a:t>ARIS - A Really Inspiring Space (Cyprus)</a:t>
              </a:r>
            </a:p>
            <a:p>
              <a:pPr marL="171450" indent="-171450">
                <a:buFont typeface="Arial" panose="020B0604020202020204" pitchFamily="34" charset="0"/>
                <a:buChar char="•"/>
                <a:defRPr/>
              </a:pPr>
              <a:r>
                <a:rPr lang="en-US" sz="1000" kern="0" dirty="0">
                  <a:solidFill>
                    <a:prstClr val="black">
                      <a:lumMod val="85000"/>
                      <a:lumOff val="15000"/>
                    </a:prstClr>
                  </a:solidFill>
                  <a:latin typeface="Calibri"/>
                  <a:cs typeface="Calibri" panose="020F0502020204030204" pitchFamily="34" charset="0"/>
                </a:rPr>
                <a:t>Center for Collective Leadership (UK)</a:t>
              </a:r>
            </a:p>
            <a:p>
              <a:pPr marL="171450" indent="-171450">
                <a:buFont typeface="Arial" panose="020B0604020202020204" pitchFamily="34" charset="0"/>
                <a:buChar char="•"/>
                <a:defRPr/>
              </a:pPr>
              <a:r>
                <a:rPr lang="en-US" sz="1000" kern="0" dirty="0">
                  <a:solidFill>
                    <a:prstClr val="black">
                      <a:lumMod val="85000"/>
                      <a:lumOff val="15000"/>
                    </a:prstClr>
                  </a:solidFill>
                  <a:latin typeface="Calibri"/>
                  <a:cs typeface="Calibri" panose="020F0502020204030204" pitchFamily="34" charset="0"/>
                </a:rPr>
                <a:t>Deloitte Innovation Center (Belgium)</a:t>
              </a:r>
            </a:p>
            <a:p>
              <a:pPr marL="171450" indent="-171450">
                <a:buFont typeface="Arial" panose="020B0604020202020204" pitchFamily="34" charset="0"/>
                <a:buChar char="•"/>
                <a:defRPr/>
              </a:pPr>
              <a:r>
                <a:rPr lang="en-US" sz="1000" kern="0" dirty="0">
                  <a:solidFill>
                    <a:prstClr val="black"/>
                  </a:solidFill>
                  <a:latin typeface="Calibri"/>
                  <a:cs typeface="Calibri" panose="020F0502020204030204" pitchFamily="34" charset="0"/>
                </a:rPr>
                <a:t>Center for Government Insights (US)</a:t>
              </a:r>
            </a:p>
            <a:p>
              <a:pPr marL="171450" indent="-171450">
                <a:buFont typeface="Arial" panose="020B0604020202020204" pitchFamily="34" charset="0"/>
                <a:buChar char="•"/>
                <a:defRPr/>
              </a:pPr>
              <a:r>
                <a:rPr lang="en-US" sz="1000" kern="0" dirty="0">
                  <a:solidFill>
                    <a:prstClr val="black"/>
                  </a:solidFill>
                  <a:latin typeface="Calibri"/>
                  <a:cs typeface="Calibri" panose="020F0502020204030204" pitchFamily="34" charset="0"/>
                </a:rPr>
                <a:t>Center for Financial Services (US)</a:t>
              </a:r>
            </a:p>
            <a:p>
              <a:pPr marL="171450" indent="-171450">
                <a:buFont typeface="Arial" panose="020B0604020202020204" pitchFamily="34" charset="0"/>
                <a:buChar char="•"/>
                <a:defRPr/>
              </a:pPr>
              <a:r>
                <a:rPr lang="en-US" sz="1000" kern="0" dirty="0">
                  <a:solidFill>
                    <a:prstClr val="black"/>
                  </a:solidFill>
                  <a:latin typeface="Calibri"/>
                  <a:cs typeface="Calibri" panose="020F0502020204030204" pitchFamily="34" charset="0"/>
                </a:rPr>
                <a:t>Center for Talent Innovation (US)</a:t>
              </a:r>
              <a:endParaRPr lang="en-US" sz="1000" kern="0" dirty="0">
                <a:solidFill>
                  <a:prstClr val="black">
                    <a:lumMod val="85000"/>
                    <a:lumOff val="15000"/>
                  </a:prstClr>
                </a:solidFill>
                <a:latin typeface="Calibri"/>
                <a:cs typeface="Calibri" panose="020F0502020204030204" pitchFamily="34" charset="0"/>
              </a:endParaRPr>
            </a:p>
            <a:p>
              <a:pPr marL="171450" indent="-171450">
                <a:buFont typeface="Arial" panose="020B0604020202020204" pitchFamily="34" charset="0"/>
                <a:buChar char="•"/>
                <a:defRPr/>
              </a:pPr>
              <a:r>
                <a:rPr lang="en-US" sz="1000" kern="0" dirty="0">
                  <a:solidFill>
                    <a:prstClr val="black">
                      <a:lumMod val="85000"/>
                      <a:lumOff val="15000"/>
                    </a:prstClr>
                  </a:solidFill>
                  <a:latin typeface="Calibri"/>
                  <a:cs typeface="Calibri" panose="020F0502020204030204" pitchFamily="34" charset="0"/>
                </a:rPr>
                <a:t>Deloitte Institute of Innovation &amp; Entrepreneurship (UK)</a:t>
              </a:r>
            </a:p>
          </p:txBody>
        </p:sp>
        <p:sp>
          <p:nvSpPr>
            <p:cNvPr id="54" name="Text Placeholder 1">
              <a:extLst>
                <a:ext uri="{FF2B5EF4-FFF2-40B4-BE49-F238E27FC236}">
                  <a16:creationId xmlns:a16="http://schemas.microsoft.com/office/drawing/2014/main" id="{E25893D9-DADC-486C-BF90-B86B54E5B37B}"/>
                </a:ext>
              </a:extLst>
            </p:cNvPr>
            <p:cNvSpPr txBox="1">
              <a:spLocks/>
            </p:cNvSpPr>
            <p:nvPr/>
          </p:nvSpPr>
          <p:spPr bwMode="auto">
            <a:xfrm>
              <a:off x="7076190" y="4636097"/>
              <a:ext cx="3775280" cy="23591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1000" b="1" kern="1200" smtClean="0">
                  <a:solidFill>
                    <a:schemeClr val="tx2"/>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marL="0" lvl="1" algn="ctr">
                <a:defRPr/>
              </a:pPr>
              <a:r>
                <a:rPr lang="en-US" sz="1400" b="1" dirty="0">
                  <a:solidFill>
                    <a:srgbClr val="046A38"/>
                  </a:solidFill>
                  <a:latin typeface="Calibri" panose="020F0502020204030204" pitchFamily="34" charset="0"/>
                  <a:cs typeface="Calibri" panose="020F0502020204030204" pitchFamily="34" charset="0"/>
                </a:rPr>
                <a:t>Innovation Centers:</a:t>
              </a:r>
            </a:p>
          </p:txBody>
        </p:sp>
      </p:grpSp>
      <p:pic>
        <p:nvPicPr>
          <p:cNvPr id="55" name="Picture 54">
            <a:extLst>
              <a:ext uri="{FF2B5EF4-FFF2-40B4-BE49-F238E27FC236}">
                <a16:creationId xmlns:a16="http://schemas.microsoft.com/office/drawing/2014/main" id="{ED5A90B4-80EC-4070-8C94-B0A8188DD388}"/>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4157406" y="3232070"/>
            <a:ext cx="1054699" cy="268247"/>
          </a:xfrm>
          <a:prstGeom prst="rect">
            <a:avLst/>
          </a:prstGeom>
        </p:spPr>
      </p:pic>
      <p:sp>
        <p:nvSpPr>
          <p:cNvPr id="56" name="TextBox 55">
            <a:extLst>
              <a:ext uri="{FF2B5EF4-FFF2-40B4-BE49-F238E27FC236}">
                <a16:creationId xmlns:a16="http://schemas.microsoft.com/office/drawing/2014/main" id="{D2AB45A4-E135-4586-801A-C5975CFE833B}"/>
              </a:ext>
            </a:extLst>
          </p:cNvPr>
          <p:cNvSpPr txBox="1"/>
          <p:nvPr/>
        </p:nvSpPr>
        <p:spPr bwMode="gray">
          <a:xfrm>
            <a:off x="6523901" y="428261"/>
            <a:ext cx="4756874" cy="830997"/>
          </a:xfrm>
          <a:prstGeom prst="rect">
            <a:avLst/>
          </a:prstGeom>
          <a:noFill/>
        </p:spPr>
        <p:txBody>
          <a:bodyPr wrap="square">
            <a:spAutoFit/>
          </a:bodyPr>
          <a:lstStyle/>
          <a:p>
            <a:pPr>
              <a:spcAft>
                <a:spcPts val="1000"/>
              </a:spcAft>
              <a:buSzPct val="100000"/>
              <a:buFont typeface="Arial" panose="020B0604020202020204" pitchFamily="34" charset="0"/>
              <a:buNone/>
              <a:defRPr/>
            </a:pPr>
            <a:r>
              <a:rPr lang="en-US" sz="2400" dirty="0">
                <a:solidFill>
                  <a:srgbClr val="86BC25"/>
                </a:solidFill>
                <a:latin typeface="Calibri"/>
                <a:cs typeface="Calibri" panose="020F0502020204030204" pitchFamily="34" charset="0"/>
              </a:rPr>
              <a:t>Thought leadership and innovation are core elements to service delivery</a:t>
            </a:r>
          </a:p>
        </p:txBody>
      </p:sp>
    </p:spTree>
    <p:extLst>
      <p:ext uri="{BB962C8B-B14F-4D97-AF65-F5344CB8AC3E}">
        <p14:creationId xmlns:p14="http://schemas.microsoft.com/office/powerpoint/2010/main" val="18678076"/>
      </p:ext>
    </p:extLst>
  </p:cSld>
  <p:clrMapOvr>
    <a:masterClrMapping/>
  </p:clrMapOvr>
  <p:transition spd="med">
    <p:pull/>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401263-F330-42D5-A856-CCCEBE4586C4}"/>
              </a:ext>
            </a:extLst>
          </p:cNvPr>
          <p:cNvSpPr/>
          <p:nvPr/>
        </p:nvSpPr>
        <p:spPr bwMode="gray">
          <a:xfrm>
            <a:off x="56858" y="31982"/>
            <a:ext cx="163919" cy="6794041"/>
          </a:xfrm>
          <a:prstGeom prst="rect">
            <a:avLst/>
          </a:prstGeom>
          <a:solidFill>
            <a:srgbClr val="343434"/>
          </a:solidFill>
          <a:ln w="19050" algn="ctr">
            <a:noFill/>
            <a:miter lim="800000"/>
            <a:headEnd/>
            <a:tailEnd/>
          </a:ln>
        </p:spPr>
        <p:txBody>
          <a:bodyPr wrap="square" lIns="88071" tIns="88071" rIns="88071" bIns="88071" rtlCol="0" anchor="b"/>
          <a:lstStyle/>
          <a:p>
            <a:pPr algn="ctr">
              <a:lnSpc>
                <a:spcPct val="106000"/>
              </a:lnSpc>
              <a:buFont typeface="Wingdings 2" pitchFamily="18" charset="2"/>
              <a:buNone/>
            </a:pPr>
            <a:endParaRPr lang="en-US" sz="791"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EC016919-2EDD-472D-8BFC-124E277AD105}"/>
              </a:ext>
            </a:extLst>
          </p:cNvPr>
          <p:cNvSpPr>
            <a:spLocks noGrp="1"/>
          </p:cNvSpPr>
          <p:nvPr>
            <p:ph type="title"/>
          </p:nvPr>
        </p:nvSpPr>
        <p:spPr bwMode="gray">
          <a:xfrm>
            <a:off x="522376" y="460105"/>
            <a:ext cx="10321069" cy="157755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b="0" dirty="0">
                <a:latin typeface="Calibri" panose="020F0502020204030204" pitchFamily="34" charset="0"/>
              </a:rPr>
              <a:t>Our Credentials</a:t>
            </a:r>
          </a:p>
        </p:txBody>
      </p:sp>
    </p:spTree>
    <p:extLst>
      <p:ext uri="{BB962C8B-B14F-4D97-AF65-F5344CB8AC3E}">
        <p14:creationId xmlns:p14="http://schemas.microsoft.com/office/powerpoint/2010/main" val="1747392478"/>
      </p:ext>
    </p:extLst>
  </p:cSld>
  <p:clrMapOvr>
    <a:masterClrMapping/>
  </p:clrMapOvr>
  <p:transition spd="med">
    <p:pull/>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4D4D7A2C-6054-411E-AC0C-0EBD162A4CB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800" b="1" dirty="0">
              <a:solidFill>
                <a:schemeClr val="bg1"/>
              </a:solidFill>
            </a:endParaRPr>
          </a:p>
        </p:txBody>
      </p:sp>
      <p:sp>
        <p:nvSpPr>
          <p:cNvPr id="113" name="Content Placeholder 3">
            <a:extLst>
              <a:ext uri="{FF2B5EF4-FFF2-40B4-BE49-F238E27FC236}">
                <a16:creationId xmlns:a16="http://schemas.microsoft.com/office/drawing/2014/main" id="{C1CD6524-0A0E-45BB-9E62-AAA26636F0CE}"/>
              </a:ext>
            </a:extLst>
          </p:cNvPr>
          <p:cNvSpPr txBox="1">
            <a:spLocks/>
          </p:cNvSpPr>
          <p:nvPr/>
        </p:nvSpPr>
        <p:spPr>
          <a:xfrm>
            <a:off x="469900" y="1229730"/>
            <a:ext cx="10633527" cy="717268"/>
          </a:xfrm>
          <a:prstGeom prst="rect">
            <a:avLst/>
          </a:prstGeom>
        </p:spPr>
        <p:txBody>
          <a:bodyPr vert="horz" lIns="0" tIns="0" rIns="0" bIns="0" rtlCol="0">
            <a:noAutofit/>
          </a:bodyPr>
          <a:lstStyle>
            <a:lvl1pPr marL="0" indent="0" algn="l" defTabSz="1219170" rtl="0" eaLnBrk="1" latinLnBrk="0" hangingPunct="1">
              <a:lnSpc>
                <a:spcPct val="120000"/>
              </a:lnSpc>
              <a:spcBef>
                <a:spcPts val="0"/>
              </a:spcBef>
              <a:spcAft>
                <a:spcPts val="12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1219170" rtl="0" eaLnBrk="1" latinLnBrk="0" hangingPunct="1">
              <a:spcBef>
                <a:spcPts val="0"/>
              </a:spcBef>
              <a:spcAft>
                <a:spcPts val="600"/>
              </a:spcAft>
              <a:buClrTx/>
              <a:buSzPct val="100000"/>
              <a:buFont typeface="Arial"/>
              <a:buNone/>
              <a:defRPr lang="en-US" sz="11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6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6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6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912813"/>
            <a:r>
              <a:rPr lang="en-GB" altLang="en-US" dirty="0">
                <a:latin typeface="Calibri" panose="020F0502020204030204" pitchFamily="34" charset="0"/>
                <a:ea typeface="Times New Roman" pitchFamily="18" charset="0"/>
                <a:cs typeface="Calibri" panose="020F0502020204030204" pitchFamily="34" charset="0"/>
              </a:rPr>
              <a:t>Our Middle East BCM practice has experienced practitioners and consultants certified in the business continuity field. We have successfully developed and evolved BCMS, implemented end-to-end projects, assessed readiness and maturity, and advised on BCM best practices.</a:t>
            </a:r>
          </a:p>
        </p:txBody>
      </p:sp>
      <p:sp>
        <p:nvSpPr>
          <p:cNvPr id="136" name="Triangle 28">
            <a:extLst>
              <a:ext uri="{FF2B5EF4-FFF2-40B4-BE49-F238E27FC236}">
                <a16:creationId xmlns:a16="http://schemas.microsoft.com/office/drawing/2014/main" id="{3259BB71-4650-4C7D-878D-F76D661FBED6}"/>
              </a:ext>
            </a:extLst>
          </p:cNvPr>
          <p:cNvSpPr/>
          <p:nvPr/>
        </p:nvSpPr>
        <p:spPr>
          <a:xfrm rot="16200000">
            <a:off x="11070140"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137" name="Title 2">
            <a:extLst>
              <a:ext uri="{FF2B5EF4-FFF2-40B4-BE49-F238E27FC236}">
                <a16:creationId xmlns:a16="http://schemas.microsoft.com/office/drawing/2014/main" id="{E7AC3A2B-8AF5-4E1A-87F8-E83FB467A7F4}"/>
              </a:ext>
            </a:extLst>
          </p:cNvPr>
          <p:cNvSpPr>
            <a:spLocks noGrp="1"/>
          </p:cNvSpPr>
          <p:nvPr>
            <p:ph type="title"/>
          </p:nvPr>
        </p:nvSpPr>
        <p:spPr>
          <a:xfrm>
            <a:off x="522373" y="430820"/>
            <a:ext cx="11147258" cy="330986"/>
          </a:xfrm>
        </p:spPr>
        <p:txBody>
          <a:bodyPr vert="horz" lIns="0" tIns="0" rIns="0" bIns="0" rtlCol="0" anchor="t" anchorCtr="0">
            <a:noAutofit/>
          </a:bodyPr>
          <a:lstStyle/>
          <a:p>
            <a:r>
              <a:rPr lang="en-US" sz="2382" dirty="0"/>
              <a:t>Our Credentials</a:t>
            </a:r>
          </a:p>
        </p:txBody>
      </p:sp>
      <p:grpSp>
        <p:nvGrpSpPr>
          <p:cNvPr id="3" name="Group 2">
            <a:extLst>
              <a:ext uri="{FF2B5EF4-FFF2-40B4-BE49-F238E27FC236}">
                <a16:creationId xmlns:a16="http://schemas.microsoft.com/office/drawing/2014/main" id="{9004DFB6-7B28-4D95-F5CB-31E30DCDB7B0}"/>
              </a:ext>
            </a:extLst>
          </p:cNvPr>
          <p:cNvGrpSpPr/>
          <p:nvPr/>
        </p:nvGrpSpPr>
        <p:grpSpPr>
          <a:xfrm>
            <a:off x="793776" y="1748728"/>
            <a:ext cx="9617537" cy="4516489"/>
            <a:chOff x="793776" y="1748728"/>
            <a:chExt cx="9617537" cy="4516489"/>
          </a:xfrm>
        </p:grpSpPr>
        <p:grpSp>
          <p:nvGrpSpPr>
            <p:cNvPr id="4" name="Group 3">
              <a:extLst>
                <a:ext uri="{FF2B5EF4-FFF2-40B4-BE49-F238E27FC236}">
                  <a16:creationId xmlns:a16="http://schemas.microsoft.com/office/drawing/2014/main" id="{EDC92925-F181-A5FA-9609-62C001977635}"/>
                </a:ext>
              </a:extLst>
            </p:cNvPr>
            <p:cNvGrpSpPr/>
            <p:nvPr/>
          </p:nvGrpSpPr>
          <p:grpSpPr>
            <a:xfrm>
              <a:off x="7508033" y="1821662"/>
              <a:ext cx="1435449" cy="4353527"/>
              <a:chOff x="7747340" y="1769404"/>
              <a:chExt cx="1532556" cy="4602018"/>
            </a:xfrm>
          </p:grpSpPr>
          <p:pic>
            <p:nvPicPr>
              <p:cNvPr id="40" name="Picture 39">
                <a:extLst>
                  <a:ext uri="{FF2B5EF4-FFF2-40B4-BE49-F238E27FC236}">
                    <a16:creationId xmlns:a16="http://schemas.microsoft.com/office/drawing/2014/main" id="{F6914A7D-8DEE-52C0-6BC1-B0B07AF57950}"/>
                  </a:ext>
                </a:extLst>
              </p:cNvPr>
              <p:cNvPicPr/>
              <p:nvPr/>
            </p:nvPicPr>
            <p:blipFill>
              <a:blip r:embed="rId2" cstate="email">
                <a:extLst>
                  <a:ext uri="{28A0092B-C50C-407E-A947-70E740481C1C}">
                    <a14:useLocalDpi xmlns:a14="http://schemas.microsoft.com/office/drawing/2010/main"/>
                  </a:ext>
                </a:extLst>
              </a:blip>
              <a:stretch>
                <a:fillRect/>
              </a:stretch>
            </p:blipFill>
            <p:spPr>
              <a:xfrm>
                <a:off x="7950929" y="4844007"/>
                <a:ext cx="1125379" cy="699958"/>
              </a:xfrm>
              <a:prstGeom prst="rect">
                <a:avLst/>
              </a:prstGeom>
            </p:spPr>
          </p:pic>
          <p:pic>
            <p:nvPicPr>
              <p:cNvPr id="41" name="Picture 40" descr="http://www.heavyliftpfi.com/_Attachments/Gallery/Shared/Etihad%20Rail%20Logo.jpg">
                <a:extLst>
                  <a:ext uri="{FF2B5EF4-FFF2-40B4-BE49-F238E27FC236}">
                    <a16:creationId xmlns:a16="http://schemas.microsoft.com/office/drawing/2014/main" id="{059C1FF1-D0FF-5069-26D4-00E9CE6DC62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29687" y="3832831"/>
                <a:ext cx="1367862" cy="59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7" descr="image001">
                <a:extLst>
                  <a:ext uri="{FF2B5EF4-FFF2-40B4-BE49-F238E27FC236}">
                    <a16:creationId xmlns:a16="http://schemas.microsoft.com/office/drawing/2014/main" id="{212FF41D-A369-5D3B-F3EB-B23116FAA9F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747340" y="2729919"/>
                <a:ext cx="1532556" cy="54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2" descr="C:\Users\haammar\Desktop\Maaden Logo - Good.png">
                <a:extLst>
                  <a:ext uri="{FF2B5EF4-FFF2-40B4-BE49-F238E27FC236}">
                    <a16:creationId xmlns:a16="http://schemas.microsoft.com/office/drawing/2014/main" id="{84FCD92D-8EBE-0210-C9B1-B6AB95337215}"/>
                  </a:ext>
                </a:extLst>
              </p:cNvPr>
              <p:cNvPicPr/>
              <p:nvPr/>
            </p:nvPicPr>
            <p:blipFill>
              <a:blip r:embed="rId5" cstate="email">
                <a:extLst>
                  <a:ext uri="{28A0092B-C50C-407E-A947-70E740481C1C}">
                    <a14:useLocalDpi xmlns:a14="http://schemas.microsoft.com/office/drawing/2010/main"/>
                  </a:ext>
                </a:extLst>
              </a:blip>
              <a:srcRect/>
              <a:stretch>
                <a:fillRect/>
              </a:stretch>
            </p:blipFill>
            <p:spPr bwMode="auto">
              <a:xfrm>
                <a:off x="7979607" y="5928174"/>
                <a:ext cx="1068023" cy="443248"/>
              </a:xfrm>
              <a:prstGeom prst="rect">
                <a:avLst/>
              </a:prstGeom>
              <a:noFill/>
              <a:ln w="9525">
                <a:noFill/>
                <a:miter lim="800000"/>
                <a:headEnd/>
                <a:tailEnd/>
              </a:ln>
            </p:spPr>
          </p:pic>
          <p:pic>
            <p:nvPicPr>
              <p:cNvPr id="44" name="Picture 43">
                <a:extLst>
                  <a:ext uri="{FF2B5EF4-FFF2-40B4-BE49-F238E27FC236}">
                    <a16:creationId xmlns:a16="http://schemas.microsoft.com/office/drawing/2014/main" id="{BF0F240F-8870-E145-B74E-C7B37BA4689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829489" y="1769404"/>
                <a:ext cx="1368258" cy="482934"/>
              </a:xfrm>
              <a:prstGeom prst="rect">
                <a:avLst/>
              </a:prstGeom>
            </p:spPr>
          </p:pic>
        </p:grpSp>
        <p:grpSp>
          <p:nvGrpSpPr>
            <p:cNvPr id="5" name="Group 4">
              <a:extLst>
                <a:ext uri="{FF2B5EF4-FFF2-40B4-BE49-F238E27FC236}">
                  <a16:creationId xmlns:a16="http://schemas.microsoft.com/office/drawing/2014/main" id="{DFB04C59-5CF7-21F2-20C6-29E205D26002}"/>
                </a:ext>
              </a:extLst>
            </p:cNvPr>
            <p:cNvGrpSpPr/>
            <p:nvPr/>
          </p:nvGrpSpPr>
          <p:grpSpPr>
            <a:xfrm>
              <a:off x="6211494" y="1903961"/>
              <a:ext cx="1370276" cy="4358508"/>
              <a:chOff x="6281189" y="1856401"/>
              <a:chExt cx="1462974" cy="4607284"/>
            </a:xfrm>
          </p:grpSpPr>
          <p:pic>
            <p:nvPicPr>
              <p:cNvPr id="34" name="Picture 33">
                <a:extLst>
                  <a:ext uri="{FF2B5EF4-FFF2-40B4-BE49-F238E27FC236}">
                    <a16:creationId xmlns:a16="http://schemas.microsoft.com/office/drawing/2014/main" id="{F16ECAC8-71EF-6686-B337-1D872935764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81189" y="4808490"/>
                <a:ext cx="1462974" cy="770993"/>
              </a:xfrm>
              <a:prstGeom prst="rect">
                <a:avLst/>
              </a:prstGeom>
            </p:spPr>
          </p:pic>
          <p:pic>
            <p:nvPicPr>
              <p:cNvPr id="35" name="Picture 34">
                <a:extLst>
                  <a:ext uri="{FF2B5EF4-FFF2-40B4-BE49-F238E27FC236}">
                    <a16:creationId xmlns:a16="http://schemas.microsoft.com/office/drawing/2014/main" id="{58E41BB4-85DA-396C-1AE0-6B879E7D6519}"/>
                  </a:ext>
                </a:extLst>
              </p:cNvPr>
              <p:cNvPicPr/>
              <p:nvPr/>
            </p:nvPicPr>
            <p:blipFill>
              <a:blip r:embed="rId8" cstate="email">
                <a:extLst>
                  <a:ext uri="{28A0092B-C50C-407E-A947-70E740481C1C}">
                    <a14:useLocalDpi xmlns:a14="http://schemas.microsoft.com/office/drawing/2010/main"/>
                  </a:ext>
                </a:extLst>
              </a:blip>
              <a:stretch>
                <a:fillRect/>
              </a:stretch>
            </p:blipFill>
            <p:spPr>
              <a:xfrm>
                <a:off x="6475491" y="4007634"/>
                <a:ext cx="1074371" cy="244446"/>
              </a:xfrm>
              <a:prstGeom prst="rect">
                <a:avLst/>
              </a:prstGeom>
            </p:spPr>
          </p:pic>
          <p:pic>
            <p:nvPicPr>
              <p:cNvPr id="37" name="Picture 36">
                <a:extLst>
                  <a:ext uri="{FF2B5EF4-FFF2-40B4-BE49-F238E27FC236}">
                    <a16:creationId xmlns:a16="http://schemas.microsoft.com/office/drawing/2014/main" id="{4D714A5F-BE51-6D08-B87F-C5219F12DCE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485932" y="2681138"/>
                <a:ext cx="1053489" cy="646854"/>
              </a:xfrm>
              <a:prstGeom prst="rect">
                <a:avLst/>
              </a:prstGeom>
            </p:spPr>
          </p:pic>
          <p:pic>
            <p:nvPicPr>
              <p:cNvPr id="38" name="Picture 37">
                <a:extLst>
                  <a:ext uri="{FF2B5EF4-FFF2-40B4-BE49-F238E27FC236}">
                    <a16:creationId xmlns:a16="http://schemas.microsoft.com/office/drawing/2014/main" id="{0FBDC3E1-7AF3-D2B5-474C-9D407B5B708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364468" y="5835911"/>
                <a:ext cx="1296417" cy="627774"/>
              </a:xfrm>
              <a:prstGeom prst="rect">
                <a:avLst/>
              </a:prstGeom>
            </p:spPr>
          </p:pic>
          <p:pic>
            <p:nvPicPr>
              <p:cNvPr id="39" name="Picture 38">
                <a:extLst>
                  <a:ext uri="{FF2B5EF4-FFF2-40B4-BE49-F238E27FC236}">
                    <a16:creationId xmlns:a16="http://schemas.microsoft.com/office/drawing/2014/main" id="{6BE2EC50-BE76-D031-76AF-7F7E73379925}"/>
                  </a:ext>
                </a:extLst>
              </p:cNvPr>
              <p:cNvPicPr/>
              <p:nvPr/>
            </p:nvPicPr>
            <p:blipFill>
              <a:blip r:embed="rId11" cstate="email">
                <a:extLst>
                  <a:ext uri="{28A0092B-C50C-407E-A947-70E740481C1C}">
                    <a14:useLocalDpi xmlns:a14="http://schemas.microsoft.com/office/drawing/2010/main"/>
                  </a:ext>
                </a:extLst>
              </a:blip>
              <a:stretch>
                <a:fillRect/>
              </a:stretch>
            </p:blipFill>
            <p:spPr>
              <a:xfrm>
                <a:off x="6373353" y="1856401"/>
                <a:ext cx="1278646" cy="308940"/>
              </a:xfrm>
              <a:prstGeom prst="rect">
                <a:avLst/>
              </a:prstGeom>
            </p:spPr>
          </p:pic>
        </p:grpSp>
        <p:grpSp>
          <p:nvGrpSpPr>
            <p:cNvPr id="6" name="Group 5">
              <a:extLst>
                <a:ext uri="{FF2B5EF4-FFF2-40B4-BE49-F238E27FC236}">
                  <a16:creationId xmlns:a16="http://schemas.microsoft.com/office/drawing/2014/main" id="{6A0F0F51-200D-FD84-2D86-88EB3BE14B4C}"/>
                </a:ext>
              </a:extLst>
            </p:cNvPr>
            <p:cNvGrpSpPr/>
            <p:nvPr/>
          </p:nvGrpSpPr>
          <p:grpSpPr>
            <a:xfrm>
              <a:off x="793776" y="1842805"/>
              <a:ext cx="1235145" cy="4407412"/>
              <a:chOff x="4884380" y="1791754"/>
              <a:chExt cx="1318702" cy="4658979"/>
            </a:xfrm>
          </p:grpSpPr>
          <p:pic>
            <p:nvPicPr>
              <p:cNvPr id="29" name="Picture 28">
                <a:extLst>
                  <a:ext uri="{FF2B5EF4-FFF2-40B4-BE49-F238E27FC236}">
                    <a16:creationId xmlns:a16="http://schemas.microsoft.com/office/drawing/2014/main" id="{1D74FB81-2A4F-0E44-EEED-CD1DE4C7B90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982615" y="4919733"/>
                <a:ext cx="1122233" cy="548507"/>
              </a:xfrm>
              <a:prstGeom prst="rect">
                <a:avLst/>
              </a:prstGeom>
            </p:spPr>
          </p:pic>
          <p:pic>
            <p:nvPicPr>
              <p:cNvPr id="30" name="Picture 29">
                <a:extLst>
                  <a:ext uri="{FF2B5EF4-FFF2-40B4-BE49-F238E27FC236}">
                    <a16:creationId xmlns:a16="http://schemas.microsoft.com/office/drawing/2014/main" id="{0FA644A2-F687-E609-7EB4-7DA002905B7C}"/>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935474" y="3910739"/>
                <a:ext cx="1216514" cy="438236"/>
              </a:xfrm>
              <a:prstGeom prst="rect">
                <a:avLst/>
              </a:prstGeom>
            </p:spPr>
          </p:pic>
          <p:pic>
            <p:nvPicPr>
              <p:cNvPr id="31" name="Picture 30">
                <a:extLst>
                  <a:ext uri="{FF2B5EF4-FFF2-40B4-BE49-F238E27FC236}">
                    <a16:creationId xmlns:a16="http://schemas.microsoft.com/office/drawing/2014/main" id="{C4B9DD11-3C40-EC8E-BF2F-930DD410EBA4}"/>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069063" y="2557906"/>
                <a:ext cx="949336" cy="893319"/>
              </a:xfrm>
              <a:prstGeom prst="rect">
                <a:avLst/>
              </a:prstGeom>
            </p:spPr>
          </p:pic>
          <p:pic>
            <p:nvPicPr>
              <p:cNvPr id="32" name="Picture 31">
                <a:extLst>
                  <a:ext uri="{FF2B5EF4-FFF2-40B4-BE49-F238E27FC236}">
                    <a16:creationId xmlns:a16="http://schemas.microsoft.com/office/drawing/2014/main" id="{F16A0588-7ADF-B0D0-56FB-918CCA8007C9}"/>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884380" y="5848864"/>
                <a:ext cx="1318702" cy="601869"/>
              </a:xfrm>
              <a:prstGeom prst="rect">
                <a:avLst/>
              </a:prstGeom>
            </p:spPr>
          </p:pic>
          <p:pic>
            <p:nvPicPr>
              <p:cNvPr id="33" name="Picture 32">
                <a:extLst>
                  <a:ext uri="{FF2B5EF4-FFF2-40B4-BE49-F238E27FC236}">
                    <a16:creationId xmlns:a16="http://schemas.microsoft.com/office/drawing/2014/main" id="{31DE60F4-D75B-4928-5156-4544D7AE3C47}"/>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939079" y="1791754"/>
                <a:ext cx="1209304" cy="438235"/>
              </a:xfrm>
              <a:prstGeom prst="rect">
                <a:avLst/>
              </a:prstGeom>
            </p:spPr>
          </p:pic>
        </p:grpSp>
        <p:pic>
          <p:nvPicPr>
            <p:cNvPr id="7" name="Picture 6" descr="C:\Users\Khaled\Desktop\Saudi Payments\Stationary\PPT Template\JPG\PPT-09.png">
              <a:extLst>
                <a:ext uri="{FF2B5EF4-FFF2-40B4-BE49-F238E27FC236}">
                  <a16:creationId xmlns:a16="http://schemas.microsoft.com/office/drawing/2014/main" id="{4AF62840-EBE5-E31A-BFD6-6696EF599995}"/>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3801692" y="2822556"/>
              <a:ext cx="841732" cy="50158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A5BC7A59-39CF-25BA-A33E-4D98CEE5805A}"/>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517240" y="4842077"/>
              <a:ext cx="1410639" cy="438506"/>
            </a:xfrm>
            <a:prstGeom prst="rect">
              <a:avLst/>
            </a:prstGeom>
          </p:spPr>
        </p:pic>
        <p:pic>
          <p:nvPicPr>
            <p:cNvPr id="9" name="Picture 133207">
              <a:extLst>
                <a:ext uri="{FF2B5EF4-FFF2-40B4-BE49-F238E27FC236}">
                  <a16:creationId xmlns:a16="http://schemas.microsoft.com/office/drawing/2014/main" id="{9FC8C2B1-1E0B-8588-4D02-6A6F6772AA06}"/>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3692307" y="3786182"/>
              <a:ext cx="1060503" cy="45440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4151F706-C199-53B6-839D-7EBF030EC89F}"/>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617467" y="5665847"/>
              <a:ext cx="1210186" cy="599370"/>
            </a:xfrm>
            <a:prstGeom prst="rect">
              <a:avLst/>
            </a:prstGeom>
          </p:spPr>
        </p:pic>
        <p:grpSp>
          <p:nvGrpSpPr>
            <p:cNvPr id="11" name="Group 10">
              <a:extLst>
                <a:ext uri="{FF2B5EF4-FFF2-40B4-BE49-F238E27FC236}">
                  <a16:creationId xmlns:a16="http://schemas.microsoft.com/office/drawing/2014/main" id="{50695B04-9254-9C10-1091-25237ED2FD9F}"/>
                </a:ext>
              </a:extLst>
            </p:cNvPr>
            <p:cNvGrpSpPr/>
            <p:nvPr/>
          </p:nvGrpSpPr>
          <p:grpSpPr>
            <a:xfrm>
              <a:off x="8944337" y="1772429"/>
              <a:ext cx="1466976" cy="4315516"/>
              <a:chOff x="9382740" y="1717361"/>
              <a:chExt cx="1566216" cy="4561838"/>
            </a:xfrm>
          </p:grpSpPr>
          <p:pic>
            <p:nvPicPr>
              <p:cNvPr id="24" name="Picture 23" descr="ENEC_HeaderLogoPNG.png">
                <a:extLst>
                  <a:ext uri="{FF2B5EF4-FFF2-40B4-BE49-F238E27FC236}">
                    <a16:creationId xmlns:a16="http://schemas.microsoft.com/office/drawing/2014/main" id="{EFDEB477-4F22-BE38-DA6E-87939B82585A}"/>
                  </a:ext>
                </a:extLst>
              </p:cNvPr>
              <p:cNvPicPr/>
              <p:nvPr/>
            </p:nvPicPr>
            <p:blipFill>
              <a:blip r:embed="rId21" cstate="email">
                <a:extLst>
                  <a:ext uri="{28A0092B-C50C-407E-A947-70E740481C1C}">
                    <a14:useLocalDpi xmlns:a14="http://schemas.microsoft.com/office/drawing/2010/main"/>
                  </a:ext>
                </a:extLst>
              </a:blip>
              <a:srcRect/>
              <a:stretch>
                <a:fillRect/>
              </a:stretch>
            </p:blipFill>
            <p:spPr>
              <a:xfrm>
                <a:off x="9828593" y="5002007"/>
                <a:ext cx="594872" cy="383958"/>
              </a:xfrm>
              <a:prstGeom prst="rect">
                <a:avLst/>
              </a:prstGeom>
              <a:noFill/>
              <a:ln>
                <a:noFill/>
              </a:ln>
            </p:spPr>
          </p:pic>
          <p:pic>
            <p:nvPicPr>
              <p:cNvPr id="25" name="Picture 24">
                <a:extLst>
                  <a:ext uri="{FF2B5EF4-FFF2-40B4-BE49-F238E27FC236}">
                    <a16:creationId xmlns:a16="http://schemas.microsoft.com/office/drawing/2014/main" id="{9595BC6C-50A6-DE23-64D6-1C60CA93E7F1}"/>
                  </a:ext>
                </a:extLst>
              </p:cNvPr>
              <p:cNvPicPr/>
              <p:nvPr/>
            </p:nvPicPr>
            <p:blipFill>
              <a:blip r:embed="rId22" cstate="email">
                <a:extLst>
                  <a:ext uri="{28A0092B-C50C-407E-A947-70E740481C1C}">
                    <a14:useLocalDpi xmlns:a14="http://schemas.microsoft.com/office/drawing/2010/main"/>
                  </a:ext>
                </a:extLst>
              </a:blip>
              <a:stretch>
                <a:fillRect/>
              </a:stretch>
            </p:blipFill>
            <p:spPr>
              <a:xfrm>
                <a:off x="9708458" y="3766663"/>
                <a:ext cx="835142" cy="726388"/>
              </a:xfrm>
              <a:prstGeom prst="rect">
                <a:avLst/>
              </a:prstGeom>
            </p:spPr>
          </p:pic>
          <p:pic>
            <p:nvPicPr>
              <p:cNvPr id="26" name="Picture 25" descr="C:\Users\haammar\AppData\Local\Microsoft\Windows\Temporary Internet Files\Content.Outlook\NVB6F3QA\CBK - LOGO.png">
                <a:extLst>
                  <a:ext uri="{FF2B5EF4-FFF2-40B4-BE49-F238E27FC236}">
                    <a16:creationId xmlns:a16="http://schemas.microsoft.com/office/drawing/2014/main" id="{032CF0D2-BC03-B47A-721E-D0E6849048EE}"/>
                  </a:ext>
                </a:extLst>
              </p:cNvPr>
              <p:cNvPicPr/>
              <p:nvPr/>
            </p:nvPicPr>
            <p:blipFill>
              <a:blip r:embed="rId23" cstate="email">
                <a:extLst>
                  <a:ext uri="{28A0092B-C50C-407E-A947-70E740481C1C}">
                    <a14:useLocalDpi xmlns:a14="http://schemas.microsoft.com/office/drawing/2010/main"/>
                  </a:ext>
                </a:extLst>
              </a:blip>
              <a:srcRect/>
              <a:stretch>
                <a:fillRect/>
              </a:stretch>
            </p:blipFill>
            <p:spPr bwMode="auto">
              <a:xfrm>
                <a:off x="9774941" y="2677651"/>
                <a:ext cx="702176" cy="653829"/>
              </a:xfrm>
              <a:prstGeom prst="rect">
                <a:avLst/>
              </a:prstGeom>
              <a:noFill/>
              <a:ln w="9525">
                <a:noFill/>
                <a:miter lim="800000"/>
                <a:headEnd/>
                <a:tailEnd/>
              </a:ln>
            </p:spPr>
          </p:pic>
          <p:graphicFrame>
            <p:nvGraphicFramePr>
              <p:cNvPr id="27" name="Object 26">
                <a:extLst>
                  <a:ext uri="{FF2B5EF4-FFF2-40B4-BE49-F238E27FC236}">
                    <a16:creationId xmlns:a16="http://schemas.microsoft.com/office/drawing/2014/main" id="{72D43646-165B-D4EE-137F-B88848ECC9F9}"/>
                  </a:ext>
                </a:extLst>
              </p:cNvPr>
              <p:cNvGraphicFramePr>
                <a:graphicFrameLocks noChangeAspect="1"/>
              </p:cNvGraphicFramePr>
              <p:nvPr>
                <p:extLst>
                  <p:ext uri="{D42A27DB-BD31-4B8C-83A1-F6EECF244321}">
                    <p14:modId xmlns:p14="http://schemas.microsoft.com/office/powerpoint/2010/main" val="1129642944"/>
                  </p:ext>
                </p:extLst>
              </p:nvPr>
            </p:nvGraphicFramePr>
            <p:xfrm>
              <a:off x="9795620" y="6020397"/>
              <a:ext cx="660818" cy="258802"/>
            </p:xfrm>
            <a:graphic>
              <a:graphicData uri="http://schemas.openxmlformats.org/presentationml/2006/ole">
                <mc:AlternateContent xmlns:mc="http://schemas.openxmlformats.org/markup-compatibility/2006">
                  <mc:Choice xmlns:v="urn:schemas-microsoft-com:vml" Requires="v">
                    <p:oleObj name="Bitmap Image" r:id="rId24" imgW="1695687" imgH="733333" progId="Paint.Picture">
                      <p:embed/>
                    </p:oleObj>
                  </mc:Choice>
                  <mc:Fallback>
                    <p:oleObj name="Bitmap Image" r:id="rId24" imgW="1695687" imgH="733333" progId="Paint.Picture">
                      <p:embed/>
                      <p:pic>
                        <p:nvPicPr>
                          <p:cNvPr id="27" name="Object 26">
                            <a:extLst>
                              <a:ext uri="{FF2B5EF4-FFF2-40B4-BE49-F238E27FC236}">
                                <a16:creationId xmlns:a16="http://schemas.microsoft.com/office/drawing/2014/main" id="{72D43646-165B-D4EE-137F-B88848ECC9F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95620" y="6020397"/>
                            <a:ext cx="660818" cy="258802"/>
                          </a:xfrm>
                          <a:prstGeom prst="rect">
                            <a:avLst/>
                          </a:prstGeom>
                          <a:noFill/>
                        </p:spPr>
                      </p:pic>
                    </p:oleObj>
                  </mc:Fallback>
                </mc:AlternateContent>
              </a:graphicData>
            </a:graphic>
          </p:graphicFrame>
          <p:pic>
            <p:nvPicPr>
              <p:cNvPr id="28" name="Picture 27" descr="Text&#10;&#10;Description automatically generated">
                <a:extLst>
                  <a:ext uri="{FF2B5EF4-FFF2-40B4-BE49-F238E27FC236}">
                    <a16:creationId xmlns:a16="http://schemas.microsoft.com/office/drawing/2014/main" id="{174F2026-244C-D347-206D-AE286B1B4C9A}"/>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9382740" y="1717361"/>
                <a:ext cx="1566216" cy="558617"/>
              </a:xfrm>
              <a:prstGeom prst="rect">
                <a:avLst/>
              </a:prstGeom>
            </p:spPr>
          </p:pic>
        </p:grpSp>
        <p:pic>
          <p:nvPicPr>
            <p:cNvPr id="12" name="Picture 11">
              <a:extLst>
                <a:ext uri="{FF2B5EF4-FFF2-40B4-BE49-F238E27FC236}">
                  <a16:creationId xmlns:a16="http://schemas.microsoft.com/office/drawing/2014/main" id="{3F64AF14-2955-4CC9-B062-1195274F8E12}"/>
                </a:ext>
              </a:extLst>
            </p:cNvPr>
            <p:cNvPicPr>
              <a:picLocks noChangeAspect="1"/>
            </p:cNvPicPr>
            <p:nvPr/>
          </p:nvPicPr>
          <p:blipFill rotWithShape="1">
            <a:blip r:embed="rId27" cstate="email">
              <a:extLst>
                <a:ext uri="{28A0092B-C50C-407E-A947-70E740481C1C}">
                  <a14:useLocalDpi xmlns:a14="http://schemas.microsoft.com/office/drawing/2010/main"/>
                </a:ext>
              </a:extLst>
            </a:blip>
            <a:srcRect/>
            <a:stretch/>
          </p:blipFill>
          <p:spPr>
            <a:xfrm>
              <a:off x="2051624" y="4790333"/>
              <a:ext cx="1539353" cy="541994"/>
            </a:xfrm>
            <a:prstGeom prst="rect">
              <a:avLst/>
            </a:prstGeom>
          </p:spPr>
        </p:pic>
        <p:pic>
          <p:nvPicPr>
            <p:cNvPr id="13" name="Picture 12">
              <a:extLst>
                <a:ext uri="{FF2B5EF4-FFF2-40B4-BE49-F238E27FC236}">
                  <a16:creationId xmlns:a16="http://schemas.microsoft.com/office/drawing/2014/main" id="{C9825414-4069-E903-EED2-9A2CFBBCBD5B}"/>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2291049" y="3808505"/>
              <a:ext cx="1060503" cy="492311"/>
            </a:xfrm>
            <a:prstGeom prst="rect">
              <a:avLst/>
            </a:prstGeom>
          </p:spPr>
        </p:pic>
        <p:pic>
          <p:nvPicPr>
            <p:cNvPr id="14" name="Picture 13" descr="http://www.iranmall.ir/source/Arab%20Banks/rte_NCB%20logo.JPG">
              <a:extLst>
                <a:ext uri="{FF2B5EF4-FFF2-40B4-BE49-F238E27FC236}">
                  <a16:creationId xmlns:a16="http://schemas.microsoft.com/office/drawing/2014/main" id="{6C5CE7A6-63E7-D940-537B-112C507086B3}"/>
                </a:ext>
              </a:extLst>
            </p:cNvPr>
            <p:cNvPicPr/>
            <p:nvPr/>
          </p:nvPicPr>
          <p:blipFill>
            <a:blip r:embed="rId29" cstate="email">
              <a:extLst>
                <a:ext uri="{28A0092B-C50C-407E-A947-70E740481C1C}">
                  <a14:useLocalDpi xmlns:a14="http://schemas.microsoft.com/office/drawing/2010/main"/>
                </a:ext>
              </a:extLst>
            </a:blip>
            <a:srcRect/>
            <a:stretch>
              <a:fillRect/>
            </a:stretch>
          </p:blipFill>
          <p:spPr bwMode="auto">
            <a:xfrm>
              <a:off x="2238501" y="5841153"/>
              <a:ext cx="1165598" cy="248757"/>
            </a:xfrm>
            <a:prstGeom prst="rect">
              <a:avLst/>
            </a:prstGeom>
            <a:noFill/>
            <a:ln>
              <a:noFill/>
            </a:ln>
          </p:spPr>
        </p:pic>
        <p:pic>
          <p:nvPicPr>
            <p:cNvPr id="15" name="Picture 14">
              <a:extLst>
                <a:ext uri="{FF2B5EF4-FFF2-40B4-BE49-F238E27FC236}">
                  <a16:creationId xmlns:a16="http://schemas.microsoft.com/office/drawing/2014/main" id="{9ABD3AC1-98BE-7327-D5A7-0B0500C4C405}"/>
                </a:ext>
              </a:extLst>
            </p:cNvPr>
            <p:cNvPicPr>
              <a:picLocks noChangeAspect="1"/>
            </p:cNvPicPr>
            <p:nvPr/>
          </p:nvPicPr>
          <p:blipFill>
            <a:blip r:embed="rId30" cstate="email">
              <a:extLst>
                <a:ext uri="{BEBA8EAE-BF5A-486C-A8C5-ECC9F3942E4B}">
                  <a14:imgProps xmlns:a14="http://schemas.microsoft.com/office/drawing/2010/main">
                    <a14:imgLayer r:embed="rId31">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2087149" y="2844622"/>
              <a:ext cx="1398235" cy="409746"/>
            </a:xfrm>
            <a:prstGeom prst="rect">
              <a:avLst/>
            </a:prstGeom>
          </p:spPr>
        </p:pic>
        <p:grpSp>
          <p:nvGrpSpPr>
            <p:cNvPr id="16" name="Group 15">
              <a:extLst>
                <a:ext uri="{FF2B5EF4-FFF2-40B4-BE49-F238E27FC236}">
                  <a16:creationId xmlns:a16="http://schemas.microsoft.com/office/drawing/2014/main" id="{665EAD10-35AF-F466-4DEC-C91D8A5C019E}"/>
                </a:ext>
              </a:extLst>
            </p:cNvPr>
            <p:cNvGrpSpPr/>
            <p:nvPr/>
          </p:nvGrpSpPr>
          <p:grpSpPr>
            <a:xfrm>
              <a:off x="4862637" y="1881658"/>
              <a:ext cx="1697977" cy="4321930"/>
              <a:chOff x="628095" y="1881658"/>
              <a:chExt cx="1697977" cy="4321930"/>
            </a:xfrm>
          </p:grpSpPr>
          <p:pic>
            <p:nvPicPr>
              <p:cNvPr id="19" name="Picture 18" descr="Logo&#10;&#10;Description automatically generated">
                <a:extLst>
                  <a:ext uri="{FF2B5EF4-FFF2-40B4-BE49-F238E27FC236}">
                    <a16:creationId xmlns:a16="http://schemas.microsoft.com/office/drawing/2014/main" id="{AA900913-F53F-9A83-B69E-8740D406F933}"/>
                  </a:ext>
                </a:extLst>
              </p:cNvPr>
              <p:cNvPicPr/>
              <p:nvPr/>
            </p:nvPicPr>
            <p:blipFill rotWithShape="1">
              <a:blip r:embed="rId32" cstate="email">
                <a:extLst>
                  <a:ext uri="{28A0092B-C50C-407E-A947-70E740481C1C}">
                    <a14:useLocalDpi xmlns:a14="http://schemas.microsoft.com/office/drawing/2010/main"/>
                  </a:ext>
                </a:extLst>
              </a:blip>
              <a:srcRect/>
              <a:stretch/>
            </p:blipFill>
            <p:spPr bwMode="auto">
              <a:xfrm>
                <a:off x="628095" y="5746731"/>
                <a:ext cx="1697977" cy="456857"/>
              </a:xfrm>
              <a:prstGeom prst="rect">
                <a:avLst/>
              </a:prstGeom>
              <a:ln>
                <a:noFill/>
              </a:ln>
              <a:extLst>
                <a:ext uri="{53640926-AAD7-44D8-BBD7-CCE9431645EC}">
                  <a14:shadowObscured xmlns:a14="http://schemas.microsoft.com/office/drawing/2010/main"/>
                </a:ext>
              </a:extLst>
            </p:spPr>
          </p:pic>
          <p:pic>
            <p:nvPicPr>
              <p:cNvPr id="20" name="Picture 19">
                <a:extLst>
                  <a:ext uri="{FF2B5EF4-FFF2-40B4-BE49-F238E27FC236}">
                    <a16:creationId xmlns:a16="http://schemas.microsoft.com/office/drawing/2014/main" id="{670EF52B-9283-2953-5E0C-F2C0C2694345}"/>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882012" y="4734967"/>
                <a:ext cx="1180605" cy="652725"/>
              </a:xfrm>
              <a:prstGeom prst="rect">
                <a:avLst/>
              </a:prstGeom>
            </p:spPr>
          </p:pic>
          <p:pic>
            <p:nvPicPr>
              <p:cNvPr id="21" name="Picture 20">
                <a:extLst>
                  <a:ext uri="{FF2B5EF4-FFF2-40B4-BE49-F238E27FC236}">
                    <a16:creationId xmlns:a16="http://schemas.microsoft.com/office/drawing/2014/main" id="{50035444-8744-49FB-F437-2A079A4898D2}"/>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a:stretch/>
            </p:blipFill>
            <p:spPr>
              <a:xfrm>
                <a:off x="739654" y="3652505"/>
                <a:ext cx="1465321" cy="804309"/>
              </a:xfrm>
              <a:prstGeom prst="rect">
                <a:avLst/>
              </a:prstGeom>
            </p:spPr>
          </p:pic>
          <p:pic>
            <p:nvPicPr>
              <p:cNvPr id="22" name="Picture 21" descr="p2">
                <a:extLst>
                  <a:ext uri="{FF2B5EF4-FFF2-40B4-BE49-F238E27FC236}">
                    <a16:creationId xmlns:a16="http://schemas.microsoft.com/office/drawing/2014/main" id="{A1533D09-E806-0550-672F-278ED3F73CF3}"/>
                  </a:ext>
                </a:extLst>
              </p:cNvPr>
              <p:cNvPicPr/>
              <p:nvPr/>
            </p:nvPicPr>
            <p:blipFill rotWithShape="1">
              <a:blip r:embed="rId35" cstate="email">
                <a:extLst>
                  <a:ext uri="{28A0092B-C50C-407E-A947-70E740481C1C}">
                    <a14:useLocalDpi xmlns:a14="http://schemas.microsoft.com/office/drawing/2010/main"/>
                  </a:ext>
                </a:extLst>
              </a:blip>
              <a:srcRect/>
              <a:stretch/>
            </p:blipFill>
            <p:spPr bwMode="auto">
              <a:xfrm>
                <a:off x="837528" y="2792197"/>
                <a:ext cx="1269573" cy="395864"/>
              </a:xfrm>
              <a:prstGeom prst="rect">
                <a:avLst/>
              </a:prstGeom>
              <a:noFill/>
              <a:ln>
                <a:noFill/>
              </a:ln>
            </p:spPr>
          </p:pic>
          <p:pic>
            <p:nvPicPr>
              <p:cNvPr id="23" name="Picture 22">
                <a:extLst>
                  <a:ext uri="{FF2B5EF4-FFF2-40B4-BE49-F238E27FC236}">
                    <a16:creationId xmlns:a16="http://schemas.microsoft.com/office/drawing/2014/main" id="{B30ECD01-D6EF-DA9F-DD0C-45D8DD39B8F7}"/>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733996" y="1881658"/>
                <a:ext cx="1462400" cy="336865"/>
              </a:xfrm>
              <a:prstGeom prst="rect">
                <a:avLst/>
              </a:prstGeom>
            </p:spPr>
          </p:pic>
        </p:grpSp>
        <p:pic>
          <p:nvPicPr>
            <p:cNvPr id="17" name="Picture 16" descr="A logo with a arch and text&#10;&#10;Description automatically generated">
              <a:extLst>
                <a:ext uri="{FF2B5EF4-FFF2-40B4-BE49-F238E27FC236}">
                  <a16:creationId xmlns:a16="http://schemas.microsoft.com/office/drawing/2014/main" id="{A8362AE7-6844-5412-00D8-7ED5D05614FA}"/>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2380434" y="1748728"/>
              <a:ext cx="881731" cy="881731"/>
            </a:xfrm>
            <a:prstGeom prst="rect">
              <a:avLst/>
            </a:prstGeom>
          </p:spPr>
        </p:pic>
        <p:pic>
          <p:nvPicPr>
            <p:cNvPr id="18" name="Picture 17">
              <a:extLst>
                <a:ext uri="{FF2B5EF4-FFF2-40B4-BE49-F238E27FC236}">
                  <a16:creationId xmlns:a16="http://schemas.microsoft.com/office/drawing/2014/main" id="{02A22FF5-FA17-A7BC-34BA-343411722B32}"/>
                </a:ext>
              </a:extLst>
            </p:cNvPr>
            <p:cNvPicPr>
              <a:picLocks noChangeAspect="1"/>
            </p:cNvPicPr>
            <p:nvPr/>
          </p:nvPicPr>
          <p:blipFill rotWithShape="1">
            <a:blip r:embed="rId38"/>
            <a:srcRect t="26688" b="25999"/>
            <a:stretch/>
          </p:blipFill>
          <p:spPr>
            <a:xfrm>
              <a:off x="3436942" y="1867282"/>
              <a:ext cx="1356818" cy="641938"/>
            </a:xfrm>
            <a:prstGeom prst="rect">
              <a:avLst/>
            </a:prstGeom>
          </p:spPr>
        </p:pic>
      </p:grpSp>
    </p:spTree>
    <p:extLst>
      <p:ext uri="{BB962C8B-B14F-4D97-AF65-F5344CB8AC3E}">
        <p14:creationId xmlns:p14="http://schemas.microsoft.com/office/powerpoint/2010/main" val="392697831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D709AC0C-89C3-44FD-851F-819E92A0D2A4}"/>
              </a:ext>
            </a:extLst>
          </p:cNvPr>
          <p:cNvSpPr>
            <a:spLocks noGrp="1"/>
          </p:cNvSpPr>
          <p:nvPr>
            <p:ph type="title"/>
          </p:nvPr>
        </p:nvSpPr>
        <p:spPr>
          <a:xfrm>
            <a:off x="522373" y="430820"/>
            <a:ext cx="11147258" cy="330986"/>
          </a:xfrm>
        </p:spPr>
        <p:txBody>
          <a:bodyPr vert="horz" lIns="0" tIns="0" rIns="0" bIns="0" rtlCol="0" anchor="t" anchorCtr="0">
            <a:noAutofit/>
          </a:bodyPr>
          <a:lstStyle/>
          <a:p>
            <a:r>
              <a:rPr lang="en-US" sz="2382" dirty="0"/>
              <a:t>Our Credentials</a:t>
            </a:r>
          </a:p>
        </p:txBody>
      </p:sp>
      <p:sp>
        <p:nvSpPr>
          <p:cNvPr id="69" name="Rectangle 68"/>
          <p:cNvSpPr/>
          <p:nvPr/>
        </p:nvSpPr>
        <p:spPr>
          <a:xfrm>
            <a:off x="1649692" y="1237200"/>
            <a:ext cx="2111969" cy="49154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70" name="Rectangle 69"/>
          <p:cNvSpPr/>
          <p:nvPr/>
        </p:nvSpPr>
        <p:spPr>
          <a:xfrm>
            <a:off x="1649692" y="1237201"/>
            <a:ext cx="2110465" cy="240569"/>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prstClr val="white"/>
                </a:solidFill>
                <a:latin typeface="+mj-lt"/>
                <a:ea typeface="Open Sans Light" panose="020B0306030504020204" pitchFamily="34" charset="0"/>
                <a:cs typeface="Open Sans Light" panose="020B0306030504020204" pitchFamily="34" charset="0"/>
              </a:rPr>
              <a:t>Royal Commission for Al Ula</a:t>
            </a:r>
          </a:p>
        </p:txBody>
      </p:sp>
      <p:sp>
        <p:nvSpPr>
          <p:cNvPr id="71" name="Rectangle 70"/>
          <p:cNvSpPr/>
          <p:nvPr/>
        </p:nvSpPr>
        <p:spPr>
          <a:xfrm>
            <a:off x="1649692" y="2201955"/>
            <a:ext cx="2110465" cy="315073"/>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srgbClr val="FFFFFF"/>
                </a:solidFill>
                <a:latin typeface="+mj-lt"/>
                <a:ea typeface="Open Sans Light" panose="020B0306030504020204" pitchFamily="34" charset="0"/>
                <a:cs typeface="Open Sans Light" panose="020B0306030504020204" pitchFamily="34" charset="0"/>
              </a:rPr>
              <a:t>Project  Details</a:t>
            </a:r>
          </a:p>
        </p:txBody>
      </p:sp>
      <p:sp>
        <p:nvSpPr>
          <p:cNvPr id="72" name="Rectangle 71"/>
          <p:cNvSpPr/>
          <p:nvPr/>
        </p:nvSpPr>
        <p:spPr>
          <a:xfrm>
            <a:off x="6162302" y="1237200"/>
            <a:ext cx="2111969" cy="4915492"/>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73" name="Rectangle 72"/>
          <p:cNvSpPr/>
          <p:nvPr/>
        </p:nvSpPr>
        <p:spPr>
          <a:xfrm>
            <a:off x="6162301" y="1237201"/>
            <a:ext cx="2110465" cy="240569"/>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defTabSz="829544"/>
            <a:r>
              <a:rPr lang="en-US" sz="700" b="1" dirty="0">
                <a:solidFill>
                  <a:schemeClr val="bg1"/>
                </a:solidFill>
                <a:latin typeface="Calibri" panose="020F0502020204030204" pitchFamily="34" charset="0"/>
                <a:ea typeface="Verdana" panose="020B0604030504040204" pitchFamily="34" charset="0"/>
                <a:cs typeface="Calibri" panose="020F0502020204030204" pitchFamily="34" charset="0"/>
              </a:rPr>
              <a:t>ROSHN Real Estate Company</a:t>
            </a:r>
          </a:p>
        </p:txBody>
      </p:sp>
      <p:sp>
        <p:nvSpPr>
          <p:cNvPr id="74" name="Rectangle 73"/>
          <p:cNvSpPr/>
          <p:nvPr/>
        </p:nvSpPr>
        <p:spPr>
          <a:xfrm>
            <a:off x="6162301" y="2201955"/>
            <a:ext cx="2110465" cy="315073"/>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sp>
        <p:nvSpPr>
          <p:cNvPr id="75" name="Rectangle 74"/>
          <p:cNvSpPr/>
          <p:nvPr/>
        </p:nvSpPr>
        <p:spPr>
          <a:xfrm>
            <a:off x="8418330" y="1237200"/>
            <a:ext cx="2111969" cy="4915492"/>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76" name="Rectangle 75"/>
          <p:cNvSpPr/>
          <p:nvPr/>
        </p:nvSpPr>
        <p:spPr>
          <a:xfrm>
            <a:off x="8418330" y="1237201"/>
            <a:ext cx="2110465" cy="240569"/>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prstClr val="white"/>
                </a:solidFill>
                <a:latin typeface="+mj-lt"/>
                <a:ea typeface="Open Sans Light" panose="020B0306030504020204" pitchFamily="34" charset="0"/>
                <a:cs typeface="Open Sans Light" panose="020B0306030504020204" pitchFamily="34" charset="0"/>
              </a:rPr>
              <a:t>Ministry of Commerce</a:t>
            </a:r>
          </a:p>
        </p:txBody>
      </p:sp>
      <p:sp>
        <p:nvSpPr>
          <p:cNvPr id="77" name="Rectangle 76"/>
          <p:cNvSpPr/>
          <p:nvPr/>
        </p:nvSpPr>
        <p:spPr>
          <a:xfrm>
            <a:off x="8418330" y="2201955"/>
            <a:ext cx="2110465" cy="315073"/>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sp>
        <p:nvSpPr>
          <p:cNvPr id="78" name="Rectangle 77"/>
          <p:cNvSpPr/>
          <p:nvPr/>
        </p:nvSpPr>
        <p:spPr>
          <a:xfrm>
            <a:off x="1721450" y="2539097"/>
            <a:ext cx="2048819" cy="808950"/>
          </a:xfrm>
          <a:prstGeom prst="rect">
            <a:avLst/>
          </a:prstGeom>
        </p:spPr>
        <p:txBody>
          <a:bodyPr wrap="square" lIns="72018" tIns="36010" rIns="72018" bIns="36010">
            <a:spAutoFit/>
          </a:bodyPr>
          <a:lstStyle/>
          <a:p>
            <a:pPr marL="154145" indent="-154145">
              <a:buFont typeface="Arial" panose="020B0604020202020204" pitchFamily="34" charset="0"/>
              <a:buChar char="•"/>
            </a:pPr>
            <a:endParaRPr lang="en-US" sz="807" b="1" dirty="0"/>
          </a:p>
          <a:p>
            <a:pPr marL="154145" indent="-154145">
              <a:buFont typeface="Arial" panose="020B0604020202020204" pitchFamily="34" charset="0"/>
              <a:buChar char="•"/>
            </a:pPr>
            <a:endParaRPr lang="en-US" sz="807" b="1" dirty="0"/>
          </a:p>
          <a:p>
            <a:pPr defTabSz="822107">
              <a:spcBef>
                <a:spcPts val="272"/>
              </a:spcBef>
            </a:pPr>
            <a:endParaRPr lang="en-US" sz="807" dirty="0">
              <a:latin typeface="Verdana" panose="020B0604030504040204" pitchFamily="34" charset="0"/>
              <a:ea typeface="Verdana" panose="020B0604030504040204" pitchFamily="34" charset="0"/>
              <a:cs typeface="Verdana" panose="020B0604030504040204" pitchFamily="34" charset="0"/>
            </a:endParaRPr>
          </a:p>
          <a:p>
            <a:pPr marL="154145" indent="-154145" defTabSz="822107">
              <a:spcBef>
                <a:spcPts val="272"/>
              </a:spcBef>
              <a:buFont typeface="Arial" panose="020B0604020202020204" pitchFamily="34" charset="0"/>
              <a:buChar char="•"/>
            </a:pPr>
            <a:endParaRPr lang="en-US" sz="807" dirty="0">
              <a:latin typeface="Verdana" panose="020B0604030504040204" pitchFamily="34" charset="0"/>
              <a:ea typeface="Verdana" panose="020B0604030504040204" pitchFamily="34" charset="0"/>
              <a:cs typeface="Verdana" panose="020B0604030504040204" pitchFamily="34" charset="0"/>
            </a:endParaRPr>
          </a:p>
          <a:p>
            <a:pPr defTabSz="822107">
              <a:spcBef>
                <a:spcPts val="272"/>
              </a:spcBef>
            </a:pPr>
            <a:endParaRPr lang="en-US" sz="807" dirty="0">
              <a:latin typeface="Verdana" panose="020B0604030504040204" pitchFamily="34" charset="0"/>
              <a:ea typeface="Verdana" panose="020B0604030504040204" pitchFamily="34" charset="0"/>
              <a:cs typeface="Verdana" panose="020B0604030504040204" pitchFamily="34" charset="0"/>
            </a:endParaRPr>
          </a:p>
        </p:txBody>
      </p:sp>
      <p:sp>
        <p:nvSpPr>
          <p:cNvPr id="80" name="Rectangle 79"/>
          <p:cNvSpPr/>
          <p:nvPr/>
        </p:nvSpPr>
        <p:spPr>
          <a:xfrm>
            <a:off x="6164020" y="2517028"/>
            <a:ext cx="2108746" cy="327782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OSHN is a real estate entity established under the Public Investment Fund (PIF).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OSH partnered with Deloitte to implement a robust BCMS in light of ROSHN’s mission and vision to make long term investments in the future of cities across Saudi Arabia by developing great communities with best-in-class homes and to be the most trusted community developer in Saudi Arabia. The engagement was completed over a period of 8 months, with below key outcom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 Business Continuity Management System which is aligned with the ISO 22301:2019 standards and is reflective of ROSHN’s culture and operation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rained, skilled professionals who understand the importance of resilience, and are confident and competent to complete their assigned roles in the BCMS.</a:t>
            </a:r>
          </a:p>
        </p:txBody>
      </p:sp>
      <p:sp>
        <p:nvSpPr>
          <p:cNvPr id="81" name="Rectangle 80"/>
          <p:cNvSpPr/>
          <p:nvPr/>
        </p:nvSpPr>
        <p:spPr>
          <a:xfrm>
            <a:off x="1651196" y="2532684"/>
            <a:ext cx="2118406" cy="2164503"/>
          </a:xfrm>
          <a:prstGeom prst="rect">
            <a:avLst/>
          </a:prstGeom>
        </p:spPr>
        <p:txBody>
          <a:bodyPr wrap="square">
            <a:spAutoFit/>
          </a:bodyPr>
          <a:lstStyle/>
          <a:p>
            <a:pPr algn="just">
              <a:lnSpc>
                <a:spcPct val="107000"/>
              </a:lnSpc>
            </a:pPr>
            <a:r>
              <a:rPr lang="en-US" sz="791" dirty="0"/>
              <a:t>Establishment and operation of Governance, Risk and Compliance (GRC). Due to its vast experience in GRC, its qualified team and strong relationships, Deloitte has recently completed a mega project for the Royal Commission for AlUla (RCU). Deloitte is responsible for the establishment of the GRC function based on the build-operate-transfer model over an 18-month period. The scope of work covered the development of the enterprise risk, enterprise resilience, governance, ethics and compliance departments part of the GRC division.</a:t>
            </a:r>
          </a:p>
        </p:txBody>
      </p:sp>
      <p:sp>
        <p:nvSpPr>
          <p:cNvPr id="83" name="Rectangle 82"/>
          <p:cNvSpPr/>
          <p:nvPr/>
        </p:nvSpPr>
        <p:spPr>
          <a:xfrm>
            <a:off x="3906089" y="1237200"/>
            <a:ext cx="2111969" cy="491549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84" name="Rectangle 83"/>
          <p:cNvSpPr/>
          <p:nvPr/>
        </p:nvSpPr>
        <p:spPr>
          <a:xfrm>
            <a:off x="3906088" y="1237201"/>
            <a:ext cx="2110465" cy="240569"/>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GB" sz="700" b="1" dirty="0">
                <a:solidFill>
                  <a:prstClr val="white"/>
                </a:solidFill>
                <a:latin typeface="Calibri" panose="020F0502020204030204" pitchFamily="34" charset="0"/>
                <a:ea typeface="Open Sans Light" panose="020B0306030504020204" pitchFamily="34" charset="0"/>
                <a:cs typeface="Calibri" panose="020F0502020204030204" pitchFamily="34" charset="0"/>
              </a:rPr>
              <a:t>Uptown Jeddah Company</a:t>
            </a:r>
          </a:p>
        </p:txBody>
      </p:sp>
      <p:sp>
        <p:nvSpPr>
          <p:cNvPr id="85" name="Rectangle 84"/>
          <p:cNvSpPr/>
          <p:nvPr/>
        </p:nvSpPr>
        <p:spPr>
          <a:xfrm>
            <a:off x="3906088" y="2201955"/>
            <a:ext cx="2110465" cy="315073"/>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sp>
        <p:nvSpPr>
          <p:cNvPr id="86" name="Rectangle 85"/>
          <p:cNvSpPr/>
          <p:nvPr/>
        </p:nvSpPr>
        <p:spPr>
          <a:xfrm>
            <a:off x="3912158" y="2517028"/>
            <a:ext cx="2104395" cy="3378232"/>
          </a:xfrm>
          <a:prstGeom prst="rect">
            <a:avLst/>
          </a:prstGeom>
        </p:spPr>
        <p:txBody>
          <a:bodyPr wrap="square">
            <a:spAutoFit/>
          </a:bodyPr>
          <a:lstStyle/>
          <a:p>
            <a:pPr algn="just">
              <a:defRPr/>
            </a:pPr>
            <a:r>
              <a:rPr lang="en-US" sz="791" dirty="0"/>
              <a:t>Uptown Jeddah Company engaged Deloitte &amp; Touche Advisory Saudi Limited to Establish the Business Continuity Management Function and implement  an end-to-end Business Continuity Management System for the Company. The project had a timeline of 10 Months. </a:t>
            </a:r>
          </a:p>
          <a:p>
            <a:pPr algn="just">
              <a:defRPr/>
            </a:pPr>
            <a:r>
              <a:rPr lang="en-US" sz="791" dirty="0"/>
              <a:t>The scope of work covered the establishment of the function develop the policy and operating model, in addition to BCM Framework and manual procedures. Also as part of the scope performing Threat Risk Assessment and Business Impact Analysis for the whole entity. As a result of this analysis, Deloitte has delivered an updated Business Continuity Plans and Recovery Strategies that are will support Uptown Jeddah Company in recovering their time critical services and operations in a timely manner. </a:t>
            </a:r>
          </a:p>
          <a:p>
            <a:pPr algn="just">
              <a:defRPr/>
            </a:pPr>
            <a:r>
              <a:rPr lang="en-US" sz="791" dirty="0"/>
              <a:t>As part of the scope Deloitte developed the Incident Response and Crisis Management framework and related plans.</a:t>
            </a:r>
          </a:p>
        </p:txBody>
      </p:sp>
      <p:pic>
        <p:nvPicPr>
          <p:cNvPr id="89" name="Picture 88"/>
          <p:cNvPicPr>
            <a:picLocks noChangeAspect="1"/>
          </p:cNvPicPr>
          <p:nvPr/>
        </p:nvPicPr>
        <p:blipFill rotWithShape="1">
          <a:blip r:embed="rId2" cstate="print">
            <a:extLst>
              <a:ext uri="{28A0092B-C50C-407E-A947-70E740481C1C}">
                <a14:useLocalDpi xmlns:a14="http://schemas.microsoft.com/office/drawing/2010/main" val="0"/>
              </a:ext>
            </a:extLst>
          </a:blip>
          <a:srcRect l="15895" t="6330" r="17755" b="8419"/>
          <a:stretch/>
        </p:blipFill>
        <p:spPr>
          <a:xfrm>
            <a:off x="9066421" y="1521663"/>
            <a:ext cx="811229" cy="648983"/>
          </a:xfrm>
          <a:prstGeom prst="rect">
            <a:avLst/>
          </a:prstGeom>
        </p:spPr>
      </p:pic>
      <p:sp>
        <p:nvSpPr>
          <p:cNvPr id="90" name="Rectangle 89"/>
          <p:cNvSpPr/>
          <p:nvPr/>
        </p:nvSpPr>
        <p:spPr>
          <a:xfrm>
            <a:off x="8415497" y="2530758"/>
            <a:ext cx="2126819" cy="2286796"/>
          </a:xfrm>
          <a:prstGeom prst="rect">
            <a:avLst/>
          </a:prstGeom>
        </p:spPr>
        <p:txBody>
          <a:bodyPr wrap="square">
            <a:spAutoFit/>
          </a:bodyPr>
          <a:lstStyle/>
          <a:p>
            <a:pPr algn="just">
              <a:defRPr/>
            </a:pPr>
            <a:r>
              <a:rPr lang="en-US" sz="791" dirty="0"/>
              <a:t>Deloitte &amp; Touche Advisory Saudi Limited led the development and implementation efforts for a comprehensive Business Continuity Management program for MC for a period of </a:t>
            </a:r>
            <a:r>
              <a:rPr lang="en-US" sz="791" b="1" dirty="0"/>
              <a:t>10 Months</a:t>
            </a:r>
            <a:r>
              <a:rPr lang="en-US" sz="791" dirty="0"/>
              <a:t>. The project comprised of establishing BCM Governance Policies and Procedures as well as conducting organization-wide Business Impact Analysis, IT Disaster Recovery Assessment and Threat Risk Assessment outlining the recovery time and recovery point objectives for the MCs critical services and processes. Moreover, a number of exercises (Tabletop and Simulation) have been conducted to evaluate MC’s crisis preparedness.</a:t>
            </a:r>
          </a:p>
        </p:txBody>
      </p:sp>
      <p:sp>
        <p:nvSpPr>
          <p:cNvPr id="27" name="Triangle 28">
            <a:extLst>
              <a:ext uri="{FF2B5EF4-FFF2-40B4-BE49-F238E27FC236}">
                <a16:creationId xmlns:a16="http://schemas.microsoft.com/office/drawing/2014/main" id="{AB22EDF0-2331-4D46-ACC7-C2607AADFB28}"/>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28" name="Rectangle 27">
            <a:extLst>
              <a:ext uri="{FF2B5EF4-FFF2-40B4-BE49-F238E27FC236}">
                <a16:creationId xmlns:a16="http://schemas.microsoft.com/office/drawing/2014/main" id="{329A7FFA-5A08-47DA-9E5C-97B51D403E7E}"/>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pic>
        <p:nvPicPr>
          <p:cNvPr id="19" name="Picture 18">
            <a:extLst>
              <a:ext uri="{FF2B5EF4-FFF2-40B4-BE49-F238E27FC236}">
                <a16:creationId xmlns:a16="http://schemas.microsoft.com/office/drawing/2014/main" id="{A6F5DF31-3276-5C7A-C616-653C58C0A98C}"/>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794999" y="1633459"/>
            <a:ext cx="1819850" cy="425390"/>
          </a:xfrm>
          <a:prstGeom prst="rect">
            <a:avLst/>
          </a:prstGeom>
        </p:spPr>
      </p:pic>
      <p:pic>
        <p:nvPicPr>
          <p:cNvPr id="20" name="Picture 19">
            <a:extLst>
              <a:ext uri="{FF2B5EF4-FFF2-40B4-BE49-F238E27FC236}">
                <a16:creationId xmlns:a16="http://schemas.microsoft.com/office/drawing/2014/main" id="{15B9C916-EEBC-9012-D078-E727AE42BC8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438809" y="1534071"/>
            <a:ext cx="1001379" cy="552225"/>
          </a:xfrm>
          <a:prstGeom prst="rect">
            <a:avLst/>
          </a:prstGeom>
        </p:spPr>
      </p:pic>
      <p:pic>
        <p:nvPicPr>
          <p:cNvPr id="21" name="Picture 20">
            <a:extLst>
              <a:ext uri="{FF2B5EF4-FFF2-40B4-BE49-F238E27FC236}">
                <a16:creationId xmlns:a16="http://schemas.microsoft.com/office/drawing/2014/main" id="{5B1FD608-80B8-28F4-E0D7-FF3419223D68}"/>
              </a:ext>
            </a:extLst>
          </p:cNvPr>
          <p:cNvPicPr>
            <a:picLocks noChangeAspect="1"/>
          </p:cNvPicPr>
          <p:nvPr/>
        </p:nvPicPr>
        <p:blipFill>
          <a:blip r:embed="rId5"/>
          <a:stretch>
            <a:fillRect/>
          </a:stretch>
        </p:blipFill>
        <p:spPr>
          <a:xfrm>
            <a:off x="6521679" y="1556826"/>
            <a:ext cx="1353429" cy="640135"/>
          </a:xfrm>
          <a:prstGeom prst="rect">
            <a:avLst/>
          </a:prstGeom>
        </p:spPr>
      </p:pic>
    </p:spTree>
    <p:extLst>
      <p:ext uri="{BB962C8B-B14F-4D97-AF65-F5344CB8AC3E}">
        <p14:creationId xmlns:p14="http://schemas.microsoft.com/office/powerpoint/2010/main" val="398287861"/>
      </p:ext>
    </p:extLst>
  </p:cSld>
  <p:clrMapOvr>
    <a:masterClrMapping/>
  </p:clrMapOvr>
  <p:transition spd="med">
    <p:pull/>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D709AC0C-89C3-44FD-851F-819E92A0D2A4}"/>
              </a:ext>
            </a:extLst>
          </p:cNvPr>
          <p:cNvSpPr>
            <a:spLocks noGrp="1"/>
          </p:cNvSpPr>
          <p:nvPr>
            <p:ph type="title"/>
          </p:nvPr>
        </p:nvSpPr>
        <p:spPr>
          <a:xfrm>
            <a:off x="522373" y="430820"/>
            <a:ext cx="11147258" cy="330986"/>
          </a:xfrm>
        </p:spPr>
        <p:txBody>
          <a:bodyPr vert="horz" lIns="0" tIns="0" rIns="0" bIns="0" rtlCol="0" anchor="t" anchorCtr="0">
            <a:noAutofit/>
          </a:bodyPr>
          <a:lstStyle/>
          <a:p>
            <a:r>
              <a:rPr lang="en-US" sz="2382" dirty="0"/>
              <a:t>Our Credentials</a:t>
            </a:r>
          </a:p>
        </p:txBody>
      </p:sp>
      <p:sp>
        <p:nvSpPr>
          <p:cNvPr id="27" name="Triangle 28">
            <a:extLst>
              <a:ext uri="{FF2B5EF4-FFF2-40B4-BE49-F238E27FC236}">
                <a16:creationId xmlns:a16="http://schemas.microsoft.com/office/drawing/2014/main" id="{AB22EDF0-2331-4D46-ACC7-C2607AADFB28}"/>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28" name="Rectangle 27">
            <a:extLst>
              <a:ext uri="{FF2B5EF4-FFF2-40B4-BE49-F238E27FC236}">
                <a16:creationId xmlns:a16="http://schemas.microsoft.com/office/drawing/2014/main" id="{329A7FFA-5A08-47DA-9E5C-97B51D403E7E}"/>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grpSp>
        <p:nvGrpSpPr>
          <p:cNvPr id="5" name="Group 4">
            <a:extLst>
              <a:ext uri="{FF2B5EF4-FFF2-40B4-BE49-F238E27FC236}">
                <a16:creationId xmlns:a16="http://schemas.microsoft.com/office/drawing/2014/main" id="{8624C585-F0B2-1F8D-58B1-9F915F97B7D9}"/>
              </a:ext>
            </a:extLst>
          </p:cNvPr>
          <p:cNvGrpSpPr/>
          <p:nvPr/>
        </p:nvGrpSpPr>
        <p:grpSpPr>
          <a:xfrm>
            <a:off x="1649692" y="1237200"/>
            <a:ext cx="8892624" cy="4915492"/>
            <a:chOff x="1649692" y="1237200"/>
            <a:chExt cx="8892624" cy="4915492"/>
          </a:xfrm>
        </p:grpSpPr>
        <p:sp>
          <p:nvSpPr>
            <p:cNvPr id="69" name="Rectangle 68"/>
            <p:cNvSpPr/>
            <p:nvPr/>
          </p:nvSpPr>
          <p:spPr>
            <a:xfrm>
              <a:off x="1649692" y="1237200"/>
              <a:ext cx="2111969" cy="49154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70" name="Rectangle 69"/>
            <p:cNvSpPr/>
            <p:nvPr/>
          </p:nvSpPr>
          <p:spPr>
            <a:xfrm>
              <a:off x="1649692" y="1237201"/>
              <a:ext cx="2110465" cy="240569"/>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GB" sz="707" b="1" dirty="0">
                  <a:solidFill>
                    <a:prstClr val="white"/>
                  </a:solidFill>
                  <a:latin typeface="+mj-lt"/>
                  <a:ea typeface="Open Sans Light" panose="020B0306030504020204" pitchFamily="34" charset="0"/>
                  <a:cs typeface="Open Sans Light" panose="020B0306030504020204" pitchFamily="34" charset="0"/>
                </a:rPr>
                <a:t>Saudi Arabian Monetary Authority (SAMA)</a:t>
              </a:r>
            </a:p>
          </p:txBody>
        </p:sp>
        <p:sp>
          <p:nvSpPr>
            <p:cNvPr id="71" name="Rectangle 70"/>
            <p:cNvSpPr/>
            <p:nvPr/>
          </p:nvSpPr>
          <p:spPr>
            <a:xfrm>
              <a:off x="1649692" y="2201955"/>
              <a:ext cx="2110465" cy="315073"/>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srgbClr val="FFFFFF"/>
                  </a:solidFill>
                  <a:latin typeface="+mj-lt"/>
                  <a:ea typeface="Open Sans Light" panose="020B0306030504020204" pitchFamily="34" charset="0"/>
                  <a:cs typeface="Open Sans Light" panose="020B0306030504020204" pitchFamily="34" charset="0"/>
                </a:rPr>
                <a:t>Project  Details</a:t>
              </a:r>
            </a:p>
          </p:txBody>
        </p:sp>
        <p:sp>
          <p:nvSpPr>
            <p:cNvPr id="72" name="Rectangle 71"/>
            <p:cNvSpPr/>
            <p:nvPr/>
          </p:nvSpPr>
          <p:spPr>
            <a:xfrm>
              <a:off x="6162302" y="1237200"/>
              <a:ext cx="2111969" cy="4915492"/>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73" name="Rectangle 72"/>
            <p:cNvSpPr/>
            <p:nvPr/>
          </p:nvSpPr>
          <p:spPr>
            <a:xfrm>
              <a:off x="6162301" y="1237201"/>
              <a:ext cx="2110465" cy="240569"/>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defTabSz="822107"/>
              <a:r>
                <a:rPr lang="en-US" sz="717" b="1" dirty="0">
                  <a:solidFill>
                    <a:schemeClr val="bg1"/>
                  </a:solidFill>
                  <a:latin typeface="+mj-lt"/>
                  <a:ea typeface="Verdana" panose="020B0604030504040204" pitchFamily="34" charset="0"/>
                  <a:cs typeface="Verdana" panose="020B0604030504040204" pitchFamily="34" charset="0"/>
                </a:rPr>
                <a:t>Bupa Arabia</a:t>
              </a:r>
            </a:p>
          </p:txBody>
        </p:sp>
        <p:sp>
          <p:nvSpPr>
            <p:cNvPr id="74" name="Rectangle 73"/>
            <p:cNvSpPr/>
            <p:nvPr/>
          </p:nvSpPr>
          <p:spPr>
            <a:xfrm>
              <a:off x="6162301" y="2201955"/>
              <a:ext cx="2110465" cy="315073"/>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sp>
          <p:nvSpPr>
            <p:cNvPr id="75" name="Rectangle 74"/>
            <p:cNvSpPr/>
            <p:nvPr/>
          </p:nvSpPr>
          <p:spPr>
            <a:xfrm>
              <a:off x="8418330" y="1237200"/>
              <a:ext cx="2111969" cy="4915492"/>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76" name="Rectangle 75"/>
            <p:cNvSpPr/>
            <p:nvPr/>
          </p:nvSpPr>
          <p:spPr>
            <a:xfrm>
              <a:off x="8418330" y="1237201"/>
              <a:ext cx="2110465" cy="240569"/>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prstClr val="white"/>
                  </a:solidFill>
                  <a:latin typeface="+mj-lt"/>
                  <a:ea typeface="Open Sans Light" panose="020B0306030504020204" pitchFamily="34" charset="0"/>
                  <a:cs typeface="Open Sans Light" panose="020B0306030504020204" pitchFamily="34" charset="0"/>
                </a:rPr>
                <a:t>Tadawul</a:t>
              </a:r>
            </a:p>
          </p:txBody>
        </p:sp>
        <p:sp>
          <p:nvSpPr>
            <p:cNvPr id="77" name="Rectangle 76"/>
            <p:cNvSpPr/>
            <p:nvPr/>
          </p:nvSpPr>
          <p:spPr>
            <a:xfrm>
              <a:off x="8418330" y="2201955"/>
              <a:ext cx="2110465" cy="315073"/>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sp>
          <p:nvSpPr>
            <p:cNvPr id="78" name="Rectangle 77"/>
            <p:cNvSpPr/>
            <p:nvPr/>
          </p:nvSpPr>
          <p:spPr>
            <a:xfrm>
              <a:off x="1721450" y="2539097"/>
              <a:ext cx="2048819" cy="808950"/>
            </a:xfrm>
            <a:prstGeom prst="rect">
              <a:avLst/>
            </a:prstGeom>
          </p:spPr>
          <p:txBody>
            <a:bodyPr wrap="square" lIns="72018" tIns="36010" rIns="72018" bIns="36010">
              <a:spAutoFit/>
            </a:bodyPr>
            <a:lstStyle/>
            <a:p>
              <a:pPr marL="154145" indent="-154145">
                <a:buFont typeface="Arial" panose="020B0604020202020204" pitchFamily="34" charset="0"/>
                <a:buChar char="•"/>
              </a:pPr>
              <a:endParaRPr lang="en-US" sz="807" b="1" dirty="0"/>
            </a:p>
            <a:p>
              <a:pPr marL="154145" indent="-154145">
                <a:buFont typeface="Arial" panose="020B0604020202020204" pitchFamily="34" charset="0"/>
                <a:buChar char="•"/>
              </a:pPr>
              <a:endParaRPr lang="en-US" sz="807" b="1" dirty="0"/>
            </a:p>
            <a:p>
              <a:pPr defTabSz="822107">
                <a:spcBef>
                  <a:spcPts val="272"/>
                </a:spcBef>
              </a:pPr>
              <a:endParaRPr lang="en-US" sz="807" dirty="0">
                <a:latin typeface="Verdana" panose="020B0604030504040204" pitchFamily="34" charset="0"/>
                <a:ea typeface="Verdana" panose="020B0604030504040204" pitchFamily="34" charset="0"/>
                <a:cs typeface="Verdana" panose="020B0604030504040204" pitchFamily="34" charset="0"/>
              </a:endParaRPr>
            </a:p>
            <a:p>
              <a:pPr marL="154145" indent="-154145" defTabSz="822107">
                <a:spcBef>
                  <a:spcPts val="272"/>
                </a:spcBef>
                <a:buFont typeface="Arial" panose="020B0604020202020204" pitchFamily="34" charset="0"/>
                <a:buChar char="•"/>
              </a:pPr>
              <a:endParaRPr lang="en-US" sz="807" dirty="0">
                <a:latin typeface="Verdana" panose="020B0604030504040204" pitchFamily="34" charset="0"/>
                <a:ea typeface="Verdana" panose="020B0604030504040204" pitchFamily="34" charset="0"/>
                <a:cs typeface="Verdana" panose="020B0604030504040204" pitchFamily="34" charset="0"/>
              </a:endParaRPr>
            </a:p>
            <a:p>
              <a:pPr defTabSz="822107">
                <a:spcBef>
                  <a:spcPts val="272"/>
                </a:spcBef>
              </a:pPr>
              <a:endParaRPr lang="en-US" sz="807" dirty="0">
                <a:latin typeface="Verdana" panose="020B0604030504040204" pitchFamily="34" charset="0"/>
                <a:ea typeface="Verdana" panose="020B0604030504040204" pitchFamily="34" charset="0"/>
                <a:cs typeface="Verdana" panose="020B0604030504040204" pitchFamily="34" charset="0"/>
              </a:endParaRPr>
            </a:p>
          </p:txBody>
        </p:sp>
        <p:sp>
          <p:nvSpPr>
            <p:cNvPr id="80" name="Rectangle 79"/>
            <p:cNvSpPr/>
            <p:nvPr/>
          </p:nvSpPr>
          <p:spPr>
            <a:xfrm>
              <a:off x="6164020" y="2517028"/>
              <a:ext cx="2159406" cy="3591794"/>
            </a:xfrm>
            <a:prstGeom prst="rect">
              <a:avLst/>
            </a:prstGeom>
          </p:spPr>
          <p:txBody>
            <a:bodyPr wrap="square">
              <a:spAutoFit/>
            </a:bodyPr>
            <a:lstStyle/>
            <a:p>
              <a:pPr algn="just">
                <a:defRPr/>
              </a:pPr>
              <a:r>
                <a:rPr lang="en-US" sz="791" dirty="0"/>
                <a:t>Bupa Arabia, a leading insurer in Saudi Arabia, engaged Deloitte to develop and implement an end-to-end BCM Program covering their Head Office and other locations.</a:t>
              </a:r>
            </a:p>
            <a:p>
              <a:pPr algn="just">
                <a:defRPr/>
              </a:pPr>
              <a:endParaRPr lang="en-US" sz="791" dirty="0"/>
            </a:p>
            <a:p>
              <a:pPr algn="just">
                <a:defRPr/>
              </a:pPr>
              <a:r>
                <a:rPr lang="en-US" sz="791" dirty="0"/>
                <a:t>Deloitte &amp; Touche M.E is working with Bupa Arabia to deliver an end-to-end BCM Program, focusing on developing a well prepared framework to minimize the impacts due to business disruption, provision to protect the interests of key stakeholders, and establish a process for internal communication, decision making and priority setting during incidents.</a:t>
              </a:r>
            </a:p>
            <a:p>
              <a:pPr algn="just">
                <a:defRPr/>
              </a:pPr>
              <a:endParaRPr lang="en-US" sz="791" dirty="0"/>
            </a:p>
            <a:p>
              <a:pPr algn="just">
                <a:defRPr/>
              </a:pPr>
              <a:r>
                <a:rPr lang="en-US" sz="791" dirty="0"/>
                <a:t>Our team is working closely with Bupa to build a culture of resilience to protect its mission, vision, and goals, and to mitigate risks. Deloitte has successfully developed a BCM Framework and Governance structure for Bupa and is currently delivering key assessments and strategies, that will be followed by a comprehensive Incident Response and Crisis Management framework.</a:t>
              </a:r>
            </a:p>
          </p:txBody>
        </p:sp>
        <p:sp>
          <p:nvSpPr>
            <p:cNvPr id="81" name="Rectangle 80"/>
            <p:cNvSpPr/>
            <p:nvPr/>
          </p:nvSpPr>
          <p:spPr>
            <a:xfrm>
              <a:off x="1651196" y="2532684"/>
              <a:ext cx="2118406" cy="3602784"/>
            </a:xfrm>
            <a:prstGeom prst="rect">
              <a:avLst/>
            </a:prstGeom>
          </p:spPr>
          <p:txBody>
            <a:bodyPr wrap="square">
              <a:spAutoFit/>
            </a:bodyPr>
            <a:lstStyle/>
            <a:p>
              <a:pPr algn="just">
                <a:lnSpc>
                  <a:spcPct val="107000"/>
                </a:lnSpc>
              </a:pPr>
              <a:r>
                <a:rPr lang="en-US" sz="791" dirty="0"/>
                <a:t>Deloitte was engaged to develop Business Continuity Development Program for SAMA Head Office, all branches and Committees across the Kingdom. In line with the understanding of the vision and requirements of SAMA, Deloitte built on its realization of the scale and criticality of such an important initiative by investing </a:t>
              </a:r>
              <a:r>
                <a:rPr lang="en-US" sz="791" b="1" dirty="0"/>
                <a:t>24 months</a:t>
              </a:r>
              <a:r>
                <a:rPr lang="en-US" sz="791" dirty="0"/>
                <a:t> of extensive efforts of hands-on involvement to develop an end-to-end BCM program. The dedicated team steered the development of the program in its initial stages by assessing and understanding existing resilience capabilities of the organization, only to be followed with a multi-month in-depth BIA of the entire organization (including the Headquarters in Riyadh as well as the authority’s ten branches across the kingdom) to derive the authority’s time-critical processes and identify recovery requirements needed to support the recovery of such processes. </a:t>
              </a:r>
            </a:p>
          </p:txBody>
        </p:sp>
        <p:pic>
          <p:nvPicPr>
            <p:cNvPr id="82" name="Picture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80406" y="1530003"/>
              <a:ext cx="638313" cy="638313"/>
            </a:xfrm>
            <a:prstGeom prst="rect">
              <a:avLst/>
            </a:prstGeom>
          </p:spPr>
        </p:pic>
        <p:sp>
          <p:nvSpPr>
            <p:cNvPr id="83" name="Rectangle 82"/>
            <p:cNvSpPr/>
            <p:nvPr/>
          </p:nvSpPr>
          <p:spPr>
            <a:xfrm>
              <a:off x="3906089" y="1237200"/>
              <a:ext cx="2111969" cy="491549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84" name="Rectangle 83"/>
            <p:cNvSpPr/>
            <p:nvPr/>
          </p:nvSpPr>
          <p:spPr>
            <a:xfrm>
              <a:off x="3906088" y="1237201"/>
              <a:ext cx="2110465" cy="240569"/>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GB" sz="717" b="1" dirty="0">
                  <a:solidFill>
                    <a:prstClr val="white"/>
                  </a:solidFill>
                  <a:latin typeface="+mj-lt"/>
                  <a:ea typeface="Open Sans Light" panose="020B0306030504020204" pitchFamily="34" charset="0"/>
                  <a:cs typeface="Open Sans Light" panose="020B0306030504020204" pitchFamily="34" charset="0"/>
                </a:rPr>
                <a:t>Saudi Payments (SADAD)</a:t>
              </a:r>
            </a:p>
          </p:txBody>
        </p:sp>
        <p:sp>
          <p:nvSpPr>
            <p:cNvPr id="85" name="Rectangle 84"/>
            <p:cNvSpPr/>
            <p:nvPr/>
          </p:nvSpPr>
          <p:spPr>
            <a:xfrm>
              <a:off x="3906088" y="2201955"/>
              <a:ext cx="2110465" cy="315073"/>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sp>
          <p:nvSpPr>
            <p:cNvPr id="86" name="Rectangle 85"/>
            <p:cNvSpPr/>
            <p:nvPr/>
          </p:nvSpPr>
          <p:spPr>
            <a:xfrm>
              <a:off x="3912158" y="2517028"/>
              <a:ext cx="2104395" cy="3628383"/>
            </a:xfrm>
            <a:prstGeom prst="rect">
              <a:avLst/>
            </a:prstGeom>
          </p:spPr>
          <p:txBody>
            <a:bodyPr wrap="square">
              <a:spAutoFit/>
            </a:bodyPr>
            <a:lstStyle/>
            <a:p>
              <a:pPr algn="just">
                <a:defRPr/>
              </a:pPr>
              <a:r>
                <a:rPr lang="en-US" sz="791" dirty="0"/>
                <a:t>Saudi Payments (ex. SADAD Payment System) was established by the Saudi Arabian Monetary Authority (SAMA) to be the national Electronic Bill Presentment and Payment (EBPP) service provider for the Kingdom of Saudi Arabia (KSA). The core mandate for SADAD is to facilitate and streamline bill payment transactions of end consumers through all channels of the Kingdom’s Banks. SADAD was launched on October 3, 2004. SADAD links the commercial sector and local banks, offering the ability to collect customer payments electronically through all the banking channels in the kingdom 24 hours a day.</a:t>
              </a:r>
            </a:p>
            <a:p>
              <a:pPr algn="just">
                <a:defRPr/>
              </a:pPr>
              <a:endParaRPr lang="en-US" sz="791" dirty="0"/>
            </a:p>
            <a:p>
              <a:pPr algn="just">
                <a:defRPr/>
              </a:pPr>
              <a:r>
                <a:rPr lang="en-US" sz="791" dirty="0"/>
                <a:t>Deloitte has been appointed by SAMA to manage the Governance, Risk and Compliance function of SADAD for </a:t>
              </a:r>
              <a:r>
                <a:rPr lang="en-US" sz="791" b="1" dirty="0"/>
                <a:t>2 years</a:t>
              </a:r>
              <a:r>
                <a:rPr lang="en-US" sz="791" dirty="0"/>
                <a:t>. This includes management and maintenance of Business Continuity Management, Enterprise Risk Management, Information Security Governance, Fraud Risk Management and Compliance Management.</a:t>
              </a:r>
            </a:p>
          </p:txBody>
        </p:sp>
        <p:pic>
          <p:nvPicPr>
            <p:cNvPr id="87" name="Picture 6" descr="C:\Users\Khaled\Desktop\Saudi Payments\Stationary\PPT Template\JPG\PPT-0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56902" y="1537793"/>
              <a:ext cx="1030401" cy="60793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7" descr="p2"/>
            <p:cNvPicPr/>
            <p:nvPr/>
          </p:nvPicPr>
          <p:blipFill rotWithShape="1">
            <a:blip r:embed="rId4" cstate="print">
              <a:extLst>
                <a:ext uri="{28A0092B-C50C-407E-A947-70E740481C1C}">
                  <a14:useLocalDpi xmlns:a14="http://schemas.microsoft.com/office/drawing/2010/main" val="0"/>
                </a:ext>
              </a:extLst>
            </a:blip>
            <a:srcRect r="59164"/>
            <a:stretch/>
          </p:blipFill>
          <p:spPr bwMode="auto">
            <a:xfrm>
              <a:off x="1760632" y="1571951"/>
              <a:ext cx="1897093" cy="535819"/>
            </a:xfrm>
            <a:prstGeom prst="rect">
              <a:avLst/>
            </a:prstGeom>
            <a:noFill/>
            <a:ln>
              <a:noFill/>
            </a:ln>
          </p:spPr>
        </p:pic>
        <p:sp>
          <p:nvSpPr>
            <p:cNvPr id="90" name="Rectangle 89"/>
            <p:cNvSpPr/>
            <p:nvPr/>
          </p:nvSpPr>
          <p:spPr>
            <a:xfrm>
              <a:off x="8415497" y="2530758"/>
              <a:ext cx="2126819" cy="2161233"/>
            </a:xfrm>
            <a:prstGeom prst="rect">
              <a:avLst/>
            </a:prstGeom>
          </p:spPr>
          <p:txBody>
            <a:bodyPr wrap="square">
              <a:spAutoFit/>
            </a:bodyPr>
            <a:lstStyle/>
            <a:p>
              <a:pPr algn="just">
                <a:defRPr/>
              </a:pPr>
              <a:r>
                <a:rPr lang="en-US" sz="791" dirty="0"/>
                <a:t>Tadawul has Business Continuity (BC) arrangements in place and was striving to ensure its BC program is enhanced and up to date. </a:t>
              </a:r>
            </a:p>
            <a:p>
              <a:pPr algn="just">
                <a:defRPr/>
              </a:pPr>
              <a:endParaRPr lang="en-US" sz="791" dirty="0"/>
            </a:p>
            <a:p>
              <a:pPr algn="just">
                <a:defRPr/>
              </a:pPr>
              <a:r>
                <a:rPr lang="en-US" sz="791" dirty="0"/>
                <a:t>To achieve this, Tadawul sought the services of Deloitte to provide expert advice and assistance to enable the Risk Management Division (RMD) undertake an update cycle of Tadawul’s BC program with the aim of raising the quality and maturity to the program further (including initiation of expanding the scope of the program to the Subsidiary), and also focusing on building exercising and testing capability.</a:t>
              </a:r>
            </a:p>
          </p:txBody>
        </p:sp>
        <p:pic>
          <p:nvPicPr>
            <p:cNvPr id="4" name="Picture 3">
              <a:extLst>
                <a:ext uri="{FF2B5EF4-FFF2-40B4-BE49-F238E27FC236}">
                  <a16:creationId xmlns:a16="http://schemas.microsoft.com/office/drawing/2014/main" id="{D19B254A-5D27-7091-7292-DEAE3AEA5A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84637" y="1540475"/>
              <a:ext cx="1301855" cy="617846"/>
            </a:xfrm>
            <a:prstGeom prst="rect">
              <a:avLst/>
            </a:prstGeom>
          </p:spPr>
        </p:pic>
      </p:grpSp>
    </p:spTree>
    <p:extLst>
      <p:ext uri="{BB962C8B-B14F-4D97-AF65-F5344CB8AC3E}">
        <p14:creationId xmlns:p14="http://schemas.microsoft.com/office/powerpoint/2010/main" val="2276031734"/>
      </p:ext>
    </p:extLst>
  </p:cSld>
  <p:clrMapOvr>
    <a:masterClrMapping/>
  </p:clrMapOvr>
  <p:transition spd="med">
    <p:pull/>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D709AC0C-89C3-44FD-851F-819E92A0D2A4}"/>
              </a:ext>
            </a:extLst>
          </p:cNvPr>
          <p:cNvSpPr>
            <a:spLocks noGrp="1"/>
          </p:cNvSpPr>
          <p:nvPr>
            <p:ph type="title"/>
          </p:nvPr>
        </p:nvSpPr>
        <p:spPr>
          <a:xfrm>
            <a:off x="522373" y="430820"/>
            <a:ext cx="11147258" cy="330986"/>
          </a:xfrm>
        </p:spPr>
        <p:txBody>
          <a:bodyPr vert="horz" lIns="0" tIns="0" rIns="0" bIns="0" rtlCol="0" anchor="t" anchorCtr="0">
            <a:noAutofit/>
          </a:bodyPr>
          <a:lstStyle/>
          <a:p>
            <a:r>
              <a:rPr lang="en-US" sz="2382" dirty="0"/>
              <a:t>Our Credentials</a:t>
            </a:r>
          </a:p>
        </p:txBody>
      </p:sp>
      <p:grpSp>
        <p:nvGrpSpPr>
          <p:cNvPr id="2" name="Group 1"/>
          <p:cNvGrpSpPr/>
          <p:nvPr/>
        </p:nvGrpSpPr>
        <p:grpSpPr>
          <a:xfrm>
            <a:off x="1655703" y="1288857"/>
            <a:ext cx="8880606" cy="4915492"/>
            <a:chOff x="483742" y="1268704"/>
            <a:chExt cx="8964210" cy="4961767"/>
          </a:xfrm>
        </p:grpSpPr>
        <p:sp>
          <p:nvSpPr>
            <p:cNvPr id="25" name="Rectangle 24"/>
            <p:cNvSpPr/>
            <p:nvPr/>
          </p:nvSpPr>
          <p:spPr>
            <a:xfrm>
              <a:off x="483742" y="1268704"/>
              <a:ext cx="2131851" cy="4961767"/>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26" name="Rectangle 25"/>
            <p:cNvSpPr/>
            <p:nvPr/>
          </p:nvSpPr>
          <p:spPr>
            <a:xfrm>
              <a:off x="483742" y="1268705"/>
              <a:ext cx="2130333" cy="242834"/>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GB" sz="707" b="1" dirty="0">
                  <a:solidFill>
                    <a:prstClr val="white"/>
                  </a:solidFill>
                  <a:latin typeface="+mj-lt"/>
                  <a:ea typeface="Open Sans Light" panose="020B0306030504020204" pitchFamily="34" charset="0"/>
                  <a:cs typeface="Open Sans Light" panose="020B0306030504020204" pitchFamily="34" charset="0"/>
                </a:rPr>
                <a:t>Saudi National Bank</a:t>
              </a:r>
            </a:p>
          </p:txBody>
        </p:sp>
        <p:sp>
          <p:nvSpPr>
            <p:cNvPr id="27" name="Rectangle 26"/>
            <p:cNvSpPr/>
            <p:nvPr/>
          </p:nvSpPr>
          <p:spPr>
            <a:xfrm>
              <a:off x="483742" y="2242541"/>
              <a:ext cx="2130333" cy="318039"/>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21" b="1" dirty="0">
                  <a:solidFill>
                    <a:srgbClr val="FFFFFF"/>
                  </a:solidFill>
                  <a:ea typeface="Open Sans Light" panose="020B0306030504020204" pitchFamily="34" charset="0"/>
                  <a:cs typeface="Open Sans Light" panose="020B0306030504020204" pitchFamily="34" charset="0"/>
                </a:rPr>
                <a:t>Project  Details</a:t>
              </a:r>
            </a:p>
          </p:txBody>
        </p:sp>
        <p:sp>
          <p:nvSpPr>
            <p:cNvPr id="28" name="Rectangle 27"/>
            <p:cNvSpPr/>
            <p:nvPr/>
          </p:nvSpPr>
          <p:spPr>
            <a:xfrm>
              <a:off x="5038834" y="1268704"/>
              <a:ext cx="2131851" cy="4961767"/>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29" name="Rectangle 28"/>
            <p:cNvSpPr/>
            <p:nvPr/>
          </p:nvSpPr>
          <p:spPr>
            <a:xfrm>
              <a:off x="5038833" y="1268705"/>
              <a:ext cx="2130333" cy="242834"/>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defTabSz="822107"/>
              <a:r>
                <a:rPr lang="en-US" sz="717" b="1" dirty="0">
                  <a:solidFill>
                    <a:schemeClr val="bg1"/>
                  </a:solidFill>
                  <a:latin typeface="+mj-lt"/>
                  <a:ea typeface="Verdana" panose="020B0604030504040204" pitchFamily="34" charset="0"/>
                  <a:cs typeface="Verdana" panose="020B0604030504040204" pitchFamily="34" charset="0"/>
                </a:rPr>
                <a:t>Ma’aden</a:t>
              </a:r>
            </a:p>
          </p:txBody>
        </p:sp>
        <p:sp>
          <p:nvSpPr>
            <p:cNvPr id="30" name="Rectangle 29"/>
            <p:cNvSpPr/>
            <p:nvPr/>
          </p:nvSpPr>
          <p:spPr>
            <a:xfrm>
              <a:off x="5038833" y="2242541"/>
              <a:ext cx="2130333" cy="318039"/>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sp>
          <p:nvSpPr>
            <p:cNvPr id="31" name="Rectangle 30"/>
            <p:cNvSpPr/>
            <p:nvPr/>
          </p:nvSpPr>
          <p:spPr>
            <a:xfrm>
              <a:off x="7316101" y="1268704"/>
              <a:ext cx="2131851" cy="4961767"/>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32" name="Rectangle 31"/>
            <p:cNvSpPr/>
            <p:nvPr/>
          </p:nvSpPr>
          <p:spPr>
            <a:xfrm>
              <a:off x="7316101" y="1268705"/>
              <a:ext cx="2130333" cy="242834"/>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prstClr val="white"/>
                  </a:solidFill>
                  <a:latin typeface="+mj-lt"/>
                  <a:ea typeface="Open Sans Light" panose="020B0306030504020204" pitchFamily="34" charset="0"/>
                  <a:cs typeface="Open Sans Light" panose="020B0306030504020204" pitchFamily="34" charset="0"/>
                </a:rPr>
                <a:t>OSN</a:t>
              </a:r>
            </a:p>
          </p:txBody>
        </p:sp>
        <p:sp>
          <p:nvSpPr>
            <p:cNvPr id="34" name="Rectangle 33"/>
            <p:cNvSpPr/>
            <p:nvPr/>
          </p:nvSpPr>
          <p:spPr>
            <a:xfrm>
              <a:off x="7316101" y="2242541"/>
              <a:ext cx="2130333" cy="318039"/>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sp>
          <p:nvSpPr>
            <p:cNvPr id="35" name="Rectangle 34"/>
            <p:cNvSpPr/>
            <p:nvPr/>
          </p:nvSpPr>
          <p:spPr>
            <a:xfrm>
              <a:off x="556176" y="2582857"/>
              <a:ext cx="2068107" cy="816566"/>
            </a:xfrm>
            <a:prstGeom prst="rect">
              <a:avLst/>
            </a:prstGeom>
          </p:spPr>
          <p:txBody>
            <a:bodyPr wrap="square" lIns="72018" tIns="36010" rIns="72018" bIns="36010">
              <a:spAutoFit/>
            </a:bodyPr>
            <a:lstStyle/>
            <a:p>
              <a:pPr marL="154145" indent="-154145">
                <a:buFont typeface="Arial" panose="020B0604020202020204" pitchFamily="34" charset="0"/>
                <a:buChar char="•"/>
              </a:pPr>
              <a:endParaRPr lang="en-US" sz="807" b="1" dirty="0"/>
            </a:p>
            <a:p>
              <a:pPr marL="154145" indent="-154145">
                <a:buFont typeface="Arial" panose="020B0604020202020204" pitchFamily="34" charset="0"/>
                <a:buChar char="•"/>
              </a:pPr>
              <a:endParaRPr lang="en-US" sz="807" b="1" dirty="0"/>
            </a:p>
            <a:p>
              <a:pPr defTabSz="822107">
                <a:spcBef>
                  <a:spcPts val="272"/>
                </a:spcBef>
              </a:pPr>
              <a:endParaRPr lang="en-US" sz="807" dirty="0">
                <a:latin typeface="Verdana" panose="020B0604030504040204" pitchFamily="34" charset="0"/>
                <a:ea typeface="Verdana" panose="020B0604030504040204" pitchFamily="34" charset="0"/>
                <a:cs typeface="Verdana" panose="020B0604030504040204" pitchFamily="34" charset="0"/>
              </a:endParaRPr>
            </a:p>
            <a:p>
              <a:pPr marL="154145" indent="-154145" defTabSz="822107">
                <a:spcBef>
                  <a:spcPts val="272"/>
                </a:spcBef>
                <a:buFont typeface="Arial" panose="020B0604020202020204" pitchFamily="34" charset="0"/>
                <a:buChar char="•"/>
              </a:pPr>
              <a:endParaRPr lang="en-US" sz="807" dirty="0">
                <a:latin typeface="Verdana" panose="020B0604030504040204" pitchFamily="34" charset="0"/>
                <a:ea typeface="Verdana" panose="020B0604030504040204" pitchFamily="34" charset="0"/>
                <a:cs typeface="Verdana" panose="020B0604030504040204" pitchFamily="34" charset="0"/>
              </a:endParaRPr>
            </a:p>
            <a:p>
              <a:pPr defTabSz="822107">
                <a:spcBef>
                  <a:spcPts val="272"/>
                </a:spcBef>
              </a:pPr>
              <a:endParaRPr lang="en-US" sz="807" dirty="0">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p:cNvSpPr/>
            <p:nvPr/>
          </p:nvSpPr>
          <p:spPr>
            <a:xfrm>
              <a:off x="5040568" y="2560580"/>
              <a:ext cx="2179735" cy="2062103"/>
            </a:xfrm>
            <a:prstGeom prst="rect">
              <a:avLst/>
            </a:prstGeom>
          </p:spPr>
          <p:txBody>
            <a:bodyPr wrap="square">
              <a:spAutoFit/>
            </a:bodyPr>
            <a:lstStyle/>
            <a:p>
              <a:pPr algn="just">
                <a:defRPr/>
              </a:pPr>
              <a:r>
                <a:rPr lang="en-US" sz="791" dirty="0"/>
                <a:t>Deloitte &amp; Touche M.E. has been awarded the contract to implement end-to-end Business Continuity Management System for Ma’aden Corporate and all of its business units and affiliate companies including a review of its emergency response procedures for its mines and sites. MA’ADEN has engaged Deloitte to assist in the development of the enterprise wide Enterprise Risk Management (ERM) Program and the BCM Program concurrently. The Project is expected to last 2 years at the initial onset and to cover the entire units and sites in scope.</a:t>
              </a:r>
            </a:p>
          </p:txBody>
        </p:sp>
        <p:sp>
          <p:nvSpPr>
            <p:cNvPr id="37" name="Rectangle 36"/>
            <p:cNvSpPr/>
            <p:nvPr/>
          </p:nvSpPr>
          <p:spPr>
            <a:xfrm>
              <a:off x="485260" y="2576384"/>
              <a:ext cx="2138349" cy="954107"/>
            </a:xfrm>
            <a:prstGeom prst="rect">
              <a:avLst/>
            </a:prstGeom>
          </p:spPr>
          <p:txBody>
            <a:bodyPr wrap="square">
              <a:spAutoFit/>
            </a:bodyPr>
            <a:lstStyle/>
            <a:p>
              <a:pPr algn="just">
                <a:defRPr/>
              </a:pPr>
              <a:r>
                <a:rPr lang="en-US" sz="791" dirty="0"/>
                <a:t>Deloitte’s BCM team assisted SNB for a compressive Disaster Recovery (DR) Assessment and helped them to developed an IT Business Continuity Management Program in line with the SAMA BCM Requirements and ISO 22301 Standard requirements. </a:t>
              </a:r>
            </a:p>
          </p:txBody>
        </p:sp>
        <p:sp>
          <p:nvSpPr>
            <p:cNvPr id="38" name="Rectangle 37"/>
            <p:cNvSpPr/>
            <p:nvPr/>
          </p:nvSpPr>
          <p:spPr>
            <a:xfrm>
              <a:off x="7316101" y="2560580"/>
              <a:ext cx="2130333" cy="1858970"/>
            </a:xfrm>
            <a:prstGeom prst="rect">
              <a:avLst/>
            </a:prstGeom>
          </p:spPr>
          <p:txBody>
            <a:bodyPr wrap="square">
              <a:spAutoFit/>
            </a:bodyPr>
            <a:lstStyle/>
            <a:p>
              <a:pPr algn="just">
                <a:defRPr/>
              </a:pPr>
              <a:r>
                <a:rPr lang="en-US" sz="791" dirty="0"/>
                <a:t>Deloitte &amp; Touche M.E. led the development and implementation efforts for a comprehensive Business Continuity Management program for OSN’s operations.  We conducted organization-wide business impact analysis outlining the recovery time and recovery point objectives for the organization’s critical business processes.  Each technology application supporting the various processes has been identified, along with its corresponding recovery objectives.</a:t>
              </a:r>
            </a:p>
          </p:txBody>
        </p:sp>
        <p:sp>
          <p:nvSpPr>
            <p:cNvPr id="39" name="Rectangle 38"/>
            <p:cNvSpPr/>
            <p:nvPr/>
          </p:nvSpPr>
          <p:spPr>
            <a:xfrm>
              <a:off x="2765339" y="2560580"/>
              <a:ext cx="2130333" cy="1101840"/>
            </a:xfrm>
            <a:prstGeom prst="rect">
              <a:avLst/>
            </a:prstGeom>
          </p:spPr>
          <p:txBody>
            <a:bodyPr wrap="square">
              <a:spAutoFit/>
            </a:bodyPr>
            <a:lstStyle/>
            <a:p>
              <a:pPr algn="just">
                <a:defRPr/>
              </a:pPr>
              <a:r>
                <a:rPr lang="en-US" sz="791" dirty="0"/>
                <a:t>Deloitte’s BCM team led the development and implementation efforts for a comprehensive business continuity management system for SEDCO Holding.  The project includes the development of main strategies and plans for critical departments within SEDCO Holding.</a:t>
              </a:r>
            </a:p>
          </p:txBody>
        </p:sp>
        <p:sp>
          <p:nvSpPr>
            <p:cNvPr id="40" name="Rectangle 39"/>
            <p:cNvSpPr/>
            <p:nvPr/>
          </p:nvSpPr>
          <p:spPr>
            <a:xfrm>
              <a:off x="2761381" y="1268704"/>
              <a:ext cx="2131851" cy="4961767"/>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41" name="Rectangle 40"/>
            <p:cNvSpPr/>
            <p:nvPr/>
          </p:nvSpPr>
          <p:spPr>
            <a:xfrm>
              <a:off x="2761380" y="1268705"/>
              <a:ext cx="2130333" cy="24283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GB" sz="717" b="1" dirty="0">
                  <a:solidFill>
                    <a:prstClr val="white"/>
                  </a:solidFill>
                  <a:latin typeface="+mj-lt"/>
                  <a:ea typeface="Open Sans Light" panose="020B0306030504020204" pitchFamily="34" charset="0"/>
                  <a:cs typeface="Open Sans Light" panose="020B0306030504020204" pitchFamily="34" charset="0"/>
                </a:rPr>
                <a:t>SEDCO</a:t>
              </a:r>
            </a:p>
          </p:txBody>
        </p:sp>
        <p:sp>
          <p:nvSpPr>
            <p:cNvPr id="42" name="Rectangle 41"/>
            <p:cNvSpPr/>
            <p:nvPr/>
          </p:nvSpPr>
          <p:spPr>
            <a:xfrm>
              <a:off x="2761380" y="2242541"/>
              <a:ext cx="2130333" cy="318039"/>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pic>
          <p:nvPicPr>
            <p:cNvPr id="43" name="Picture 42"/>
            <p:cNvPicPr/>
            <p:nvPr/>
          </p:nvPicPr>
          <p:blipFill>
            <a:blip r:embed="rId2" cstate="print"/>
            <a:srcRect/>
            <a:stretch>
              <a:fillRect/>
            </a:stretch>
          </p:blipFill>
          <p:spPr bwMode="auto">
            <a:xfrm>
              <a:off x="2783587" y="1592298"/>
              <a:ext cx="2108126" cy="579401"/>
            </a:xfrm>
            <a:prstGeom prst="rect">
              <a:avLst/>
            </a:prstGeom>
            <a:noFill/>
            <a:ln w="9525">
              <a:noFill/>
              <a:miter lim="800000"/>
              <a:headEnd/>
              <a:tailEnd/>
            </a:ln>
          </p:spPr>
        </p:pic>
        <p:pic>
          <p:nvPicPr>
            <p:cNvPr id="54" name="Picture 13" descr="Image result for OS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72074" y="1575484"/>
              <a:ext cx="1408132" cy="59621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descr="C:\Users\haammar\Desktop\Maaden Logo - Good.png"/>
            <p:cNvPicPr/>
            <p:nvPr/>
          </p:nvPicPr>
          <p:blipFill>
            <a:blip r:embed="rId4" cstate="print"/>
            <a:srcRect/>
            <a:stretch>
              <a:fillRect/>
            </a:stretch>
          </p:blipFill>
          <p:spPr bwMode="auto">
            <a:xfrm>
              <a:off x="5387760" y="1537706"/>
              <a:ext cx="1474906" cy="686448"/>
            </a:xfrm>
            <a:prstGeom prst="rect">
              <a:avLst/>
            </a:prstGeom>
            <a:noFill/>
            <a:ln w="9525">
              <a:noFill/>
              <a:miter lim="800000"/>
              <a:headEnd/>
              <a:tailEnd/>
            </a:ln>
          </p:spPr>
        </p:pic>
      </p:grpSp>
      <p:pic>
        <p:nvPicPr>
          <p:cNvPr id="33" name="Picture 32" descr="Saudi National Bank (SNB) Logo PNG Vector (PDF) Free Download">
            <a:extLst>
              <a:ext uri="{FF2B5EF4-FFF2-40B4-BE49-F238E27FC236}">
                <a16:creationId xmlns:a16="http://schemas.microsoft.com/office/drawing/2014/main" id="{09C0BD69-F026-491B-8447-A78260F7ED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11919" y="1618344"/>
            <a:ext cx="1015903" cy="480861"/>
          </a:xfrm>
          <a:prstGeom prst="rect">
            <a:avLst/>
          </a:prstGeom>
          <a:noFill/>
          <a:extLst>
            <a:ext uri="{909E8E84-426E-40DD-AFC4-6F175D3DCCD1}">
              <a14:hiddenFill xmlns:a14="http://schemas.microsoft.com/office/drawing/2010/main">
                <a:solidFill>
                  <a:srgbClr val="FFFFFF"/>
                </a:solidFill>
              </a14:hiddenFill>
            </a:ext>
          </a:extLst>
        </p:spPr>
      </p:pic>
      <p:sp>
        <p:nvSpPr>
          <p:cNvPr id="44" name="Triangle 28">
            <a:extLst>
              <a:ext uri="{FF2B5EF4-FFF2-40B4-BE49-F238E27FC236}">
                <a16:creationId xmlns:a16="http://schemas.microsoft.com/office/drawing/2014/main" id="{0C13285A-080C-4D8A-BEF6-D676BFF8765C}"/>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46" name="Rectangle 45">
            <a:extLst>
              <a:ext uri="{FF2B5EF4-FFF2-40B4-BE49-F238E27FC236}">
                <a16:creationId xmlns:a16="http://schemas.microsoft.com/office/drawing/2014/main" id="{9D5ACB71-E5DA-4DC4-86CF-5CAE1DE9B6FF}"/>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716295774"/>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Title 1">
            <a:extLst>
              <a:ext uri="{FF2B5EF4-FFF2-40B4-BE49-F238E27FC236}">
                <a16:creationId xmlns:a16="http://schemas.microsoft.com/office/drawing/2014/main" id="{EED0906B-AAB2-468C-9021-74C9332BCA01}"/>
              </a:ext>
            </a:extLst>
          </p:cNvPr>
          <p:cNvSpPr>
            <a:spLocks noGrp="1"/>
          </p:cNvSpPr>
          <p:nvPr>
            <p:ph type="title"/>
          </p:nvPr>
        </p:nvSpPr>
        <p:spPr>
          <a:xfrm>
            <a:off x="522373" y="430820"/>
            <a:ext cx="11147258" cy="330986"/>
          </a:xfrm>
        </p:spPr>
        <p:txBody>
          <a:bodyPr/>
          <a:lstStyle/>
          <a:p>
            <a:r>
              <a:rPr lang="en-US" sz="2382" dirty="0">
                <a:cs typeface="Calibri" panose="020F0502020204030204" pitchFamily="34" charset="0"/>
              </a:rPr>
              <a:t>Executive Summary</a:t>
            </a:r>
          </a:p>
        </p:txBody>
      </p:sp>
      <p:sp>
        <p:nvSpPr>
          <p:cNvPr id="45" name="Text Placeholder 6">
            <a:extLst>
              <a:ext uri="{FF2B5EF4-FFF2-40B4-BE49-F238E27FC236}">
                <a16:creationId xmlns:a16="http://schemas.microsoft.com/office/drawing/2014/main" id="{EEA9E6B3-FC94-4919-AD0F-0B8973F6AD4A}"/>
              </a:ext>
            </a:extLst>
          </p:cNvPr>
          <p:cNvSpPr>
            <a:spLocks noGrp="1"/>
          </p:cNvSpPr>
          <p:nvPr>
            <p:ph type="body" sz="quarter" idx="13"/>
          </p:nvPr>
        </p:nvSpPr>
        <p:spPr>
          <a:xfrm>
            <a:off x="522373" y="761804"/>
            <a:ext cx="11147258" cy="750193"/>
          </a:xfrm>
        </p:spPr>
        <p:txBody>
          <a:bodyPr/>
          <a:lstStyle/>
          <a:p>
            <a:r>
              <a:rPr lang="en-US" dirty="0">
                <a:solidFill>
                  <a:srgbClr val="575757"/>
                </a:solidFill>
                <a:cs typeface="Calibri" panose="020F0502020204030204" pitchFamily="34" charset="0"/>
              </a:rPr>
              <a:t>Delivery Model Proposition</a:t>
            </a:r>
          </a:p>
        </p:txBody>
      </p:sp>
      <p:sp>
        <p:nvSpPr>
          <p:cNvPr id="113" name="Text Placeholder 1">
            <a:extLst>
              <a:ext uri="{FF2B5EF4-FFF2-40B4-BE49-F238E27FC236}">
                <a16:creationId xmlns:a16="http://schemas.microsoft.com/office/drawing/2014/main" id="{1D587191-3549-4BCB-BEB1-2455D382EFB1}"/>
              </a:ext>
            </a:extLst>
          </p:cNvPr>
          <p:cNvSpPr txBox="1">
            <a:spLocks/>
          </p:cNvSpPr>
          <p:nvPr/>
        </p:nvSpPr>
        <p:spPr>
          <a:xfrm>
            <a:off x="367183" y="1215295"/>
            <a:ext cx="11013083" cy="67615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51920" marR="441774" algn="just" defTabSz="906203">
              <a:spcAft>
                <a:spcPts val="591"/>
              </a:spcAft>
              <a:tabLst>
                <a:tab pos="116422" algn="l"/>
              </a:tabLst>
              <a:defRPr/>
            </a:pPr>
            <a:r>
              <a:rPr lang="en-US" sz="1091" dirty="0">
                <a:latin typeface="Calibri" panose="020F0502020204030204" pitchFamily="34" charset="0"/>
                <a:ea typeface="Verdana" panose="020B0604030504040204" pitchFamily="34" charset="0"/>
                <a:cs typeface="Calibri" panose="020F0502020204030204" pitchFamily="34" charset="0"/>
              </a:rPr>
              <a:t>Based on our understanding of the scope and efforts required to achieve the desired objectives yet keeping the proposition cost-effective and value-add for stc, we are proposing two different delivery models. While the overall project approach remains the same for all phases, each model has different effort and number of deliverables, as described below:</a:t>
            </a:r>
          </a:p>
        </p:txBody>
      </p:sp>
      <p:sp>
        <p:nvSpPr>
          <p:cNvPr id="44" name="Triangle 28">
            <a:extLst>
              <a:ext uri="{FF2B5EF4-FFF2-40B4-BE49-F238E27FC236}">
                <a16:creationId xmlns:a16="http://schemas.microsoft.com/office/drawing/2014/main" id="{C8BC0AD6-9BA1-46D4-A87A-E1251708E295}"/>
              </a:ext>
            </a:extLst>
          </p:cNvPr>
          <p:cNvSpPr/>
          <p:nvPr/>
        </p:nvSpPr>
        <p:spPr>
          <a:xfrm rot="16200000">
            <a:off x="11053748" y="1371995"/>
            <a:ext cx="264966" cy="228419"/>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Sakkal Majalla" panose="02000000000000000000" pitchFamily="2" charset="-78"/>
              <a:cs typeface="Sakkal Majalla" panose="02000000000000000000" pitchFamily="2" charset="-78"/>
            </a:endParaRPr>
          </a:p>
        </p:txBody>
      </p:sp>
      <p:sp>
        <p:nvSpPr>
          <p:cNvPr id="40" name="Rectangle 39">
            <a:extLst>
              <a:ext uri="{FF2B5EF4-FFF2-40B4-BE49-F238E27FC236}">
                <a16:creationId xmlns:a16="http://schemas.microsoft.com/office/drawing/2014/main" id="{6C34B1CA-EE75-4E51-AFB0-ABA38146439B}"/>
              </a:ext>
            </a:extLst>
          </p:cNvPr>
          <p:cNvSpPr/>
          <p:nvPr/>
        </p:nvSpPr>
        <p:spPr bwMode="gray">
          <a:xfrm>
            <a:off x="1" y="0"/>
            <a:ext cx="165462" cy="6858000"/>
          </a:xfrm>
          <a:prstGeom prst="rect">
            <a:avLst/>
          </a:prstGeom>
          <a:solidFill>
            <a:srgbClr val="7F7F7F"/>
          </a:solidFill>
          <a:ln w="19050" algn="ctr">
            <a:noFill/>
            <a:miter lim="800000"/>
            <a:headEnd/>
            <a:tailEnd/>
          </a:ln>
        </p:spPr>
        <p:txBody>
          <a:bodyPr wrap="square" lIns="88900" tIns="88900" rIns="88900" bIns="88900" rtlCol="0" anchor="b"/>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graphicFrame>
        <p:nvGraphicFramePr>
          <p:cNvPr id="6" name="Table 5">
            <a:extLst>
              <a:ext uri="{FF2B5EF4-FFF2-40B4-BE49-F238E27FC236}">
                <a16:creationId xmlns:a16="http://schemas.microsoft.com/office/drawing/2014/main" id="{1DA7F5BB-0CB1-3A03-0507-3A388A586990}"/>
              </a:ext>
            </a:extLst>
          </p:cNvPr>
          <p:cNvGraphicFramePr>
            <a:graphicFrameLocks noGrp="1"/>
          </p:cNvGraphicFramePr>
          <p:nvPr>
            <p:extLst>
              <p:ext uri="{D42A27DB-BD31-4B8C-83A1-F6EECF244321}">
                <p14:modId xmlns:p14="http://schemas.microsoft.com/office/powerpoint/2010/main" val="1868999590"/>
              </p:ext>
            </p:extLst>
          </p:nvPr>
        </p:nvGraphicFramePr>
        <p:xfrm>
          <a:off x="522372" y="1736001"/>
          <a:ext cx="10358988" cy="4728807"/>
        </p:xfrm>
        <a:graphic>
          <a:graphicData uri="http://schemas.openxmlformats.org/drawingml/2006/table">
            <a:tbl>
              <a:tblPr firstRow="1" bandRow="1">
                <a:tableStyleId>{5C22544A-7EE6-4342-B048-85BDC9FD1C3A}</a:tableStyleId>
              </a:tblPr>
              <a:tblGrid>
                <a:gridCol w="10358988">
                  <a:extLst>
                    <a:ext uri="{9D8B030D-6E8A-4147-A177-3AD203B41FA5}">
                      <a16:colId xmlns:a16="http://schemas.microsoft.com/office/drawing/2014/main" val="4210023559"/>
                    </a:ext>
                  </a:extLst>
                </a:gridCol>
              </a:tblGrid>
              <a:tr h="362195">
                <a:tc>
                  <a:txBody>
                    <a:bodyPr/>
                    <a:lstStyle/>
                    <a:p>
                      <a:r>
                        <a:rPr lang="en-US" sz="1400" dirty="0">
                          <a:latin typeface="Calibri" panose="020F0502020204030204" pitchFamily="34" charset="0"/>
                          <a:cs typeface="Calibri" panose="020F0502020204030204" pitchFamily="34" charset="0"/>
                        </a:rPr>
                        <a:t>Option 1 – Value-based, Cost-effective Scope Delivery</a:t>
                      </a:r>
                    </a:p>
                  </a:txBody>
                  <a:tcPr marL="83127" marR="83127"/>
                </a:tc>
                <a:extLst>
                  <a:ext uri="{0D108BD9-81ED-4DB2-BD59-A6C34878D82A}">
                    <a16:rowId xmlns:a16="http://schemas.microsoft.com/office/drawing/2014/main" val="3668237591"/>
                  </a:ext>
                </a:extLst>
              </a:tr>
              <a:tr h="1490222">
                <a:tc>
                  <a:txBody>
                    <a:bodyPr/>
                    <a:lstStyle/>
                    <a:p>
                      <a:r>
                        <a:rPr lang="en-US" sz="1200" b="1" dirty="0">
                          <a:latin typeface="Calibri" panose="020F0502020204030204" pitchFamily="34" charset="0"/>
                          <a:cs typeface="Calibri" panose="020F0502020204030204" pitchFamily="34" charset="0"/>
                        </a:rPr>
                        <a:t>Phase 1 – BCM Risk Assessment</a:t>
                      </a:r>
                    </a:p>
                    <a:p>
                      <a:r>
                        <a:rPr lang="en-US" sz="1200" u="sng" dirty="0">
                          <a:latin typeface="Calibri" panose="020F0502020204030204" pitchFamily="34" charset="0"/>
                          <a:cs typeface="Calibri" panose="020F0502020204030204" pitchFamily="34" charset="0"/>
                        </a:rPr>
                        <a:t>For stc Head Office and other locations within Riyadh</a:t>
                      </a:r>
                      <a:r>
                        <a:rPr lang="en-US" sz="1200" dirty="0">
                          <a:latin typeface="Calibri" panose="020F0502020204030204" pitchFamily="34" charset="0"/>
                          <a:cs typeface="Calibri" panose="020F0502020204030204" pitchFamily="34" charset="0"/>
                        </a:rPr>
                        <a:t>: Perform onsite risk identification, risk assessment, verification of existing controls and development of risk mitigation plans.</a:t>
                      </a:r>
                    </a:p>
                    <a:p>
                      <a:endParaRPr lang="en-US" sz="1200" dirty="0">
                        <a:latin typeface="Calibri" panose="020F0502020204030204" pitchFamily="34" charset="0"/>
                        <a:cs typeface="Calibri" panose="020F0502020204030204" pitchFamily="34" charset="0"/>
                      </a:endParaRPr>
                    </a:p>
                    <a:p>
                      <a:r>
                        <a:rPr lang="en-US" sz="1200" u="sng" dirty="0">
                          <a:latin typeface="Calibri" panose="020F0502020204030204" pitchFamily="34" charset="0"/>
                          <a:cs typeface="Calibri" panose="020F0502020204030204" pitchFamily="34" charset="0"/>
                        </a:rPr>
                        <a:t>For all stc locations outside Riyadh:</a:t>
                      </a:r>
                      <a:r>
                        <a:rPr lang="en-US" sz="1200" dirty="0">
                          <a:latin typeface="Calibri" panose="020F0502020204030204" pitchFamily="34" charset="0"/>
                          <a:cs typeface="Calibri" panose="020F0502020204030204" pitchFamily="34" charset="0"/>
                        </a:rPr>
                        <a:t> Perform risk identification and risk assessment workshops remotely. The assessment will be limited to interviews and review of documentations. However, no control verification will be performed, and risk mitigation plan will be proposed based on the design of control provided during workshops.</a:t>
                      </a:r>
                    </a:p>
                  </a:txBody>
                  <a:tcPr marL="83127" marR="83127"/>
                </a:tc>
                <a:extLst>
                  <a:ext uri="{0D108BD9-81ED-4DB2-BD59-A6C34878D82A}">
                    <a16:rowId xmlns:a16="http://schemas.microsoft.com/office/drawing/2014/main" val="2059220975"/>
                  </a:ext>
                </a:extLst>
              </a:tr>
              <a:tr h="564081">
                <a:tc>
                  <a:txBody>
                    <a:bodyPr/>
                    <a:lstStyle/>
                    <a:p>
                      <a:r>
                        <a:rPr lang="en-US" sz="1200" b="1" dirty="0">
                          <a:latin typeface="Calibri" panose="020F0502020204030204" pitchFamily="34" charset="0"/>
                          <a:cs typeface="Calibri" panose="020F0502020204030204" pitchFamily="34" charset="0"/>
                        </a:rPr>
                        <a:t>Phase 2 – BCM Strategy and Roadmap</a:t>
                      </a:r>
                    </a:p>
                    <a:p>
                      <a:r>
                        <a:rPr lang="en-US" sz="1200" dirty="0">
                          <a:latin typeface="Calibri" panose="020F0502020204030204" pitchFamily="34" charset="0"/>
                          <a:cs typeface="Calibri" panose="020F0502020204030204" pitchFamily="34" charset="0"/>
                        </a:rPr>
                        <a:t>Perform a current maturity assessment of stc’s BCMS against international standards and best practices. Develop a 3-year BCM Strategy and roadmap to achieve the target BCMS maturity. Also review and enhance the BCM recovery strategies based on the BIA performed by stc and risk assessment performed in Phase 1.</a:t>
                      </a:r>
                    </a:p>
                  </a:txBody>
                  <a:tcPr marL="83127" marR="83127"/>
                </a:tc>
                <a:extLst>
                  <a:ext uri="{0D108BD9-81ED-4DB2-BD59-A6C34878D82A}">
                    <a16:rowId xmlns:a16="http://schemas.microsoft.com/office/drawing/2014/main" val="713737051"/>
                  </a:ext>
                </a:extLst>
              </a:tr>
              <a:tr h="1047590">
                <a:tc>
                  <a:txBody>
                    <a:bodyPr/>
                    <a:lstStyle/>
                    <a:p>
                      <a:r>
                        <a:rPr lang="en-US" sz="1200" b="1" dirty="0">
                          <a:latin typeface="Calibri" panose="020F0502020204030204" pitchFamily="34" charset="0"/>
                          <a:cs typeface="Calibri" panose="020F0502020204030204" pitchFamily="34" charset="0"/>
                        </a:rPr>
                        <a:t>Phase 3 - Plans Review and Enhancement</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Review and enhance business continuity plan (BCP) template and update BCP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Review and enhance incident management plans (maximum 10 plans), centralized crisis management plan and centralized crisis communication plan</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Review and update centralized IT disaster recovery plan and a maximum of 20 selected technical recovery plan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Develop emergency response plan (ERP) template to be used by stc departments</a:t>
                      </a:r>
                    </a:p>
                  </a:txBody>
                  <a:tcPr marL="83127" marR="83127"/>
                </a:tc>
                <a:extLst>
                  <a:ext uri="{0D108BD9-81ED-4DB2-BD59-A6C34878D82A}">
                    <a16:rowId xmlns:a16="http://schemas.microsoft.com/office/drawing/2014/main" val="140118350"/>
                  </a:ext>
                </a:extLst>
              </a:tr>
              <a:tr h="362195">
                <a:tc>
                  <a:txBody>
                    <a:bodyPr/>
                    <a:lstStyle/>
                    <a:p>
                      <a:r>
                        <a:rPr lang="en-US" sz="1200" b="1" dirty="0">
                          <a:latin typeface="Calibri" panose="020F0502020204030204" pitchFamily="34" charset="0"/>
                          <a:cs typeface="Calibri" panose="020F0502020204030204" pitchFamily="34" charset="0"/>
                        </a:rPr>
                        <a:t>Phase 4 – BCM Exercising</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Develop BCM Exercising Program</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Identify ten (10) different test scenarios</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Conduct seven (07) tabletop exercises covering IMPs, BCPs, IT DRP, TRP, CMP and CCP</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Conduct three (03) crisis simulations covering CMP and CCP</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Develop post-exercise reports</a:t>
                      </a:r>
                    </a:p>
                  </a:txBody>
                  <a:tcPr marL="83127" marR="83127"/>
                </a:tc>
                <a:extLst>
                  <a:ext uri="{0D108BD9-81ED-4DB2-BD59-A6C34878D82A}">
                    <a16:rowId xmlns:a16="http://schemas.microsoft.com/office/drawing/2014/main" val="3427196031"/>
                  </a:ext>
                </a:extLst>
              </a:tr>
            </a:tbl>
          </a:graphicData>
        </a:graphic>
      </p:graphicFrame>
    </p:spTree>
    <p:extLst>
      <p:ext uri="{BB962C8B-B14F-4D97-AF65-F5344CB8AC3E}">
        <p14:creationId xmlns:p14="http://schemas.microsoft.com/office/powerpoint/2010/main" val="347960762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D709AC0C-89C3-44FD-851F-819E92A0D2A4}"/>
              </a:ext>
            </a:extLst>
          </p:cNvPr>
          <p:cNvSpPr>
            <a:spLocks noGrp="1"/>
          </p:cNvSpPr>
          <p:nvPr>
            <p:ph type="title"/>
          </p:nvPr>
        </p:nvSpPr>
        <p:spPr>
          <a:xfrm>
            <a:off x="522373" y="430820"/>
            <a:ext cx="11147258" cy="330986"/>
          </a:xfrm>
        </p:spPr>
        <p:txBody>
          <a:bodyPr vert="horz" lIns="0" tIns="0" rIns="0" bIns="0" rtlCol="0" anchor="t" anchorCtr="0">
            <a:noAutofit/>
          </a:bodyPr>
          <a:lstStyle/>
          <a:p>
            <a:r>
              <a:rPr lang="en-US" sz="2382" dirty="0"/>
              <a:t>Our Credentials</a:t>
            </a:r>
          </a:p>
        </p:txBody>
      </p:sp>
      <p:grpSp>
        <p:nvGrpSpPr>
          <p:cNvPr id="3" name="Group 2"/>
          <p:cNvGrpSpPr/>
          <p:nvPr/>
        </p:nvGrpSpPr>
        <p:grpSpPr>
          <a:xfrm>
            <a:off x="1656637" y="1288857"/>
            <a:ext cx="8878735" cy="4915492"/>
            <a:chOff x="2761380" y="1268704"/>
            <a:chExt cx="8962321" cy="4961767"/>
          </a:xfrm>
        </p:grpSpPr>
        <p:sp>
          <p:nvSpPr>
            <p:cNvPr id="33" name="Rectangle 32"/>
            <p:cNvSpPr/>
            <p:nvPr/>
          </p:nvSpPr>
          <p:spPr>
            <a:xfrm>
              <a:off x="5038834" y="1268704"/>
              <a:ext cx="2131851" cy="4961767"/>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44" name="Rectangle 43"/>
            <p:cNvSpPr/>
            <p:nvPr/>
          </p:nvSpPr>
          <p:spPr>
            <a:xfrm>
              <a:off x="5038833" y="1268705"/>
              <a:ext cx="2130333" cy="242834"/>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defTabSz="822107"/>
              <a:r>
                <a:rPr lang="en-US" sz="717" b="1" dirty="0">
                  <a:solidFill>
                    <a:schemeClr val="bg1"/>
                  </a:solidFill>
                  <a:latin typeface="+mj-lt"/>
                  <a:ea typeface="Verdana" panose="020B0604030504040204" pitchFamily="34" charset="0"/>
                  <a:cs typeface="Verdana" panose="020B0604030504040204" pitchFamily="34" charset="0"/>
                </a:rPr>
                <a:t>TECOM Group</a:t>
              </a:r>
            </a:p>
          </p:txBody>
        </p:sp>
        <p:sp>
          <p:nvSpPr>
            <p:cNvPr id="45" name="Rectangle 44"/>
            <p:cNvSpPr/>
            <p:nvPr/>
          </p:nvSpPr>
          <p:spPr>
            <a:xfrm>
              <a:off x="5038833" y="2242541"/>
              <a:ext cx="2130333" cy="318039"/>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defTabSz="822107">
                <a:spcBef>
                  <a:spcPts val="272"/>
                </a:spcBef>
              </a:pPr>
              <a:r>
                <a:rPr lang="en-US" sz="717" b="1" dirty="0">
                  <a:solidFill>
                    <a:schemeClr val="bg1"/>
                  </a:solidFill>
                  <a:latin typeface="Verdana" panose="020B0604030504040204" pitchFamily="34" charset="0"/>
                  <a:ea typeface="Verdana" panose="020B0604030504040204" pitchFamily="34" charset="0"/>
                  <a:cs typeface="Verdana" panose="020B0604030504040204" pitchFamily="34" charset="0"/>
                </a:rPr>
                <a:t>Project  Details</a:t>
              </a:r>
            </a:p>
          </p:txBody>
        </p:sp>
        <p:sp>
          <p:nvSpPr>
            <p:cNvPr id="46" name="Rectangle 45"/>
            <p:cNvSpPr/>
            <p:nvPr/>
          </p:nvSpPr>
          <p:spPr>
            <a:xfrm>
              <a:off x="5040568" y="2560580"/>
              <a:ext cx="2179735" cy="2923877"/>
            </a:xfrm>
            <a:prstGeom prst="rect">
              <a:avLst/>
            </a:prstGeom>
          </p:spPr>
          <p:txBody>
            <a:bodyPr wrap="square">
              <a:spAutoFit/>
            </a:bodyPr>
            <a:lstStyle/>
            <a:p>
              <a:pPr algn="just">
                <a:defRPr/>
              </a:pPr>
              <a:r>
                <a:rPr lang="en-US" sz="791" dirty="0"/>
                <a:t>Deloitte was engaged to assist in the enhancement of TECOM’s pre-existing Business Continuity Management (BCM) framework. The overall objectives of this engagement aim to focus on the below items:</a:t>
              </a:r>
            </a:p>
            <a:p>
              <a:pPr marL="169914" indent="-169914">
                <a:buFont typeface="Arial" panose="020B0604020202020204" pitchFamily="34" charset="0"/>
                <a:buChar char="•"/>
                <a:defRPr/>
              </a:pPr>
              <a:r>
                <a:rPr lang="en-US" sz="791" dirty="0"/>
                <a:t>Review of existing BCM framework documentation and propose enhancements (if required) to existing framework</a:t>
              </a:r>
            </a:p>
            <a:p>
              <a:pPr marL="169914" indent="-169914">
                <a:buFont typeface="Arial" panose="020B0604020202020204" pitchFamily="34" charset="0"/>
                <a:buChar char="•"/>
                <a:defRPr/>
              </a:pPr>
              <a:r>
                <a:rPr lang="en-US" sz="791" dirty="0"/>
                <a:t>Review and update existing Business Impact Analysis, associated Business Continuity strategies and plans for significant functions and business processes</a:t>
              </a:r>
            </a:p>
            <a:p>
              <a:pPr marL="169914" indent="-169914">
                <a:buFont typeface="Arial" panose="020B0604020202020204" pitchFamily="34" charset="0"/>
                <a:buChar char="•"/>
                <a:defRPr/>
              </a:pPr>
              <a:r>
                <a:rPr lang="en-US" sz="791" dirty="0"/>
                <a:t>Proposal for and execution of appropriately sized BCM tests and future testing schedule</a:t>
              </a:r>
            </a:p>
            <a:p>
              <a:pPr marL="169914" indent="-169914">
                <a:buFont typeface="Arial" panose="020B0604020202020204" pitchFamily="34" charset="0"/>
                <a:buChar char="•"/>
                <a:defRPr/>
              </a:pPr>
              <a:r>
                <a:rPr lang="en-US" sz="791" dirty="0"/>
                <a:t>Provide guidance for assisting TECOM with certification</a:t>
              </a:r>
            </a:p>
            <a:p>
              <a:pPr>
                <a:defRPr/>
              </a:pPr>
              <a:endParaRPr lang="en-US" sz="791" dirty="0"/>
            </a:p>
            <a:p>
              <a:pPr>
                <a:defRPr/>
              </a:pPr>
              <a:r>
                <a:rPr lang="en-US" sz="791" dirty="0"/>
                <a:t>The project was executed over a period of 6 months.</a:t>
              </a:r>
            </a:p>
          </p:txBody>
        </p:sp>
        <p:sp>
          <p:nvSpPr>
            <p:cNvPr id="47" name="Rectangle 46"/>
            <p:cNvSpPr/>
            <p:nvPr/>
          </p:nvSpPr>
          <p:spPr>
            <a:xfrm>
              <a:off x="2765339" y="2560580"/>
              <a:ext cx="2130333" cy="3539430"/>
            </a:xfrm>
            <a:prstGeom prst="rect">
              <a:avLst/>
            </a:prstGeom>
          </p:spPr>
          <p:txBody>
            <a:bodyPr wrap="square">
              <a:spAutoFit/>
            </a:bodyPr>
            <a:lstStyle/>
            <a:p>
              <a:pPr algn="just">
                <a:defRPr/>
              </a:pPr>
              <a:r>
                <a:rPr lang="en-US" sz="791" dirty="0"/>
                <a:t>Deloitte was engaged to conduct a Technology Resilience Assessment at Dubai Airports, where key activities included:</a:t>
              </a:r>
            </a:p>
            <a:p>
              <a:pPr marL="169914" indent="-169914">
                <a:buFont typeface="Arial" panose="020B0604020202020204" pitchFamily="34" charset="0"/>
                <a:buChar char="•"/>
                <a:defRPr/>
              </a:pPr>
              <a:r>
                <a:rPr lang="en-US" sz="791" dirty="0"/>
                <a:t>Performing a complete end-to-end Business Impact Analysis (BIA) for the Business Technology department for the following areas:</a:t>
              </a:r>
            </a:p>
            <a:p>
              <a:pPr marL="271862" indent="-169914">
                <a:buFontTx/>
                <a:buChar char="-"/>
                <a:defRPr/>
              </a:pPr>
              <a:r>
                <a:rPr lang="en-US" sz="791" dirty="0"/>
                <a:t>Data Centers which are on premise at Dubai Airports (DA) and Dubai World Central (DWC)</a:t>
              </a:r>
            </a:p>
            <a:p>
              <a:pPr marL="271862" indent="-169914">
                <a:buFontTx/>
                <a:buChar char="-"/>
                <a:defRPr/>
              </a:pPr>
              <a:r>
                <a:rPr lang="en-US" sz="791" dirty="0"/>
                <a:t>IT infrastructure which is on premise at DA and DWC</a:t>
              </a:r>
            </a:p>
            <a:p>
              <a:pPr marL="271862" indent="-169914">
                <a:buFontTx/>
                <a:buChar char="-"/>
                <a:defRPr/>
              </a:pPr>
              <a:r>
                <a:rPr lang="en-US" sz="791" dirty="0"/>
                <a:t>Network infrastructure</a:t>
              </a:r>
            </a:p>
            <a:p>
              <a:pPr marL="271862" indent="-169914">
                <a:buFontTx/>
                <a:buChar char="-"/>
                <a:defRPr/>
              </a:pPr>
              <a:r>
                <a:rPr lang="en-US" sz="791" dirty="0"/>
                <a:t>All IT services</a:t>
              </a:r>
            </a:p>
            <a:p>
              <a:pPr marL="271862" indent="-169914">
                <a:buFontTx/>
                <a:buChar char="-"/>
                <a:defRPr/>
              </a:pPr>
              <a:r>
                <a:rPr lang="en-US" sz="791" dirty="0"/>
                <a:t>Technology touch points within Dubai Airports Operations</a:t>
              </a:r>
            </a:p>
            <a:p>
              <a:pPr marL="169914" indent="-169914">
                <a:buFont typeface="Arial" panose="020B0604020202020204" pitchFamily="34" charset="0"/>
                <a:buChar char="•"/>
                <a:defRPr/>
              </a:pPr>
              <a:r>
                <a:rPr lang="en-US" sz="791" dirty="0"/>
                <a:t>Identifying the gaps between the recovery requirements outlined in the BIA against DA’s existing recovery capabilities in order to identify a comprehensive set of additional recovery requirements. </a:t>
              </a:r>
            </a:p>
            <a:p>
              <a:pPr marL="169914" indent="-169914">
                <a:buFont typeface="Arial" panose="020B0604020202020204" pitchFamily="34" charset="0"/>
                <a:buChar char="•"/>
                <a:defRPr/>
              </a:pPr>
              <a:r>
                <a:rPr lang="en-US" sz="791" dirty="0"/>
                <a:t>Developing a recommendation report and roadmap to achieve the recovery objectives identified during the BIA report. </a:t>
              </a:r>
            </a:p>
          </p:txBody>
        </p:sp>
        <p:sp>
          <p:nvSpPr>
            <p:cNvPr id="48" name="Rectangle 47"/>
            <p:cNvSpPr/>
            <p:nvPr/>
          </p:nvSpPr>
          <p:spPr>
            <a:xfrm>
              <a:off x="2761381" y="1268704"/>
              <a:ext cx="2131851" cy="4961767"/>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49" name="Rectangle 48"/>
            <p:cNvSpPr/>
            <p:nvPr/>
          </p:nvSpPr>
          <p:spPr>
            <a:xfrm>
              <a:off x="2761380" y="1268705"/>
              <a:ext cx="2130333" cy="24283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prstClr val="white"/>
                  </a:solidFill>
                  <a:latin typeface="+mj-lt"/>
                  <a:ea typeface="Open Sans Light" panose="020B0306030504020204" pitchFamily="34" charset="0"/>
                  <a:cs typeface="Open Sans Light" panose="020B0306030504020204" pitchFamily="34" charset="0"/>
                </a:rPr>
                <a:t>Dubai Airports</a:t>
              </a:r>
              <a:endParaRPr lang="en-GB" sz="717" b="1" dirty="0">
                <a:solidFill>
                  <a:prstClr val="white"/>
                </a:solidFill>
                <a:latin typeface="+mj-lt"/>
                <a:ea typeface="Open Sans Light" panose="020B0306030504020204" pitchFamily="34" charset="0"/>
                <a:cs typeface="Open Sans Light" panose="020B0306030504020204" pitchFamily="34" charset="0"/>
              </a:endParaRPr>
            </a:p>
          </p:txBody>
        </p:sp>
        <p:sp>
          <p:nvSpPr>
            <p:cNvPr id="50" name="Rectangle 49"/>
            <p:cNvSpPr/>
            <p:nvPr/>
          </p:nvSpPr>
          <p:spPr>
            <a:xfrm>
              <a:off x="2761380" y="2242541"/>
              <a:ext cx="2130333" cy="318039"/>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latin typeface="+mj-lt"/>
                  <a:ea typeface="Open Sans Light" panose="020B0306030504020204" pitchFamily="34" charset="0"/>
                  <a:cs typeface="Open Sans Light" panose="020B0306030504020204" pitchFamily="34" charset="0"/>
                </a:rPr>
                <a:t>Project  Details</a:t>
              </a:r>
            </a:p>
          </p:txBody>
        </p:sp>
        <p:sp>
          <p:nvSpPr>
            <p:cNvPr id="51" name="Rectangle 50"/>
            <p:cNvSpPr/>
            <p:nvPr/>
          </p:nvSpPr>
          <p:spPr>
            <a:xfrm>
              <a:off x="7316101" y="1268704"/>
              <a:ext cx="2131851" cy="4961767"/>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52" name="Rectangle 51"/>
            <p:cNvSpPr/>
            <p:nvPr/>
          </p:nvSpPr>
          <p:spPr>
            <a:xfrm>
              <a:off x="7316101" y="1268705"/>
              <a:ext cx="2130333" cy="242834"/>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prstClr val="white"/>
                  </a:solidFill>
                  <a:latin typeface="+mj-lt"/>
                  <a:ea typeface="Open Sans Light" panose="020B0306030504020204" pitchFamily="34" charset="0"/>
                  <a:cs typeface="Open Sans Light" panose="020B0306030504020204" pitchFamily="34" charset="0"/>
                </a:rPr>
                <a:t>Dubai International Financial Center</a:t>
              </a:r>
            </a:p>
          </p:txBody>
        </p:sp>
        <p:sp>
          <p:nvSpPr>
            <p:cNvPr id="57" name="Rectangle 56"/>
            <p:cNvSpPr/>
            <p:nvPr/>
          </p:nvSpPr>
          <p:spPr>
            <a:xfrm>
              <a:off x="7316101" y="2242541"/>
              <a:ext cx="2130333" cy="318039"/>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latin typeface="+mj-lt"/>
                  <a:ea typeface="Open Sans Light" panose="020B0306030504020204" pitchFamily="34" charset="0"/>
                  <a:cs typeface="Open Sans Light" panose="020B0306030504020204" pitchFamily="34" charset="0"/>
                </a:rPr>
                <a:t>Project  Details</a:t>
              </a:r>
            </a:p>
          </p:txBody>
        </p:sp>
        <p:sp>
          <p:nvSpPr>
            <p:cNvPr id="58" name="Rectangle 57"/>
            <p:cNvSpPr/>
            <p:nvPr/>
          </p:nvSpPr>
          <p:spPr>
            <a:xfrm>
              <a:off x="7316101" y="2560580"/>
              <a:ext cx="2130333" cy="2431435"/>
            </a:xfrm>
            <a:prstGeom prst="rect">
              <a:avLst/>
            </a:prstGeom>
          </p:spPr>
          <p:txBody>
            <a:bodyPr wrap="square">
              <a:spAutoFit/>
            </a:bodyPr>
            <a:lstStyle/>
            <a:p>
              <a:pPr algn="just">
                <a:defRPr/>
              </a:pPr>
              <a:r>
                <a:rPr lang="en-US" sz="791" dirty="0"/>
                <a:t>Deloitte was engaged to conduct a refresh of the existing Business Continuity Management (BCM) frameworks within DIFC. The project duration was </a:t>
              </a:r>
              <a:r>
                <a:rPr lang="en-US" sz="791" b="1" dirty="0"/>
                <a:t>6 months</a:t>
              </a:r>
              <a:r>
                <a:rPr lang="en-US" sz="791" dirty="0"/>
                <a:t>, and the scope of work included:</a:t>
              </a:r>
            </a:p>
            <a:p>
              <a:pPr marL="169914" indent="-169914">
                <a:buFont typeface="Arial" panose="020B0604020202020204" pitchFamily="34" charset="0"/>
                <a:buChar char="•"/>
                <a:defRPr/>
              </a:pPr>
              <a:r>
                <a:rPr lang="en-US" sz="791" dirty="0"/>
                <a:t>Establishing a revamped BCMS Governance Framework</a:t>
              </a:r>
            </a:p>
            <a:p>
              <a:pPr marL="169914" indent="-169914">
                <a:buFont typeface="Arial" panose="020B0604020202020204" pitchFamily="34" charset="0"/>
                <a:buChar char="•"/>
                <a:defRPr/>
              </a:pPr>
              <a:r>
                <a:rPr lang="en-US" sz="791" dirty="0"/>
                <a:t>Conducting BIA and TRA workshops</a:t>
              </a:r>
            </a:p>
            <a:p>
              <a:pPr marL="169914" indent="-169914">
                <a:buFont typeface="Arial" panose="020B0604020202020204" pitchFamily="34" charset="0"/>
                <a:buChar char="•"/>
                <a:defRPr/>
              </a:pPr>
              <a:r>
                <a:rPr lang="en-US" sz="791" dirty="0"/>
                <a:t>Identifying recovery strategies and accordingly establishing Business Continuity Plans</a:t>
              </a:r>
            </a:p>
            <a:p>
              <a:pPr marL="169914" indent="-169914">
                <a:buFont typeface="Arial" panose="020B0604020202020204" pitchFamily="34" charset="0"/>
                <a:buChar char="•"/>
                <a:defRPr/>
              </a:pPr>
              <a:r>
                <a:rPr lang="en-US" sz="791" dirty="0"/>
                <a:t>Developing a Crisis Management Framework and plan for DIFC management</a:t>
              </a:r>
            </a:p>
            <a:p>
              <a:pPr marL="169914" indent="-169914">
                <a:buFont typeface="Arial" panose="020B0604020202020204" pitchFamily="34" charset="0"/>
                <a:buChar char="•"/>
                <a:defRPr/>
              </a:pPr>
              <a:r>
                <a:rPr lang="en-US" sz="791" dirty="0"/>
                <a:t>Conducting BCM training and exercising sessions for selected stakeholders</a:t>
              </a:r>
            </a:p>
          </p:txBody>
        </p:sp>
        <p:pic>
          <p:nvPicPr>
            <p:cNvPr id="59" name="Picture 58"/>
            <p:cNvPicPr>
              <a:picLocks noChangeAspect="1"/>
            </p:cNvPicPr>
            <p:nvPr/>
          </p:nvPicPr>
          <p:blipFill>
            <a:blip r:embed="rId2"/>
            <a:stretch>
              <a:fillRect/>
            </a:stretch>
          </p:blipFill>
          <p:spPr>
            <a:xfrm>
              <a:off x="5342445" y="1548067"/>
              <a:ext cx="1524443" cy="641871"/>
            </a:xfrm>
            <a:prstGeom prst="rect">
              <a:avLst/>
            </a:prstGeom>
          </p:spPr>
        </p:pic>
        <p:pic>
          <p:nvPicPr>
            <p:cNvPr id="60" name="Picture 59"/>
            <p:cNvPicPr>
              <a:picLocks noChangeAspect="1"/>
            </p:cNvPicPr>
            <p:nvPr/>
          </p:nvPicPr>
          <p:blipFill rotWithShape="1">
            <a:blip r:embed="rId3">
              <a:extLst>
                <a:ext uri="{28A0092B-C50C-407E-A947-70E740481C1C}">
                  <a14:useLocalDpi xmlns:a14="http://schemas.microsoft.com/office/drawing/2010/main" val="0"/>
                </a:ext>
              </a:extLst>
            </a:blip>
            <a:srcRect l="7980" t="13085" r="7009" b="17861"/>
            <a:stretch/>
          </p:blipFill>
          <p:spPr>
            <a:xfrm>
              <a:off x="7493250" y="1548285"/>
              <a:ext cx="1873993" cy="669793"/>
            </a:xfrm>
            <a:prstGeom prst="rect">
              <a:avLst/>
            </a:prstGeom>
          </p:spPr>
        </p:pic>
        <p:pic>
          <p:nvPicPr>
            <p:cNvPr id="61" name="Picture 60"/>
            <p:cNvPicPr>
              <a:picLocks noChangeAspect="1"/>
            </p:cNvPicPr>
            <p:nvPr/>
          </p:nvPicPr>
          <p:blipFill>
            <a:blip r:embed="rId4"/>
            <a:stretch>
              <a:fillRect/>
            </a:stretch>
          </p:blipFill>
          <p:spPr>
            <a:xfrm>
              <a:off x="2899696" y="1637975"/>
              <a:ext cx="1853700" cy="422774"/>
            </a:xfrm>
            <a:prstGeom prst="rect">
              <a:avLst/>
            </a:prstGeom>
          </p:spPr>
        </p:pic>
        <p:sp>
          <p:nvSpPr>
            <p:cNvPr id="62" name="Rectangle 61"/>
            <p:cNvSpPr/>
            <p:nvPr/>
          </p:nvSpPr>
          <p:spPr>
            <a:xfrm>
              <a:off x="9591850" y="1268704"/>
              <a:ext cx="2131851" cy="4961767"/>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63" name="Rectangle 62"/>
            <p:cNvSpPr/>
            <p:nvPr/>
          </p:nvSpPr>
          <p:spPr>
            <a:xfrm>
              <a:off x="9591850" y="1268705"/>
              <a:ext cx="2130333" cy="242834"/>
            </a:xfrm>
            <a:prstGeom prst="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prstClr val="white"/>
                  </a:solidFill>
                  <a:latin typeface="+mj-lt"/>
                  <a:ea typeface="Open Sans Light" panose="020B0306030504020204" pitchFamily="34" charset="0"/>
                  <a:cs typeface="Open Sans Light" panose="020B0306030504020204" pitchFamily="34" charset="0"/>
                </a:rPr>
                <a:t>Aramex</a:t>
              </a:r>
            </a:p>
          </p:txBody>
        </p:sp>
        <p:sp>
          <p:nvSpPr>
            <p:cNvPr id="64" name="Rectangle 63"/>
            <p:cNvSpPr/>
            <p:nvPr/>
          </p:nvSpPr>
          <p:spPr>
            <a:xfrm>
              <a:off x="9591850" y="2242541"/>
              <a:ext cx="2130333" cy="318039"/>
            </a:xfrm>
            <a:prstGeom prst="rect">
              <a:avLst/>
            </a:prstGeom>
            <a:solidFill>
              <a:schemeClr val="accent5"/>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latin typeface="+mj-lt"/>
                  <a:ea typeface="Open Sans Light" panose="020B0306030504020204" pitchFamily="34" charset="0"/>
                  <a:cs typeface="Open Sans Light" panose="020B0306030504020204" pitchFamily="34" charset="0"/>
                </a:rPr>
                <a:t>Project  Details</a:t>
              </a:r>
            </a:p>
          </p:txBody>
        </p:sp>
        <p:sp>
          <p:nvSpPr>
            <p:cNvPr id="65" name="Rectangle 64"/>
            <p:cNvSpPr/>
            <p:nvPr/>
          </p:nvSpPr>
          <p:spPr>
            <a:xfrm>
              <a:off x="9592851" y="2574440"/>
              <a:ext cx="2130333" cy="2431435"/>
            </a:xfrm>
            <a:prstGeom prst="rect">
              <a:avLst/>
            </a:prstGeom>
          </p:spPr>
          <p:txBody>
            <a:bodyPr wrap="square">
              <a:spAutoFit/>
            </a:bodyPr>
            <a:lstStyle/>
            <a:p>
              <a:pPr algn="just">
                <a:defRPr/>
              </a:pPr>
              <a:r>
                <a:rPr lang="en-US" sz="791" dirty="0"/>
                <a:t>Deloitte &amp; Touche M.E. led the development and implementation efforts for a comprehensive Business Continuity Management program for Aramex operations.  We conducted organization-wide business impact analysis outlining the recovery time and recovery point objectives for the organization’s critical business processes.  Each application supporting the various processes has been identified, along with its corresponding recovery objectives. Using the requirements identified, we are developing recovery and resiliency strategies, design documentation, and business continuity plans for each of Aramex’s critical processes. </a:t>
              </a:r>
            </a:p>
          </p:txBody>
        </p:sp>
        <p:pic>
          <p:nvPicPr>
            <p:cNvPr id="66" name="Picture 11" descr="Image result for aramex"/>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08464" y="1629112"/>
              <a:ext cx="1897104" cy="542587"/>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Triangle 28">
            <a:extLst>
              <a:ext uri="{FF2B5EF4-FFF2-40B4-BE49-F238E27FC236}">
                <a16:creationId xmlns:a16="http://schemas.microsoft.com/office/drawing/2014/main" id="{15C68C6A-6F5E-4212-90A7-EC1631118839}"/>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29" name="Rectangle 28">
            <a:extLst>
              <a:ext uri="{FF2B5EF4-FFF2-40B4-BE49-F238E27FC236}">
                <a16:creationId xmlns:a16="http://schemas.microsoft.com/office/drawing/2014/main" id="{2FA9DEFB-982C-45F5-9E8F-C0B48FF8C456}"/>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076820147"/>
      </p:ext>
    </p:extLst>
  </p:cSld>
  <p:clrMapOvr>
    <a:masterClrMapping/>
  </p:clrMapOvr>
  <p:transition spd="med">
    <p:pull/>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riangle 28">
            <a:extLst>
              <a:ext uri="{FF2B5EF4-FFF2-40B4-BE49-F238E27FC236}">
                <a16:creationId xmlns:a16="http://schemas.microsoft.com/office/drawing/2014/main" id="{F9314F64-20BD-4E75-B177-9A814D8B4F7E}"/>
              </a:ext>
            </a:extLst>
          </p:cNvPr>
          <p:cNvSpPr/>
          <p:nvPr/>
        </p:nvSpPr>
        <p:spPr>
          <a:xfrm rot="16200000">
            <a:off x="11053750" y="6180504"/>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p>
        </p:txBody>
      </p:sp>
      <p:sp>
        <p:nvSpPr>
          <p:cNvPr id="18" name="Title 2">
            <a:extLst>
              <a:ext uri="{FF2B5EF4-FFF2-40B4-BE49-F238E27FC236}">
                <a16:creationId xmlns:a16="http://schemas.microsoft.com/office/drawing/2014/main" id="{D709AC0C-89C3-44FD-851F-819E92A0D2A4}"/>
              </a:ext>
            </a:extLst>
          </p:cNvPr>
          <p:cNvSpPr>
            <a:spLocks noGrp="1"/>
          </p:cNvSpPr>
          <p:nvPr>
            <p:ph type="title"/>
          </p:nvPr>
        </p:nvSpPr>
        <p:spPr>
          <a:xfrm>
            <a:off x="522373" y="430820"/>
            <a:ext cx="11147258" cy="330986"/>
          </a:xfrm>
        </p:spPr>
        <p:txBody>
          <a:bodyPr vert="horz" lIns="0" tIns="0" rIns="0" bIns="0" rtlCol="0" anchor="t" anchorCtr="0">
            <a:noAutofit/>
          </a:bodyPr>
          <a:lstStyle/>
          <a:p>
            <a:r>
              <a:rPr lang="en-US" sz="2400" dirty="0"/>
              <a:t>Our Credentials</a:t>
            </a:r>
          </a:p>
        </p:txBody>
      </p:sp>
      <p:grpSp>
        <p:nvGrpSpPr>
          <p:cNvPr id="2" name="Group 1"/>
          <p:cNvGrpSpPr/>
          <p:nvPr/>
        </p:nvGrpSpPr>
        <p:grpSpPr>
          <a:xfrm>
            <a:off x="1651186" y="1288857"/>
            <a:ext cx="8889637" cy="4915492"/>
            <a:chOff x="483742" y="1268704"/>
            <a:chExt cx="8973325" cy="4961767"/>
          </a:xfrm>
        </p:grpSpPr>
        <p:sp>
          <p:nvSpPr>
            <p:cNvPr id="26" name="Rectangle 25"/>
            <p:cNvSpPr/>
            <p:nvPr/>
          </p:nvSpPr>
          <p:spPr>
            <a:xfrm>
              <a:off x="483742" y="1268704"/>
              <a:ext cx="2131851" cy="4961767"/>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27" name="Rectangle 26"/>
            <p:cNvSpPr/>
            <p:nvPr/>
          </p:nvSpPr>
          <p:spPr>
            <a:xfrm>
              <a:off x="483742" y="1268705"/>
              <a:ext cx="2130333" cy="242834"/>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GB" sz="707" b="1" dirty="0">
                  <a:solidFill>
                    <a:prstClr val="white"/>
                  </a:solidFill>
                  <a:latin typeface="+mj-lt"/>
                  <a:ea typeface="Open Sans Light" panose="020B0306030504020204" pitchFamily="34" charset="0"/>
                  <a:cs typeface="Open Sans Light" panose="020B0306030504020204" pitchFamily="34" charset="0"/>
                </a:rPr>
                <a:t>Dubai Silicon Oasis Authority</a:t>
              </a:r>
            </a:p>
          </p:txBody>
        </p:sp>
        <p:sp>
          <p:nvSpPr>
            <p:cNvPr id="28" name="Rectangle 27"/>
            <p:cNvSpPr/>
            <p:nvPr/>
          </p:nvSpPr>
          <p:spPr>
            <a:xfrm>
              <a:off x="483742" y="2242541"/>
              <a:ext cx="2130333" cy="318039"/>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srgbClr val="FFFFFF"/>
                  </a:solidFill>
                  <a:latin typeface="+mj-lt"/>
                  <a:ea typeface="Open Sans Light" panose="020B0306030504020204" pitchFamily="34" charset="0"/>
                  <a:cs typeface="Open Sans Light" panose="020B0306030504020204" pitchFamily="34" charset="0"/>
                </a:rPr>
                <a:t>Project  Details</a:t>
              </a:r>
            </a:p>
          </p:txBody>
        </p:sp>
        <p:sp>
          <p:nvSpPr>
            <p:cNvPr id="29" name="Rectangle 28"/>
            <p:cNvSpPr/>
            <p:nvPr/>
          </p:nvSpPr>
          <p:spPr>
            <a:xfrm>
              <a:off x="5038834" y="1268704"/>
              <a:ext cx="2131851" cy="4961767"/>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30" name="Rectangle 29"/>
            <p:cNvSpPr/>
            <p:nvPr/>
          </p:nvSpPr>
          <p:spPr>
            <a:xfrm>
              <a:off x="5038833" y="1268705"/>
              <a:ext cx="2130333" cy="242834"/>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defTabSz="822107"/>
              <a:r>
                <a:rPr lang="en-US" sz="717" b="1" dirty="0">
                  <a:solidFill>
                    <a:schemeClr val="bg1"/>
                  </a:solidFill>
                  <a:latin typeface="+mj-lt"/>
                  <a:ea typeface="Verdana" panose="020B0604030504040204" pitchFamily="34" charset="0"/>
                  <a:cs typeface="Verdana" panose="020B0604030504040204" pitchFamily="34" charset="0"/>
                </a:rPr>
                <a:t>Mubadala</a:t>
              </a:r>
            </a:p>
          </p:txBody>
        </p:sp>
        <p:sp>
          <p:nvSpPr>
            <p:cNvPr id="31" name="Rectangle 30"/>
            <p:cNvSpPr/>
            <p:nvPr/>
          </p:nvSpPr>
          <p:spPr>
            <a:xfrm>
              <a:off x="5038833" y="2242541"/>
              <a:ext cx="2130333" cy="318039"/>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defTabSz="822107">
                <a:spcBef>
                  <a:spcPts val="272"/>
                </a:spcBef>
              </a:pPr>
              <a:r>
                <a:rPr lang="en-US" sz="717" b="1" dirty="0">
                  <a:solidFill>
                    <a:schemeClr val="bg1"/>
                  </a:solidFill>
                  <a:latin typeface="Verdana" panose="020B0604030504040204" pitchFamily="34" charset="0"/>
                  <a:ea typeface="Verdana" panose="020B0604030504040204" pitchFamily="34" charset="0"/>
                  <a:cs typeface="Verdana" panose="020B0604030504040204" pitchFamily="34" charset="0"/>
                </a:rPr>
                <a:t>Project  Details</a:t>
              </a:r>
            </a:p>
          </p:txBody>
        </p:sp>
        <p:sp>
          <p:nvSpPr>
            <p:cNvPr id="32" name="Rectangle 31"/>
            <p:cNvSpPr/>
            <p:nvPr/>
          </p:nvSpPr>
          <p:spPr>
            <a:xfrm>
              <a:off x="7316101" y="1268704"/>
              <a:ext cx="2131851" cy="4961767"/>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34" name="Rectangle 33"/>
            <p:cNvSpPr/>
            <p:nvPr/>
          </p:nvSpPr>
          <p:spPr>
            <a:xfrm>
              <a:off x="7316101" y="1268705"/>
              <a:ext cx="2130333" cy="242834"/>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prstClr val="white"/>
                  </a:solidFill>
                  <a:latin typeface="+mj-lt"/>
                  <a:ea typeface="Open Sans Light" panose="020B0306030504020204" pitchFamily="34" charset="0"/>
                  <a:cs typeface="Open Sans Light" panose="020B0306030504020204" pitchFamily="34" charset="0"/>
                </a:rPr>
                <a:t>Central Bank of Kuwait</a:t>
              </a:r>
            </a:p>
          </p:txBody>
        </p:sp>
        <p:sp>
          <p:nvSpPr>
            <p:cNvPr id="35" name="Rectangle 34"/>
            <p:cNvSpPr/>
            <p:nvPr/>
          </p:nvSpPr>
          <p:spPr>
            <a:xfrm>
              <a:off x="7316101" y="2242541"/>
              <a:ext cx="2130333" cy="318039"/>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latin typeface="+mj-lt"/>
                  <a:ea typeface="Open Sans Light" panose="020B0306030504020204" pitchFamily="34" charset="0"/>
                  <a:cs typeface="Open Sans Light" panose="020B0306030504020204" pitchFamily="34" charset="0"/>
                </a:rPr>
                <a:t>Project  Details</a:t>
              </a:r>
            </a:p>
          </p:txBody>
        </p:sp>
        <p:sp>
          <p:nvSpPr>
            <p:cNvPr id="36" name="Rectangle 35"/>
            <p:cNvSpPr/>
            <p:nvPr/>
          </p:nvSpPr>
          <p:spPr>
            <a:xfrm>
              <a:off x="556176" y="2582857"/>
              <a:ext cx="2068107" cy="816566"/>
            </a:xfrm>
            <a:prstGeom prst="rect">
              <a:avLst/>
            </a:prstGeom>
          </p:spPr>
          <p:txBody>
            <a:bodyPr wrap="square" lIns="72018" tIns="36010" rIns="72018" bIns="36010">
              <a:spAutoFit/>
            </a:bodyPr>
            <a:lstStyle/>
            <a:p>
              <a:pPr marL="154145" indent="-154145">
                <a:buFont typeface="Arial" panose="020B0604020202020204" pitchFamily="34" charset="0"/>
                <a:buChar char="•"/>
              </a:pPr>
              <a:endParaRPr lang="en-US" sz="807" b="1" dirty="0"/>
            </a:p>
            <a:p>
              <a:pPr marL="154145" indent="-154145">
                <a:buFont typeface="Arial" panose="020B0604020202020204" pitchFamily="34" charset="0"/>
                <a:buChar char="•"/>
              </a:pPr>
              <a:endParaRPr lang="en-US" sz="807" b="1" dirty="0"/>
            </a:p>
            <a:p>
              <a:pPr defTabSz="822107">
                <a:spcBef>
                  <a:spcPts val="272"/>
                </a:spcBef>
              </a:pPr>
              <a:endParaRPr lang="en-US" sz="807" dirty="0">
                <a:latin typeface="Verdana" panose="020B0604030504040204" pitchFamily="34" charset="0"/>
                <a:ea typeface="Verdana" panose="020B0604030504040204" pitchFamily="34" charset="0"/>
                <a:cs typeface="Verdana" panose="020B0604030504040204" pitchFamily="34" charset="0"/>
              </a:endParaRPr>
            </a:p>
            <a:p>
              <a:pPr marL="154145" indent="-154145" defTabSz="822107">
                <a:spcBef>
                  <a:spcPts val="272"/>
                </a:spcBef>
                <a:buFont typeface="Arial" panose="020B0604020202020204" pitchFamily="34" charset="0"/>
                <a:buChar char="•"/>
              </a:pPr>
              <a:endParaRPr lang="en-US" sz="807" dirty="0">
                <a:latin typeface="Verdana" panose="020B0604030504040204" pitchFamily="34" charset="0"/>
                <a:ea typeface="Verdana" panose="020B0604030504040204" pitchFamily="34" charset="0"/>
                <a:cs typeface="Verdana" panose="020B0604030504040204" pitchFamily="34" charset="0"/>
              </a:endParaRPr>
            </a:p>
            <a:p>
              <a:pPr defTabSz="822107">
                <a:spcBef>
                  <a:spcPts val="272"/>
                </a:spcBef>
              </a:pPr>
              <a:endParaRPr lang="en-US" sz="807" dirty="0">
                <a:latin typeface="Verdana" panose="020B0604030504040204" pitchFamily="34" charset="0"/>
                <a:ea typeface="Verdana" panose="020B0604030504040204" pitchFamily="34" charset="0"/>
                <a:cs typeface="Verdana" panose="020B0604030504040204" pitchFamily="34" charset="0"/>
              </a:endParaRPr>
            </a:p>
          </p:txBody>
        </p:sp>
        <p:sp>
          <p:nvSpPr>
            <p:cNvPr id="37" name="Rectangle 36"/>
            <p:cNvSpPr/>
            <p:nvPr/>
          </p:nvSpPr>
          <p:spPr>
            <a:xfrm>
              <a:off x="5040568" y="2560580"/>
              <a:ext cx="2179735" cy="1200329"/>
            </a:xfrm>
            <a:prstGeom prst="rect">
              <a:avLst/>
            </a:prstGeom>
          </p:spPr>
          <p:txBody>
            <a:bodyPr wrap="square">
              <a:spAutoFit/>
            </a:bodyPr>
            <a:lstStyle/>
            <a:p>
              <a:pPr algn="just">
                <a:defRPr/>
              </a:pPr>
              <a:r>
                <a:rPr lang="en-US" sz="791" dirty="0"/>
                <a:t>Deloitte &amp; Touche M.E. was requested to perform a Business Impact Analysis for all Business and Support functions of Mubadala (the investment arm of the Government of the State of Abu Dhabi) in order to drive the next steps in the implementation of the Business Continuity and Disaster Recovery initiatives</a:t>
              </a:r>
            </a:p>
          </p:txBody>
        </p:sp>
        <p:sp>
          <p:nvSpPr>
            <p:cNvPr id="38" name="Rectangle 37"/>
            <p:cNvSpPr/>
            <p:nvPr/>
          </p:nvSpPr>
          <p:spPr>
            <a:xfrm>
              <a:off x="485260" y="2576384"/>
              <a:ext cx="2138349" cy="2554545"/>
            </a:xfrm>
            <a:prstGeom prst="rect">
              <a:avLst/>
            </a:prstGeom>
          </p:spPr>
          <p:txBody>
            <a:bodyPr wrap="square">
              <a:spAutoFit/>
            </a:bodyPr>
            <a:lstStyle/>
            <a:p>
              <a:pPr algn="just">
                <a:defRPr/>
              </a:pPr>
              <a:r>
                <a:rPr lang="en-US" sz="791" dirty="0"/>
                <a:t>Deloitte &amp; Touche M.E. was engaged to implement an end-to-end Enterprise Risk Management &amp; Business Continuity Management system for a key governmental entity in Dubai, a municipal body of the free zone. The project aims at achieving compliance with ISO22301 for Business Continuity Management Program. </a:t>
              </a:r>
            </a:p>
            <a:p>
              <a:pPr algn="just">
                <a:defRPr/>
              </a:pPr>
              <a:r>
                <a:rPr lang="en-US" sz="791" dirty="0"/>
                <a:t>The project aims to establish the BCM governance framework, perform a Business Impact Analysis and Threat Assessment workshops to prioritize critical processes, develop BC strategy &amp; plan &amp; conduct BCM exercising as part of the implementation support.  The total project duration is 12 months covering 20 departments.</a:t>
              </a:r>
            </a:p>
          </p:txBody>
        </p:sp>
        <p:pic>
          <p:nvPicPr>
            <p:cNvPr id="39" name="Picture 38"/>
            <p:cNvPicPr>
              <a:picLocks noChangeAspect="1"/>
            </p:cNvPicPr>
            <p:nvPr/>
          </p:nvPicPr>
          <p:blipFill>
            <a:blip r:embed="rId2"/>
            <a:stretch>
              <a:fillRect/>
            </a:stretch>
          </p:blipFill>
          <p:spPr>
            <a:xfrm>
              <a:off x="903861" y="1620695"/>
              <a:ext cx="1290064" cy="524089"/>
            </a:xfrm>
            <a:prstGeom prst="rect">
              <a:avLst/>
            </a:prstGeom>
          </p:spPr>
        </p:pic>
        <p:sp>
          <p:nvSpPr>
            <p:cNvPr id="40" name="Rectangle 39"/>
            <p:cNvSpPr/>
            <p:nvPr/>
          </p:nvSpPr>
          <p:spPr>
            <a:xfrm>
              <a:off x="2761381" y="1268704"/>
              <a:ext cx="2131851" cy="4961767"/>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41" name="Rectangle 40"/>
            <p:cNvSpPr/>
            <p:nvPr/>
          </p:nvSpPr>
          <p:spPr>
            <a:xfrm>
              <a:off x="2761380" y="1268705"/>
              <a:ext cx="2130333" cy="24283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GB" sz="717" b="1" dirty="0">
                  <a:solidFill>
                    <a:prstClr val="white"/>
                  </a:solidFill>
                  <a:latin typeface="+mj-lt"/>
                  <a:ea typeface="Open Sans Light" panose="020B0306030504020204" pitchFamily="34" charset="0"/>
                  <a:cs typeface="Open Sans Light" panose="020B0306030504020204" pitchFamily="34" charset="0"/>
                </a:rPr>
                <a:t>Abu Dhabi Police GHQ</a:t>
              </a:r>
            </a:p>
          </p:txBody>
        </p:sp>
        <p:sp>
          <p:nvSpPr>
            <p:cNvPr id="42" name="Rectangle 41"/>
            <p:cNvSpPr/>
            <p:nvPr/>
          </p:nvSpPr>
          <p:spPr>
            <a:xfrm>
              <a:off x="2761380" y="2242541"/>
              <a:ext cx="2130333" cy="318039"/>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latin typeface="+mj-lt"/>
                  <a:ea typeface="Open Sans Light" panose="020B0306030504020204" pitchFamily="34" charset="0"/>
                  <a:cs typeface="Open Sans Light" panose="020B0306030504020204" pitchFamily="34" charset="0"/>
                </a:rPr>
                <a:t>Project  Details</a:t>
              </a:r>
            </a:p>
          </p:txBody>
        </p:sp>
        <p:pic>
          <p:nvPicPr>
            <p:cNvPr id="43" name="Picture 42"/>
            <p:cNvPicPr/>
            <p:nvPr/>
          </p:nvPicPr>
          <p:blipFill rotWithShape="1">
            <a:blip r:embed="rId3">
              <a:extLst>
                <a:ext uri="{28A0092B-C50C-407E-A947-70E740481C1C}">
                  <a14:useLocalDpi xmlns:a14="http://schemas.microsoft.com/office/drawing/2010/main"/>
                </a:ext>
              </a:extLst>
            </a:blip>
            <a:srcRect t="4310"/>
            <a:stretch/>
          </p:blipFill>
          <p:spPr>
            <a:xfrm>
              <a:off x="3418840" y="1533816"/>
              <a:ext cx="815411" cy="699455"/>
            </a:xfrm>
            <a:prstGeom prst="rect">
              <a:avLst/>
            </a:prstGeom>
          </p:spPr>
        </p:pic>
        <p:sp>
          <p:nvSpPr>
            <p:cNvPr id="53" name="Rectangle 52"/>
            <p:cNvSpPr/>
            <p:nvPr/>
          </p:nvSpPr>
          <p:spPr>
            <a:xfrm>
              <a:off x="2751173" y="2560580"/>
              <a:ext cx="2140540" cy="3662541"/>
            </a:xfrm>
            <a:prstGeom prst="rect">
              <a:avLst/>
            </a:prstGeom>
          </p:spPr>
          <p:txBody>
            <a:bodyPr wrap="square">
              <a:spAutoFit/>
            </a:bodyPr>
            <a:lstStyle/>
            <a:p>
              <a:pPr algn="just">
                <a:defRPr/>
              </a:pPr>
              <a:r>
                <a:rPr lang="en-US" sz="791" dirty="0"/>
                <a:t>Deloitte &amp; Touche M.E. is implementing a BCM program with Abu Dhabi Police (ADP). The project aims at achieving compliance with ISO22301 Business Continuity Management program and National Crisis and NCEMA 7000 standards. We are engaged to: </a:t>
              </a:r>
            </a:p>
            <a:p>
              <a:pPr marL="169914" indent="-169914">
                <a:buFont typeface="Arial" panose="020B0604020202020204" pitchFamily="34" charset="0"/>
                <a:buChar char="•"/>
                <a:defRPr/>
              </a:pPr>
              <a:r>
                <a:rPr lang="en-US" sz="791" dirty="0"/>
                <a:t>Perform Current State Assessment</a:t>
              </a:r>
            </a:p>
            <a:p>
              <a:pPr marL="169914" indent="-169914">
                <a:buFont typeface="Arial" panose="020B0604020202020204" pitchFamily="34" charset="0"/>
                <a:buChar char="•"/>
                <a:defRPr/>
              </a:pPr>
              <a:r>
                <a:rPr lang="en-US" sz="791" dirty="0"/>
                <a:t>Create BCM Governance Framework</a:t>
              </a:r>
            </a:p>
            <a:p>
              <a:pPr marL="169914" indent="-169914">
                <a:buFont typeface="Arial" panose="020B0604020202020204" pitchFamily="34" charset="0"/>
                <a:buChar char="•"/>
                <a:defRPr/>
              </a:pPr>
              <a:r>
                <a:rPr lang="en-US" sz="791" dirty="0"/>
                <a:t>Perform a Business Impact Analysis and Threat Assessment</a:t>
              </a:r>
            </a:p>
            <a:p>
              <a:pPr marL="169914" indent="-169914">
                <a:buFont typeface="Arial" panose="020B0604020202020204" pitchFamily="34" charset="0"/>
                <a:buChar char="•"/>
                <a:defRPr/>
              </a:pPr>
              <a:r>
                <a:rPr lang="en-US" sz="791" dirty="0"/>
                <a:t>Business Continuity Strategy Development &amp; Implementation</a:t>
              </a:r>
            </a:p>
            <a:p>
              <a:pPr marL="169914" indent="-169914">
                <a:buFont typeface="Arial" panose="020B0604020202020204" pitchFamily="34" charset="0"/>
                <a:buChar char="•"/>
                <a:defRPr/>
              </a:pPr>
              <a:r>
                <a:rPr lang="en-US" sz="791" dirty="0"/>
                <a:t>BCM Training and Exercising </a:t>
              </a:r>
            </a:p>
            <a:p>
              <a:pPr marL="169914" indent="-169914">
                <a:buFont typeface="Arial" panose="020B0604020202020204" pitchFamily="34" charset="0"/>
                <a:buChar char="•"/>
                <a:defRPr/>
              </a:pPr>
              <a:endParaRPr lang="en-US" sz="791" dirty="0"/>
            </a:p>
            <a:p>
              <a:pPr algn="just">
                <a:defRPr/>
              </a:pPr>
              <a:r>
                <a:rPr lang="en-US" sz="791" dirty="0"/>
                <a:t>Critical design considerations like alignment with the requirements of NCEMA; integration with Enterprise Risk Management System, Crisis Management System, IT Disaster Recovery Planning &amp; Procedures, Health, Safety &amp; Environment System, ADP’s Quality Management System; and abiding by the Sheikh Khalifa Excellence Award have been incorporated within our approach to ensure successful implementation.</a:t>
              </a:r>
            </a:p>
          </p:txBody>
        </p:sp>
        <p:sp>
          <p:nvSpPr>
            <p:cNvPr id="54" name="Rectangle 53"/>
            <p:cNvSpPr/>
            <p:nvPr/>
          </p:nvSpPr>
          <p:spPr>
            <a:xfrm>
              <a:off x="7326734" y="2566489"/>
              <a:ext cx="2130333" cy="2923877"/>
            </a:xfrm>
            <a:prstGeom prst="rect">
              <a:avLst/>
            </a:prstGeom>
          </p:spPr>
          <p:txBody>
            <a:bodyPr wrap="square">
              <a:spAutoFit/>
            </a:bodyPr>
            <a:lstStyle/>
            <a:p>
              <a:pPr algn="just">
                <a:defRPr/>
              </a:pPr>
              <a:r>
                <a:rPr lang="en-US" sz="791" dirty="0"/>
                <a:t>Deloitte &amp; Touche M.E. led the development and implementation efforts for a comprehensive business continuity management program for the Central Bank of Kuwait.  We began our efforts with a bank-wide business impact analysis, resulting in a detailed, requirements report, outlining the recovery time and recovery point objectives for the bank’s critical business processes.  Each application supporting the various processes was also identified, along with its corresponding recovery objectives.  Using the requirements identified, we developed strategies, designed and documented, business continuity plans for each of the central bank’s critical processes.  We documented recovery plan covering the BETH3 asset mix outlined in Deloitte’s recommended BCM methodology.</a:t>
              </a:r>
            </a:p>
          </p:txBody>
        </p:sp>
        <p:pic>
          <p:nvPicPr>
            <p:cNvPr id="56" name="Picture 55" descr="C:\Users\haammar\AppData\Local\Microsoft\Windows\Temporary Internet Files\Content.Outlook\NVB6F3QA\CBK - LOGO.png"/>
            <p:cNvPicPr/>
            <p:nvPr/>
          </p:nvPicPr>
          <p:blipFill>
            <a:blip r:embed="rId4" cstate="print"/>
            <a:srcRect/>
            <a:stretch>
              <a:fillRect/>
            </a:stretch>
          </p:blipFill>
          <p:spPr bwMode="auto">
            <a:xfrm>
              <a:off x="7999177" y="1501393"/>
              <a:ext cx="783444" cy="735392"/>
            </a:xfrm>
            <a:prstGeom prst="rect">
              <a:avLst/>
            </a:prstGeom>
            <a:noFill/>
            <a:ln w="9525">
              <a:noFill/>
              <a:miter lim="800000"/>
              <a:headEnd/>
              <a:tailEnd/>
            </a:ln>
          </p:spPr>
        </p:pic>
        <p:pic>
          <p:nvPicPr>
            <p:cNvPr id="67" name="Picture 66" descr="Mubadala"/>
            <p:cNvPicPr/>
            <p:nvPr/>
          </p:nvPicPr>
          <p:blipFill>
            <a:blip r:embed="rId5" cstate="email">
              <a:extLst>
                <a:ext uri="{28A0092B-C50C-407E-A947-70E740481C1C}">
                  <a14:useLocalDpi xmlns:a14="http://schemas.microsoft.com/office/drawing/2010/main"/>
                </a:ext>
              </a:extLst>
            </a:blip>
            <a:srcRect/>
            <a:stretch>
              <a:fillRect/>
            </a:stretch>
          </p:blipFill>
          <p:spPr bwMode="auto">
            <a:xfrm>
              <a:off x="5448783" y="1700213"/>
              <a:ext cx="1310432" cy="414317"/>
            </a:xfrm>
            <a:prstGeom prst="rect">
              <a:avLst/>
            </a:prstGeom>
            <a:noFill/>
            <a:ln w="9525">
              <a:noFill/>
              <a:miter lim="800000"/>
              <a:headEnd/>
              <a:tailEnd/>
            </a:ln>
          </p:spPr>
        </p:pic>
      </p:grpSp>
      <p:sp>
        <p:nvSpPr>
          <p:cNvPr id="44" name="Rectangle 43">
            <a:extLst>
              <a:ext uri="{FF2B5EF4-FFF2-40B4-BE49-F238E27FC236}">
                <a16:creationId xmlns:a16="http://schemas.microsoft.com/office/drawing/2014/main" id="{26CC20D9-DFEF-4918-948B-8246B60212F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4047655259"/>
      </p:ext>
    </p:extLst>
  </p:cSld>
  <p:clrMapOvr>
    <a:masterClrMapping/>
  </p:clrMapOvr>
  <p:transition spd="med">
    <p:pull/>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D709AC0C-89C3-44FD-851F-819E92A0D2A4}"/>
              </a:ext>
            </a:extLst>
          </p:cNvPr>
          <p:cNvSpPr>
            <a:spLocks noGrp="1"/>
          </p:cNvSpPr>
          <p:nvPr>
            <p:ph type="title"/>
          </p:nvPr>
        </p:nvSpPr>
        <p:spPr>
          <a:xfrm>
            <a:off x="522371" y="449475"/>
            <a:ext cx="11147258" cy="330986"/>
          </a:xfrm>
        </p:spPr>
        <p:txBody>
          <a:bodyPr vert="horz" lIns="0" tIns="0" rIns="0" bIns="0" rtlCol="0" anchor="t" anchorCtr="0">
            <a:noAutofit/>
          </a:bodyPr>
          <a:lstStyle/>
          <a:p>
            <a:r>
              <a:rPr lang="en-US" sz="2382" dirty="0"/>
              <a:t>Our Credentials</a:t>
            </a:r>
          </a:p>
        </p:txBody>
      </p:sp>
      <p:grpSp>
        <p:nvGrpSpPr>
          <p:cNvPr id="4" name="Group 3">
            <a:extLst>
              <a:ext uri="{FF2B5EF4-FFF2-40B4-BE49-F238E27FC236}">
                <a16:creationId xmlns:a16="http://schemas.microsoft.com/office/drawing/2014/main" id="{D3C7824A-32B9-CEF2-4B1D-2C6434970CB3}"/>
              </a:ext>
            </a:extLst>
          </p:cNvPr>
          <p:cNvGrpSpPr/>
          <p:nvPr/>
        </p:nvGrpSpPr>
        <p:grpSpPr>
          <a:xfrm>
            <a:off x="2462349" y="1246735"/>
            <a:ext cx="6624579" cy="4915492"/>
            <a:chOff x="1649551" y="1246735"/>
            <a:chExt cx="6624579" cy="4915492"/>
          </a:xfrm>
        </p:grpSpPr>
        <p:sp>
          <p:nvSpPr>
            <p:cNvPr id="33" name="Rectangle 32"/>
            <p:cNvSpPr/>
            <p:nvPr/>
          </p:nvSpPr>
          <p:spPr>
            <a:xfrm>
              <a:off x="1649551" y="1246735"/>
              <a:ext cx="2111969" cy="49154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44" name="Rectangle 43"/>
            <p:cNvSpPr/>
            <p:nvPr/>
          </p:nvSpPr>
          <p:spPr>
            <a:xfrm>
              <a:off x="1649551" y="1246736"/>
              <a:ext cx="2110465" cy="240569"/>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GB" sz="707" b="1" dirty="0">
                  <a:solidFill>
                    <a:prstClr val="white"/>
                  </a:solidFill>
                  <a:latin typeface="+mj-lt"/>
                  <a:ea typeface="Open Sans Light" panose="020B0306030504020204" pitchFamily="34" charset="0"/>
                  <a:cs typeface="Open Sans Light" panose="020B0306030504020204" pitchFamily="34" charset="0"/>
                </a:rPr>
                <a:t>STC Solutions</a:t>
              </a:r>
            </a:p>
          </p:txBody>
        </p:sp>
        <p:sp>
          <p:nvSpPr>
            <p:cNvPr id="45" name="Rectangle 44"/>
            <p:cNvSpPr/>
            <p:nvPr/>
          </p:nvSpPr>
          <p:spPr>
            <a:xfrm>
              <a:off x="1649551" y="2211490"/>
              <a:ext cx="2110465" cy="315073"/>
            </a:xfrm>
            <a:prstGeom prst="rect">
              <a:avLst/>
            </a:prstGeom>
            <a:solidFill>
              <a:schemeClr val="accent2"/>
            </a:solidFill>
            <a:ln w="3175">
              <a:solidFill>
                <a:srgbClr val="3C8A2E"/>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07" b="1" dirty="0">
                  <a:solidFill>
                    <a:srgbClr val="FFFFFF"/>
                  </a:solidFill>
                  <a:latin typeface="+mj-lt"/>
                  <a:ea typeface="Open Sans Light" panose="020B0306030504020204" pitchFamily="34" charset="0"/>
                  <a:cs typeface="Open Sans Light" panose="020B0306030504020204" pitchFamily="34" charset="0"/>
                </a:rPr>
                <a:t>Project  Details</a:t>
              </a:r>
            </a:p>
          </p:txBody>
        </p:sp>
        <p:sp>
          <p:nvSpPr>
            <p:cNvPr id="46" name="Rectangle 45"/>
            <p:cNvSpPr/>
            <p:nvPr/>
          </p:nvSpPr>
          <p:spPr>
            <a:xfrm>
              <a:off x="6162161" y="1246735"/>
              <a:ext cx="2111969" cy="4915492"/>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47" name="Rectangle 46"/>
            <p:cNvSpPr/>
            <p:nvPr/>
          </p:nvSpPr>
          <p:spPr>
            <a:xfrm>
              <a:off x="6162160" y="1246736"/>
              <a:ext cx="2110465" cy="240569"/>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defTabSz="822107"/>
              <a:r>
                <a:rPr lang="en-US" sz="717" b="1" dirty="0">
                  <a:solidFill>
                    <a:schemeClr val="bg1"/>
                  </a:solidFill>
                  <a:latin typeface="+mj-lt"/>
                  <a:ea typeface="Verdana" panose="020B0604030504040204" pitchFamily="34" charset="0"/>
                  <a:cs typeface="Verdana" panose="020B0604030504040204" pitchFamily="34" charset="0"/>
                </a:rPr>
                <a:t>General Organization for Social Insurance</a:t>
              </a:r>
            </a:p>
          </p:txBody>
        </p:sp>
        <p:sp>
          <p:nvSpPr>
            <p:cNvPr id="48" name="Rectangle 47"/>
            <p:cNvSpPr/>
            <p:nvPr/>
          </p:nvSpPr>
          <p:spPr>
            <a:xfrm>
              <a:off x="6162160" y="2211490"/>
              <a:ext cx="2110465" cy="315073"/>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sp>
          <p:nvSpPr>
            <p:cNvPr id="52" name="Rectangle 51"/>
            <p:cNvSpPr/>
            <p:nvPr/>
          </p:nvSpPr>
          <p:spPr>
            <a:xfrm>
              <a:off x="1721309" y="2548632"/>
              <a:ext cx="2048819" cy="2475136"/>
            </a:xfrm>
            <a:prstGeom prst="rect">
              <a:avLst/>
            </a:prstGeom>
          </p:spPr>
          <p:txBody>
            <a:bodyPr wrap="square" lIns="72018" tIns="36010" rIns="72018" bIns="36010">
              <a:spAutoFit/>
            </a:bodyPr>
            <a:lstStyle/>
            <a:p>
              <a:pPr algn="just" fontAlgn="base">
                <a:lnSpc>
                  <a:spcPct val="110000"/>
                </a:lnSpc>
                <a:spcBef>
                  <a:spcPct val="0"/>
                </a:spcBef>
                <a:spcAft>
                  <a:spcPct val="0"/>
                </a:spcAft>
                <a:buClr>
                  <a:srgbClr val="00ABAB"/>
                </a:buClr>
                <a:buSzPct val="150000"/>
                <a:tabLst>
                  <a:tab pos="225985" algn="l"/>
                </a:tabLst>
                <a:defRPr/>
              </a:pPr>
              <a:r>
                <a:rPr lang="en-US" sz="791" dirty="0"/>
                <a:t>Deloitte &amp; Touche Advisory Saudi Limited was engaged by solutions to implement a holistic BCM Program and integrating it with the existing Enterprise Risk Management framework. The project was executed in a timeline of </a:t>
              </a:r>
              <a:r>
                <a:rPr lang="en-US" sz="791" b="1" dirty="0"/>
                <a:t>6 Months</a:t>
              </a:r>
              <a:r>
                <a:rPr lang="en-US" sz="791" dirty="0"/>
                <a:t> and comprised of establishing BCM governance policy and procedures as well as performing Threat Risk Assessment and Business Impact Analysis for the whole entity. As a result of this analysis, Deloitte has developed Business Continuity Plans and Recovery Strategies that will support solutions in recovering their time critical services and operations in a timely manner.    </a:t>
              </a:r>
            </a:p>
          </p:txBody>
        </p:sp>
        <p:sp>
          <p:nvSpPr>
            <p:cNvPr id="57" name="Rectangle 56"/>
            <p:cNvSpPr/>
            <p:nvPr/>
          </p:nvSpPr>
          <p:spPr>
            <a:xfrm>
              <a:off x="3905948" y="1246735"/>
              <a:ext cx="2111969" cy="491549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endParaRPr lang="en-GB" sz="787" dirty="0">
                <a:solidFill>
                  <a:prstClr val="white"/>
                </a:solidFill>
                <a:latin typeface="+mj-lt"/>
                <a:ea typeface="Open Sans Light" panose="020B0306030504020204" pitchFamily="34" charset="0"/>
                <a:cs typeface="Open Sans Light" panose="020B0306030504020204" pitchFamily="34" charset="0"/>
              </a:endParaRPr>
            </a:p>
          </p:txBody>
        </p:sp>
        <p:sp>
          <p:nvSpPr>
            <p:cNvPr id="58" name="Rectangle 57"/>
            <p:cNvSpPr/>
            <p:nvPr/>
          </p:nvSpPr>
          <p:spPr>
            <a:xfrm>
              <a:off x="3905947" y="1246736"/>
              <a:ext cx="2110465" cy="240569"/>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GB" sz="717" b="1" dirty="0">
                  <a:solidFill>
                    <a:prstClr val="white"/>
                  </a:solidFill>
                  <a:latin typeface="+mj-lt"/>
                  <a:ea typeface="Open Sans Light" panose="020B0306030504020204" pitchFamily="34" charset="0"/>
                  <a:cs typeface="Open Sans Light" panose="020B0306030504020204" pitchFamily="34" charset="0"/>
                </a:rPr>
                <a:t>STC Channels</a:t>
              </a:r>
            </a:p>
          </p:txBody>
        </p:sp>
        <p:sp>
          <p:nvSpPr>
            <p:cNvPr id="59" name="Rectangle 58"/>
            <p:cNvSpPr/>
            <p:nvPr/>
          </p:nvSpPr>
          <p:spPr>
            <a:xfrm>
              <a:off x="3905947" y="2211490"/>
              <a:ext cx="2110465" cy="315073"/>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18" tIns="36010" rIns="72018" bIns="36010" rtlCol="0" anchor="ctr"/>
            <a:lstStyle/>
            <a:p>
              <a:pPr algn="ctr"/>
              <a:r>
                <a:rPr lang="en-US" sz="717" b="1" dirty="0">
                  <a:solidFill>
                    <a:srgbClr val="FFFFFF"/>
                  </a:solidFill>
                  <a:ea typeface="Open Sans Light" panose="020B0306030504020204" pitchFamily="34" charset="0"/>
                  <a:cs typeface="Open Sans Light" panose="020B0306030504020204" pitchFamily="34" charset="0"/>
                </a:rPr>
                <a:t>Project  Details</a:t>
              </a:r>
            </a:p>
          </p:txBody>
        </p:sp>
        <p:pic>
          <p:nvPicPr>
            <p:cNvPr id="62" name="Picture 61"/>
            <p:cNvPicPr>
              <a:picLocks noChangeAspect="1"/>
            </p:cNvPicPr>
            <p:nvPr/>
          </p:nvPicPr>
          <p:blipFill>
            <a:blip r:embed="rId2"/>
            <a:stretch>
              <a:fillRect/>
            </a:stretch>
          </p:blipFill>
          <p:spPr>
            <a:xfrm>
              <a:off x="1873533" y="1616243"/>
              <a:ext cx="1717328" cy="515569"/>
            </a:xfrm>
            <a:prstGeom prst="rect">
              <a:avLst/>
            </a:prstGeom>
          </p:spPr>
        </p:pic>
        <p:pic>
          <p:nvPicPr>
            <p:cNvPr id="63" name="Picture 62"/>
            <p:cNvPicPr>
              <a:picLocks noChangeAspect="1"/>
            </p:cNvPicPr>
            <p:nvPr/>
          </p:nvPicPr>
          <p:blipFill>
            <a:blip r:embed="rId3"/>
            <a:stretch>
              <a:fillRect/>
            </a:stretch>
          </p:blipFill>
          <p:spPr>
            <a:xfrm>
              <a:off x="4051547" y="1553053"/>
              <a:ext cx="1874069" cy="598661"/>
            </a:xfrm>
            <a:prstGeom prst="rect">
              <a:avLst/>
            </a:prstGeom>
          </p:spPr>
        </p:pic>
        <p:sp>
          <p:nvSpPr>
            <p:cNvPr id="64" name="Rectangle 63"/>
            <p:cNvSpPr/>
            <p:nvPr/>
          </p:nvSpPr>
          <p:spPr>
            <a:xfrm>
              <a:off x="3912685" y="2548632"/>
              <a:ext cx="2103727" cy="2103852"/>
            </a:xfrm>
            <a:prstGeom prst="rect">
              <a:avLst/>
            </a:prstGeom>
          </p:spPr>
          <p:txBody>
            <a:bodyPr wrap="square">
              <a:spAutoFit/>
            </a:bodyPr>
            <a:lstStyle/>
            <a:p>
              <a:pPr algn="just" fontAlgn="base">
                <a:lnSpc>
                  <a:spcPct val="110000"/>
                </a:lnSpc>
                <a:spcBef>
                  <a:spcPct val="0"/>
                </a:spcBef>
                <a:spcAft>
                  <a:spcPct val="0"/>
                </a:spcAft>
                <a:buClr>
                  <a:srgbClr val="00ABAB"/>
                </a:buClr>
                <a:buSzPct val="150000"/>
                <a:tabLst>
                  <a:tab pos="225985" algn="l"/>
                </a:tabLst>
                <a:defRPr/>
              </a:pPr>
              <a:r>
                <a:rPr lang="en-US" sz="791" dirty="0"/>
                <a:t>STC Channels engaged Deloitte to review and update channels‘ existing BCM program. The project had a timeline of 6 Months and comprised of reviewing and updating the overall BCM framework as well as performing Threat Risk Assessment and Business Impact Analysis for the whole entity. As a result of this analysis, Deloitte has delivered an updated Business Continuity Plans and Recovery Strategies that are will support channels in recovering their time critical services and operations in a timely manner.    </a:t>
              </a:r>
            </a:p>
          </p:txBody>
        </p:sp>
        <p:pic>
          <p:nvPicPr>
            <p:cNvPr id="65" name="Picture 9" descr="Image result for gosi"/>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5543" b="29001"/>
            <a:stretch/>
          </p:blipFill>
          <p:spPr bwMode="auto">
            <a:xfrm>
              <a:off x="6198226" y="1510227"/>
              <a:ext cx="2052189" cy="701261"/>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p:cNvSpPr/>
            <p:nvPr/>
          </p:nvSpPr>
          <p:spPr>
            <a:xfrm>
              <a:off x="6138106" y="2535111"/>
              <a:ext cx="2112309" cy="945209"/>
            </a:xfrm>
            <a:prstGeom prst="rect">
              <a:avLst/>
            </a:prstGeom>
          </p:spPr>
          <p:txBody>
            <a:bodyPr wrap="square">
              <a:spAutoFit/>
            </a:bodyPr>
            <a:lstStyle/>
            <a:p>
              <a:pPr algn="just">
                <a:defRPr/>
              </a:pPr>
              <a:r>
                <a:rPr lang="en-US" sz="791" dirty="0"/>
                <a:t>Deloitte’s BCM team led the development and implementation efforts for compressive Disaster Recovery (DR) Assessment for the General Organization for Social Insurance (GOSI).</a:t>
              </a:r>
            </a:p>
            <a:p>
              <a:pPr algn="just">
                <a:defRPr/>
              </a:pPr>
              <a:endParaRPr lang="en-US" sz="791" dirty="0"/>
            </a:p>
          </p:txBody>
        </p:sp>
      </p:grpSp>
      <p:sp>
        <p:nvSpPr>
          <p:cNvPr id="26" name="Triangle 28">
            <a:extLst>
              <a:ext uri="{FF2B5EF4-FFF2-40B4-BE49-F238E27FC236}">
                <a16:creationId xmlns:a16="http://schemas.microsoft.com/office/drawing/2014/main" id="{88DB7670-222D-4504-B178-09D1AF176BEA}"/>
              </a:ext>
            </a:extLst>
          </p:cNvPr>
          <p:cNvSpPr/>
          <p:nvPr/>
        </p:nvSpPr>
        <p:spPr>
          <a:xfrm rot="16200000">
            <a:off x="11070139"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27" name="Rectangle 26">
            <a:extLst>
              <a:ext uri="{FF2B5EF4-FFF2-40B4-BE49-F238E27FC236}">
                <a16:creationId xmlns:a16="http://schemas.microsoft.com/office/drawing/2014/main" id="{AF6D3A17-EC3B-40AD-8767-965C90C8342A}"/>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855523250"/>
      </p:ext>
    </p:extLst>
  </p:cSld>
  <p:clrMapOvr>
    <a:masterClrMapping/>
  </p:clrMapOvr>
  <p:transition spd="med">
    <p:pull/>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2EAE336-12F8-4159-BD2D-2A838E972CB9}"/>
              </a:ext>
            </a:extLst>
          </p:cNvPr>
          <p:cNvSpPr txBox="1">
            <a:spLocks/>
          </p:cNvSpPr>
          <p:nvPr/>
        </p:nvSpPr>
        <p:spPr bwMode="gray">
          <a:xfrm>
            <a:off x="522376" y="460105"/>
            <a:ext cx="10321069" cy="1577552"/>
          </a:xfrm>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a:solidFill>
                  <a:schemeClr val="bg1"/>
                </a:solidFill>
                <a:latin typeface="+mj-lt"/>
                <a:ea typeface="Open Sans" panose="020B0606030504020204" pitchFamily="34" charset="0"/>
                <a:cs typeface="Open Sans" panose="020B0606030504020204" pitchFamily="34" charset="0"/>
              </a:defRPr>
            </a:lvl1pPr>
          </a:lstStyle>
          <a:p>
            <a:r>
              <a:rPr lang="en-US" sz="3814" b="0" dirty="0">
                <a:latin typeface="Calibri Light" panose="020F0302020204030204" pitchFamily="34" charset="0"/>
              </a:rPr>
              <a:t>Deloitte’s Official Documents</a:t>
            </a:r>
          </a:p>
        </p:txBody>
      </p:sp>
    </p:spTree>
    <p:extLst>
      <p:ext uri="{BB962C8B-B14F-4D97-AF65-F5344CB8AC3E}">
        <p14:creationId xmlns:p14="http://schemas.microsoft.com/office/powerpoint/2010/main" val="750498250"/>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000A1359-397A-47F3-B307-D9F40CE4F02B}"/>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8" name="Rectangle 7">
            <a:extLst>
              <a:ext uri="{FF2B5EF4-FFF2-40B4-BE49-F238E27FC236}">
                <a16:creationId xmlns:a16="http://schemas.microsoft.com/office/drawing/2014/main" id="{10ECE668-60CF-4161-87C6-B7D7F36C4A2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2039D2E0-C738-4FF8-8DA0-4C68F7F691BA}"/>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Membership Certificate</a:t>
            </a:r>
          </a:p>
        </p:txBody>
      </p:sp>
      <p:pic>
        <p:nvPicPr>
          <p:cNvPr id="2" name="Picture 1">
            <a:extLst>
              <a:ext uri="{FF2B5EF4-FFF2-40B4-BE49-F238E27FC236}">
                <a16:creationId xmlns:a16="http://schemas.microsoft.com/office/drawing/2014/main" id="{7BFA73C4-E988-9AD3-8EE5-E3F064975753}"/>
              </a:ext>
            </a:extLst>
          </p:cNvPr>
          <p:cNvPicPr>
            <a:picLocks noChangeAspect="1"/>
          </p:cNvPicPr>
          <p:nvPr/>
        </p:nvPicPr>
        <p:blipFill>
          <a:blip r:embed="rId2"/>
          <a:stretch>
            <a:fillRect/>
          </a:stretch>
        </p:blipFill>
        <p:spPr>
          <a:xfrm>
            <a:off x="2552700" y="1414972"/>
            <a:ext cx="7086600" cy="5002741"/>
          </a:xfrm>
          <a:prstGeom prst="rect">
            <a:avLst/>
          </a:prstGeom>
          <a:solidFill>
            <a:schemeClr val="accent1"/>
          </a:solidFill>
          <a:ln w="19050">
            <a:solidFill>
              <a:schemeClr val="tx1"/>
            </a:solidFill>
          </a:ln>
        </p:spPr>
      </p:pic>
    </p:spTree>
    <p:extLst>
      <p:ext uri="{BB962C8B-B14F-4D97-AF65-F5344CB8AC3E}">
        <p14:creationId xmlns:p14="http://schemas.microsoft.com/office/powerpoint/2010/main" val="32319710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000A1359-397A-47F3-B307-D9F40CE4F02B}"/>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8" name="Rectangle 7">
            <a:extLst>
              <a:ext uri="{FF2B5EF4-FFF2-40B4-BE49-F238E27FC236}">
                <a16:creationId xmlns:a16="http://schemas.microsoft.com/office/drawing/2014/main" id="{10ECE668-60CF-4161-87C6-B7D7F36C4A2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E00DAA6C-E63C-4A67-AD22-BED3158AD1AC}"/>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Authorization Signatory</a:t>
            </a:r>
          </a:p>
        </p:txBody>
      </p:sp>
      <p:pic>
        <p:nvPicPr>
          <p:cNvPr id="2" name="Picture 1">
            <a:extLst>
              <a:ext uri="{FF2B5EF4-FFF2-40B4-BE49-F238E27FC236}">
                <a16:creationId xmlns:a16="http://schemas.microsoft.com/office/drawing/2014/main" id="{21BA17DD-8C1F-C291-A887-BF0B2D3117B8}"/>
              </a:ext>
            </a:extLst>
          </p:cNvPr>
          <p:cNvPicPr>
            <a:picLocks noChangeAspect="1"/>
          </p:cNvPicPr>
          <p:nvPr/>
        </p:nvPicPr>
        <p:blipFill>
          <a:blip r:embed="rId2"/>
          <a:stretch>
            <a:fillRect/>
          </a:stretch>
        </p:blipFill>
        <p:spPr>
          <a:xfrm>
            <a:off x="3993795" y="669996"/>
            <a:ext cx="4204411" cy="5983481"/>
          </a:xfrm>
          <a:prstGeom prst="rect">
            <a:avLst/>
          </a:prstGeom>
          <a:solidFill>
            <a:schemeClr val="accent1"/>
          </a:solidFill>
          <a:ln w="19050">
            <a:solidFill>
              <a:schemeClr val="tx1"/>
            </a:solidFill>
          </a:ln>
        </p:spPr>
      </p:pic>
    </p:spTree>
    <p:extLst>
      <p:ext uri="{BB962C8B-B14F-4D97-AF65-F5344CB8AC3E}">
        <p14:creationId xmlns:p14="http://schemas.microsoft.com/office/powerpoint/2010/main" val="426339719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000A1359-397A-47F3-B307-D9F40CE4F02B}"/>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8" name="Rectangle 7">
            <a:extLst>
              <a:ext uri="{FF2B5EF4-FFF2-40B4-BE49-F238E27FC236}">
                <a16:creationId xmlns:a16="http://schemas.microsoft.com/office/drawing/2014/main" id="{10ECE668-60CF-4161-87C6-B7D7F36C4A2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419EF375-5770-4559-8361-2C0997705D07}"/>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Commercial Registration (1/3):</a:t>
            </a:r>
          </a:p>
        </p:txBody>
      </p:sp>
      <p:pic>
        <p:nvPicPr>
          <p:cNvPr id="5" name="Picture 4">
            <a:extLst>
              <a:ext uri="{FF2B5EF4-FFF2-40B4-BE49-F238E27FC236}">
                <a16:creationId xmlns:a16="http://schemas.microsoft.com/office/drawing/2014/main" id="{A38D9A86-7341-4653-838B-4E4EB7E4FB3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98370" y="1009243"/>
            <a:ext cx="7795260" cy="5527400"/>
          </a:xfrm>
          <a:prstGeom prst="rect">
            <a:avLst/>
          </a:prstGeom>
          <a:solidFill>
            <a:srgbClr val="86BC25"/>
          </a:solidFill>
          <a:ln w="19050">
            <a:solidFill>
              <a:sysClr val="windowText" lastClr="000000"/>
            </a:solidFill>
          </a:ln>
        </p:spPr>
      </p:pic>
    </p:spTree>
    <p:extLst>
      <p:ext uri="{BB962C8B-B14F-4D97-AF65-F5344CB8AC3E}">
        <p14:creationId xmlns:p14="http://schemas.microsoft.com/office/powerpoint/2010/main" val="753276943"/>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000A1359-397A-47F3-B307-D9F40CE4F02B}"/>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8" name="Rectangle 7">
            <a:extLst>
              <a:ext uri="{FF2B5EF4-FFF2-40B4-BE49-F238E27FC236}">
                <a16:creationId xmlns:a16="http://schemas.microsoft.com/office/drawing/2014/main" id="{10ECE668-60CF-4161-87C6-B7D7F36C4A2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00D906FD-4CD1-4C62-89FC-ADC18B082BE1}"/>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Commercial Registration (2/3):</a:t>
            </a:r>
          </a:p>
        </p:txBody>
      </p:sp>
      <p:pic>
        <p:nvPicPr>
          <p:cNvPr id="5" name="Picture 4">
            <a:extLst>
              <a:ext uri="{FF2B5EF4-FFF2-40B4-BE49-F238E27FC236}">
                <a16:creationId xmlns:a16="http://schemas.microsoft.com/office/drawing/2014/main" id="{EAE7827B-4285-4F61-911A-BD5CFA82173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98370" y="912526"/>
            <a:ext cx="7795260" cy="5464802"/>
          </a:xfrm>
          <a:prstGeom prst="rect">
            <a:avLst/>
          </a:prstGeom>
          <a:solidFill>
            <a:srgbClr val="86BC25"/>
          </a:solidFill>
          <a:ln w="19050">
            <a:solidFill>
              <a:sysClr val="windowText" lastClr="000000"/>
            </a:solidFill>
          </a:ln>
        </p:spPr>
      </p:pic>
    </p:spTree>
    <p:extLst>
      <p:ext uri="{BB962C8B-B14F-4D97-AF65-F5344CB8AC3E}">
        <p14:creationId xmlns:p14="http://schemas.microsoft.com/office/powerpoint/2010/main" val="335629546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000A1359-397A-47F3-B307-D9F40CE4F02B}"/>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8" name="Rectangle 7">
            <a:extLst>
              <a:ext uri="{FF2B5EF4-FFF2-40B4-BE49-F238E27FC236}">
                <a16:creationId xmlns:a16="http://schemas.microsoft.com/office/drawing/2014/main" id="{10ECE668-60CF-4161-87C6-B7D7F36C4A2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D29271EF-FC3C-4273-AD1D-0634A55292D7}"/>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Commercial Registration (3/3):</a:t>
            </a:r>
          </a:p>
        </p:txBody>
      </p:sp>
      <p:pic>
        <p:nvPicPr>
          <p:cNvPr id="5" name="Picture 4">
            <a:extLst>
              <a:ext uri="{FF2B5EF4-FFF2-40B4-BE49-F238E27FC236}">
                <a16:creationId xmlns:a16="http://schemas.microsoft.com/office/drawing/2014/main" id="{550E6924-0D3C-4992-BC4C-4B1A2E2DCB7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83257" y="861918"/>
            <a:ext cx="4023283" cy="5660108"/>
          </a:xfrm>
          <a:prstGeom prst="rect">
            <a:avLst/>
          </a:prstGeom>
          <a:solidFill>
            <a:srgbClr val="86BC25"/>
          </a:solidFill>
          <a:ln w="19050">
            <a:solidFill>
              <a:sysClr val="windowText" lastClr="000000"/>
            </a:solidFill>
          </a:ln>
        </p:spPr>
      </p:pic>
    </p:spTree>
    <p:extLst>
      <p:ext uri="{BB962C8B-B14F-4D97-AF65-F5344CB8AC3E}">
        <p14:creationId xmlns:p14="http://schemas.microsoft.com/office/powerpoint/2010/main" val="2537127568"/>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000A1359-397A-47F3-B307-D9F40CE4F02B}"/>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8" name="Rectangle 7">
            <a:extLst>
              <a:ext uri="{FF2B5EF4-FFF2-40B4-BE49-F238E27FC236}">
                <a16:creationId xmlns:a16="http://schemas.microsoft.com/office/drawing/2014/main" id="{10ECE668-60CF-4161-87C6-B7D7F36C4A2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715E9B68-65EE-4724-8F34-24FD9273B940}"/>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Value Added Tax Registration:</a:t>
            </a:r>
          </a:p>
        </p:txBody>
      </p:sp>
      <p:grpSp>
        <p:nvGrpSpPr>
          <p:cNvPr id="2" name="Group 1">
            <a:extLst>
              <a:ext uri="{FF2B5EF4-FFF2-40B4-BE49-F238E27FC236}">
                <a16:creationId xmlns:a16="http://schemas.microsoft.com/office/drawing/2014/main" id="{8B435EC8-7322-3D5B-E9CC-55B44D43DC92}"/>
              </a:ext>
            </a:extLst>
          </p:cNvPr>
          <p:cNvGrpSpPr/>
          <p:nvPr/>
        </p:nvGrpSpPr>
        <p:grpSpPr>
          <a:xfrm>
            <a:off x="2217565" y="902350"/>
            <a:ext cx="7825543" cy="5436006"/>
            <a:chOff x="-744225" y="1287309"/>
            <a:chExt cx="7114130" cy="4941824"/>
          </a:xfrm>
        </p:grpSpPr>
        <p:pic>
          <p:nvPicPr>
            <p:cNvPr id="3" name="Picture 2">
              <a:extLst>
                <a:ext uri="{FF2B5EF4-FFF2-40B4-BE49-F238E27FC236}">
                  <a16:creationId xmlns:a16="http://schemas.microsoft.com/office/drawing/2014/main" id="{2EFEABF3-4CD0-79BA-2FD7-F6DFE952D433}"/>
                </a:ext>
              </a:extLst>
            </p:cNvPr>
            <p:cNvPicPr>
              <a:picLocks noChangeAspect="1"/>
            </p:cNvPicPr>
            <p:nvPr/>
          </p:nvPicPr>
          <p:blipFill>
            <a:blip r:embed="rId2"/>
            <a:stretch>
              <a:fillRect/>
            </a:stretch>
          </p:blipFill>
          <p:spPr>
            <a:xfrm>
              <a:off x="-744225" y="1287309"/>
              <a:ext cx="3474720" cy="4909672"/>
            </a:xfrm>
            <a:prstGeom prst="rect">
              <a:avLst/>
            </a:prstGeom>
            <a:solidFill>
              <a:schemeClr val="accent1"/>
            </a:solidFill>
            <a:ln w="19050">
              <a:solidFill>
                <a:schemeClr val="tx1"/>
              </a:solidFill>
            </a:ln>
          </p:spPr>
        </p:pic>
        <p:pic>
          <p:nvPicPr>
            <p:cNvPr id="10" name="Picture 9">
              <a:extLst>
                <a:ext uri="{FF2B5EF4-FFF2-40B4-BE49-F238E27FC236}">
                  <a16:creationId xmlns:a16="http://schemas.microsoft.com/office/drawing/2014/main" id="{020E40A3-1CEC-67BE-ECFA-034F5DB1218A}"/>
                </a:ext>
              </a:extLst>
            </p:cNvPr>
            <p:cNvPicPr>
              <a:picLocks noChangeAspect="1"/>
            </p:cNvPicPr>
            <p:nvPr/>
          </p:nvPicPr>
          <p:blipFill>
            <a:blip r:embed="rId3"/>
            <a:stretch>
              <a:fillRect/>
            </a:stretch>
          </p:blipFill>
          <p:spPr>
            <a:xfrm>
              <a:off x="2895185" y="1287309"/>
              <a:ext cx="3474720" cy="4941824"/>
            </a:xfrm>
            <a:prstGeom prst="rect">
              <a:avLst/>
            </a:prstGeom>
            <a:solidFill>
              <a:schemeClr val="accent1"/>
            </a:solidFill>
            <a:ln w="19050">
              <a:solidFill>
                <a:schemeClr val="tx1"/>
              </a:solidFill>
            </a:ln>
          </p:spPr>
        </p:pic>
      </p:grpSp>
    </p:spTree>
    <p:extLst>
      <p:ext uri="{BB962C8B-B14F-4D97-AF65-F5344CB8AC3E}">
        <p14:creationId xmlns:p14="http://schemas.microsoft.com/office/powerpoint/2010/main" val="29174383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Title 1">
            <a:extLst>
              <a:ext uri="{FF2B5EF4-FFF2-40B4-BE49-F238E27FC236}">
                <a16:creationId xmlns:a16="http://schemas.microsoft.com/office/drawing/2014/main" id="{EED0906B-AAB2-468C-9021-74C9332BCA01}"/>
              </a:ext>
            </a:extLst>
          </p:cNvPr>
          <p:cNvSpPr>
            <a:spLocks noGrp="1"/>
          </p:cNvSpPr>
          <p:nvPr>
            <p:ph type="title"/>
          </p:nvPr>
        </p:nvSpPr>
        <p:spPr>
          <a:xfrm>
            <a:off x="522373" y="430820"/>
            <a:ext cx="11147258" cy="330986"/>
          </a:xfrm>
        </p:spPr>
        <p:txBody>
          <a:bodyPr/>
          <a:lstStyle/>
          <a:p>
            <a:r>
              <a:rPr lang="en-US" sz="2382" dirty="0">
                <a:cs typeface="Calibri" panose="020F0502020204030204" pitchFamily="34" charset="0"/>
              </a:rPr>
              <a:t>Executive Summary</a:t>
            </a:r>
          </a:p>
        </p:txBody>
      </p:sp>
      <p:sp>
        <p:nvSpPr>
          <p:cNvPr id="45" name="Text Placeholder 6">
            <a:extLst>
              <a:ext uri="{FF2B5EF4-FFF2-40B4-BE49-F238E27FC236}">
                <a16:creationId xmlns:a16="http://schemas.microsoft.com/office/drawing/2014/main" id="{EEA9E6B3-FC94-4919-AD0F-0B8973F6AD4A}"/>
              </a:ext>
            </a:extLst>
          </p:cNvPr>
          <p:cNvSpPr>
            <a:spLocks noGrp="1"/>
          </p:cNvSpPr>
          <p:nvPr>
            <p:ph type="body" sz="quarter" idx="13"/>
          </p:nvPr>
        </p:nvSpPr>
        <p:spPr>
          <a:xfrm>
            <a:off x="522373" y="761804"/>
            <a:ext cx="11147258" cy="750193"/>
          </a:xfrm>
        </p:spPr>
        <p:txBody>
          <a:bodyPr/>
          <a:lstStyle/>
          <a:p>
            <a:r>
              <a:rPr lang="en-US" dirty="0">
                <a:solidFill>
                  <a:srgbClr val="575757"/>
                </a:solidFill>
                <a:cs typeface="Calibri" panose="020F0502020204030204" pitchFamily="34" charset="0"/>
              </a:rPr>
              <a:t>Delivery Model Proposition</a:t>
            </a:r>
          </a:p>
        </p:txBody>
      </p:sp>
      <p:sp>
        <p:nvSpPr>
          <p:cNvPr id="113" name="Text Placeholder 1">
            <a:extLst>
              <a:ext uri="{FF2B5EF4-FFF2-40B4-BE49-F238E27FC236}">
                <a16:creationId xmlns:a16="http://schemas.microsoft.com/office/drawing/2014/main" id="{1D587191-3549-4BCB-BEB1-2455D382EFB1}"/>
              </a:ext>
            </a:extLst>
          </p:cNvPr>
          <p:cNvSpPr txBox="1">
            <a:spLocks/>
          </p:cNvSpPr>
          <p:nvPr/>
        </p:nvSpPr>
        <p:spPr>
          <a:xfrm>
            <a:off x="367183" y="1215295"/>
            <a:ext cx="11013083" cy="67615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51920" marR="441774" algn="just" defTabSz="906203">
              <a:spcAft>
                <a:spcPts val="591"/>
              </a:spcAft>
              <a:tabLst>
                <a:tab pos="116422" algn="l"/>
              </a:tabLst>
              <a:defRPr/>
            </a:pPr>
            <a:r>
              <a:rPr lang="en-US" sz="1091" dirty="0">
                <a:latin typeface="Calibri" panose="020F0502020204030204" pitchFamily="34" charset="0"/>
                <a:ea typeface="Verdana" panose="020B0604030504040204" pitchFamily="34" charset="0"/>
                <a:cs typeface="Calibri" panose="020F0502020204030204" pitchFamily="34" charset="0"/>
              </a:rPr>
              <a:t>Based on our understanding of the scope and efforts required to achieve the desired objectives yet keeping the proposition cost-effective and value-add for stc, we are proposing two different delivery models. While the overall project approach remains the same for all phases, each model has different effort and number of deliverables, as described below:</a:t>
            </a:r>
          </a:p>
        </p:txBody>
      </p:sp>
      <p:sp>
        <p:nvSpPr>
          <p:cNvPr id="44" name="Triangle 28">
            <a:extLst>
              <a:ext uri="{FF2B5EF4-FFF2-40B4-BE49-F238E27FC236}">
                <a16:creationId xmlns:a16="http://schemas.microsoft.com/office/drawing/2014/main" id="{C8BC0AD6-9BA1-46D4-A87A-E1251708E295}"/>
              </a:ext>
            </a:extLst>
          </p:cNvPr>
          <p:cNvSpPr/>
          <p:nvPr/>
        </p:nvSpPr>
        <p:spPr>
          <a:xfrm rot="16200000">
            <a:off x="11053748" y="1371995"/>
            <a:ext cx="264966" cy="228419"/>
          </a:xfrm>
          <a:prstGeom prst="triangl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82" dirty="0">
              <a:latin typeface="Sakkal Majalla" panose="02000000000000000000" pitchFamily="2" charset="-78"/>
              <a:cs typeface="Sakkal Majalla" panose="02000000000000000000" pitchFamily="2" charset="-78"/>
            </a:endParaRPr>
          </a:p>
        </p:txBody>
      </p:sp>
      <p:sp>
        <p:nvSpPr>
          <p:cNvPr id="40" name="Rectangle 39">
            <a:extLst>
              <a:ext uri="{FF2B5EF4-FFF2-40B4-BE49-F238E27FC236}">
                <a16:creationId xmlns:a16="http://schemas.microsoft.com/office/drawing/2014/main" id="{6C34B1CA-EE75-4E51-AFB0-ABA38146439B}"/>
              </a:ext>
            </a:extLst>
          </p:cNvPr>
          <p:cNvSpPr/>
          <p:nvPr/>
        </p:nvSpPr>
        <p:spPr bwMode="gray">
          <a:xfrm>
            <a:off x="1" y="0"/>
            <a:ext cx="165462" cy="6858000"/>
          </a:xfrm>
          <a:prstGeom prst="rect">
            <a:avLst/>
          </a:prstGeom>
          <a:solidFill>
            <a:srgbClr val="7F7F7F"/>
          </a:solidFill>
          <a:ln w="19050" algn="ctr">
            <a:noFill/>
            <a:miter lim="800000"/>
            <a:headEnd/>
            <a:tailEnd/>
          </a:ln>
        </p:spPr>
        <p:txBody>
          <a:bodyPr wrap="square" lIns="88900" tIns="88900" rIns="88900" bIns="88900" rtlCol="0" anchor="b"/>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dirty="0">
              <a:ln>
                <a:noFill/>
              </a:ln>
              <a:solidFill>
                <a:prstClr val="white"/>
              </a:solidFill>
              <a:effectLst/>
              <a:uLnTx/>
              <a:uFillTx/>
              <a:latin typeface="Sakkal Majalla" panose="02000000000000000000" pitchFamily="2" charset="-78"/>
              <a:ea typeface="+mn-ea"/>
              <a:cs typeface="Sakkal Majalla" panose="02000000000000000000" pitchFamily="2" charset="-78"/>
            </a:endParaRPr>
          </a:p>
        </p:txBody>
      </p:sp>
      <p:graphicFrame>
        <p:nvGraphicFramePr>
          <p:cNvPr id="5" name="Table 5">
            <a:extLst>
              <a:ext uri="{FF2B5EF4-FFF2-40B4-BE49-F238E27FC236}">
                <a16:creationId xmlns:a16="http://schemas.microsoft.com/office/drawing/2014/main" id="{A7736F5D-55FF-EC9C-C878-CC8FFAAFFFD2}"/>
              </a:ext>
            </a:extLst>
          </p:cNvPr>
          <p:cNvGraphicFramePr>
            <a:graphicFrameLocks noGrp="1"/>
          </p:cNvGraphicFramePr>
          <p:nvPr>
            <p:extLst>
              <p:ext uri="{D42A27DB-BD31-4B8C-83A1-F6EECF244321}">
                <p14:modId xmlns:p14="http://schemas.microsoft.com/office/powerpoint/2010/main" val="1762514305"/>
              </p:ext>
            </p:extLst>
          </p:nvPr>
        </p:nvGraphicFramePr>
        <p:xfrm>
          <a:off x="522371" y="1726857"/>
          <a:ext cx="10368133" cy="4490659"/>
        </p:xfrm>
        <a:graphic>
          <a:graphicData uri="http://schemas.openxmlformats.org/drawingml/2006/table">
            <a:tbl>
              <a:tblPr firstRow="1" bandRow="1">
                <a:tableStyleId>{5C22544A-7EE6-4342-B048-85BDC9FD1C3A}</a:tableStyleId>
              </a:tblPr>
              <a:tblGrid>
                <a:gridCol w="10368133">
                  <a:extLst>
                    <a:ext uri="{9D8B030D-6E8A-4147-A177-3AD203B41FA5}">
                      <a16:colId xmlns:a16="http://schemas.microsoft.com/office/drawing/2014/main" val="1180051860"/>
                    </a:ext>
                  </a:extLst>
                </a:gridCol>
              </a:tblGrid>
              <a:tr h="362195">
                <a:tc>
                  <a:txBody>
                    <a:bodyPr/>
                    <a:lstStyle/>
                    <a:p>
                      <a:r>
                        <a:rPr lang="en-US" sz="1400" dirty="0">
                          <a:latin typeface="Calibri" panose="020F0502020204030204" pitchFamily="34" charset="0"/>
                          <a:cs typeface="Calibri" panose="020F0502020204030204" pitchFamily="34" charset="0"/>
                        </a:rPr>
                        <a:t>Option 2 – Full-scope Delivery</a:t>
                      </a:r>
                    </a:p>
                  </a:txBody>
                  <a:tcPr marL="83127" marR="83127"/>
                </a:tc>
                <a:extLst>
                  <a:ext uri="{0D108BD9-81ED-4DB2-BD59-A6C34878D82A}">
                    <a16:rowId xmlns:a16="http://schemas.microsoft.com/office/drawing/2014/main" val="3668237591"/>
                  </a:ext>
                </a:extLst>
              </a:tr>
              <a:tr h="690724">
                <a:tc>
                  <a:txBody>
                    <a:bodyPr/>
                    <a:lstStyle/>
                    <a:p>
                      <a:r>
                        <a:rPr lang="en-US" sz="1200" b="1" dirty="0">
                          <a:latin typeface="Calibri" panose="020F0502020204030204" pitchFamily="34" charset="0"/>
                          <a:cs typeface="Calibri" panose="020F0502020204030204" pitchFamily="34" charset="0"/>
                        </a:rPr>
                        <a:t>Phase 1 – BCM Risk Assessment</a:t>
                      </a:r>
                    </a:p>
                    <a:p>
                      <a:r>
                        <a:rPr lang="en-US" sz="1200" u="sng" dirty="0">
                          <a:latin typeface="Calibri" panose="020F0502020204030204" pitchFamily="34" charset="0"/>
                          <a:cs typeface="Calibri" panose="020F0502020204030204" pitchFamily="34" charset="0"/>
                        </a:rPr>
                        <a:t>For all stc locations across KSA</a:t>
                      </a:r>
                      <a:r>
                        <a:rPr lang="en-US" sz="1200" dirty="0">
                          <a:latin typeface="Calibri" panose="020F0502020204030204" pitchFamily="34" charset="0"/>
                          <a:cs typeface="Calibri" panose="020F0502020204030204" pitchFamily="34" charset="0"/>
                        </a:rPr>
                        <a:t>: Perform onsite risk identification, risk assessment, verification of existing controls and development of risk mitigation plans.</a:t>
                      </a:r>
                    </a:p>
                  </a:txBody>
                  <a:tcPr marL="83127" marR="83127"/>
                </a:tc>
                <a:extLst>
                  <a:ext uri="{0D108BD9-81ED-4DB2-BD59-A6C34878D82A}">
                    <a16:rowId xmlns:a16="http://schemas.microsoft.com/office/drawing/2014/main" val="2059220975"/>
                  </a:ext>
                </a:extLst>
              </a:tr>
              <a:tr h="692097">
                <a:tc>
                  <a:txBody>
                    <a:bodyPr/>
                    <a:lstStyle/>
                    <a:p>
                      <a:r>
                        <a:rPr lang="en-US" sz="1200" b="1" dirty="0">
                          <a:latin typeface="Calibri" panose="020F0502020204030204" pitchFamily="34" charset="0"/>
                          <a:cs typeface="Calibri" panose="020F0502020204030204" pitchFamily="34" charset="0"/>
                        </a:rPr>
                        <a:t>Phase 2 – BCM Strategy and Roadmap</a:t>
                      </a:r>
                    </a:p>
                    <a:p>
                      <a:r>
                        <a:rPr lang="en-US" sz="1200" dirty="0">
                          <a:latin typeface="Calibri" panose="020F0502020204030204" pitchFamily="34" charset="0"/>
                          <a:cs typeface="Calibri" panose="020F0502020204030204" pitchFamily="34" charset="0"/>
                        </a:rPr>
                        <a:t>Perform a current maturity assessment of stc’s BCMS against international standards and best practices. Develop a 3-year BCM Strategy and roadmap to achieve the target BCMS maturity. Also review and enhance the BCM recovery strategies based on the BIA performed by stc and risk assessment performed in Phase 1.</a:t>
                      </a:r>
                    </a:p>
                  </a:txBody>
                  <a:tcPr marL="83127" marR="83127"/>
                </a:tc>
                <a:extLst>
                  <a:ext uri="{0D108BD9-81ED-4DB2-BD59-A6C34878D82A}">
                    <a16:rowId xmlns:a16="http://schemas.microsoft.com/office/drawing/2014/main" val="713737051"/>
                  </a:ext>
                </a:extLst>
              </a:tr>
              <a:tr h="1374043">
                <a:tc>
                  <a:txBody>
                    <a:bodyPr/>
                    <a:lstStyle/>
                    <a:p>
                      <a:r>
                        <a:rPr lang="en-US" sz="1200" b="1" dirty="0">
                          <a:latin typeface="Calibri" panose="020F0502020204030204" pitchFamily="34" charset="0"/>
                          <a:cs typeface="Calibri" panose="020F0502020204030204" pitchFamily="34" charset="0"/>
                        </a:rPr>
                        <a:t>Phase 3 - Plans Review and Enhancement</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Review and enhance business continuity plan (BCP) template and update BCPs</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Review and enhance all incident management plans across stc</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Review and enhance centralized crisis management plan and centralized crisis communication plan</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Review and update centralized IT disaster recovery plan and all technical recovery plans (approx. 300)</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Develop emergency response plan (ERP) template and document ERPs for a maximum of 10 different emergency scenarios for stc Head Office</a:t>
                      </a:r>
                    </a:p>
                  </a:txBody>
                  <a:tcPr marL="83127" marR="83127"/>
                </a:tc>
                <a:extLst>
                  <a:ext uri="{0D108BD9-81ED-4DB2-BD59-A6C34878D82A}">
                    <a16:rowId xmlns:a16="http://schemas.microsoft.com/office/drawing/2014/main" val="140118350"/>
                  </a:ext>
                </a:extLst>
              </a:tr>
              <a:tr h="362195">
                <a:tc>
                  <a:txBody>
                    <a:bodyPr/>
                    <a:lstStyle/>
                    <a:p>
                      <a:r>
                        <a:rPr lang="en-US" sz="1200" b="1" dirty="0">
                          <a:latin typeface="Calibri" panose="020F0502020204030204" pitchFamily="34" charset="0"/>
                          <a:cs typeface="Calibri" panose="020F0502020204030204" pitchFamily="34" charset="0"/>
                        </a:rPr>
                        <a:t>Phase 4 – BCM Exercising</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Develop BCM Exercising Program</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Identify ten (10) different test scenarios</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Conduct seven (07) tabletop exercises covering IMPs, BCPs, IT DRP, TRP, CMP and CCP</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Conduct two (02) crisis simulations covering CMP and CCP</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Conduct one (01) crisis simulation covering selected IMPs, BCPs, IT DRP, TRPs, CMP and CCP</a:t>
                      </a:r>
                    </a:p>
                    <a:p>
                      <a:pPr marL="171450" indent="-171450" algn="l" defTabSz="1208241" rtl="0" eaLnBrk="1" latinLnBrk="0" hangingPunct="1">
                        <a:buFont typeface="Arial" panose="020B0604020202020204" pitchFamily="34" charset="0"/>
                        <a:buChar char="•"/>
                      </a:pPr>
                      <a:r>
                        <a:rPr lang="en-US" sz="1200" kern="1200" dirty="0">
                          <a:solidFill>
                            <a:schemeClr val="dk1"/>
                          </a:solidFill>
                          <a:latin typeface="Calibri" panose="020F0502020204030204" pitchFamily="34" charset="0"/>
                          <a:ea typeface="+mn-ea"/>
                          <a:cs typeface="Calibri" panose="020F0502020204030204" pitchFamily="34" charset="0"/>
                        </a:rPr>
                        <a:t>Develop post-exercise reports</a:t>
                      </a:r>
                      <a:endParaRPr lang="en-US" sz="1200" dirty="0">
                        <a:latin typeface="Calibri" panose="020F0502020204030204" pitchFamily="34" charset="0"/>
                        <a:cs typeface="Calibri" panose="020F0502020204030204" pitchFamily="34" charset="0"/>
                      </a:endParaRPr>
                    </a:p>
                  </a:txBody>
                  <a:tcPr marL="83127" marR="83127"/>
                </a:tc>
                <a:extLst>
                  <a:ext uri="{0D108BD9-81ED-4DB2-BD59-A6C34878D82A}">
                    <a16:rowId xmlns:a16="http://schemas.microsoft.com/office/drawing/2014/main" val="3427196031"/>
                  </a:ext>
                </a:extLst>
              </a:tr>
            </a:tbl>
          </a:graphicData>
        </a:graphic>
      </p:graphicFrame>
    </p:spTree>
    <p:extLst>
      <p:ext uri="{BB962C8B-B14F-4D97-AF65-F5344CB8AC3E}">
        <p14:creationId xmlns:p14="http://schemas.microsoft.com/office/powerpoint/2010/main" val="147212371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000A1359-397A-47F3-B307-D9F40CE4F02B}"/>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8" name="Rectangle 7">
            <a:extLst>
              <a:ext uri="{FF2B5EF4-FFF2-40B4-BE49-F238E27FC236}">
                <a16:creationId xmlns:a16="http://schemas.microsoft.com/office/drawing/2014/main" id="{10ECE668-60CF-4161-87C6-B7D7F36C4A2D}"/>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E0535043-EED1-46A3-AD4F-A77903771557}"/>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Saudization Certificate:</a:t>
            </a:r>
          </a:p>
        </p:txBody>
      </p:sp>
      <p:pic>
        <p:nvPicPr>
          <p:cNvPr id="3" name="Picture 2">
            <a:extLst>
              <a:ext uri="{FF2B5EF4-FFF2-40B4-BE49-F238E27FC236}">
                <a16:creationId xmlns:a16="http://schemas.microsoft.com/office/drawing/2014/main" id="{ED77413F-AEE9-8CF8-B759-AC715B6B2C6E}"/>
              </a:ext>
            </a:extLst>
          </p:cNvPr>
          <p:cNvPicPr>
            <a:picLocks noChangeAspect="1"/>
          </p:cNvPicPr>
          <p:nvPr/>
        </p:nvPicPr>
        <p:blipFill>
          <a:blip r:embed="rId2"/>
          <a:stretch>
            <a:fillRect/>
          </a:stretch>
        </p:blipFill>
        <p:spPr>
          <a:xfrm>
            <a:off x="4047047" y="613232"/>
            <a:ext cx="4097907" cy="5787334"/>
          </a:xfrm>
          <a:prstGeom prst="rect">
            <a:avLst/>
          </a:prstGeom>
          <a:solidFill>
            <a:schemeClr val="accent1"/>
          </a:solidFill>
          <a:ln w="19050">
            <a:solidFill>
              <a:schemeClr val="tx1"/>
            </a:solidFill>
          </a:ln>
        </p:spPr>
      </p:pic>
    </p:spTree>
    <p:extLst>
      <p:ext uri="{BB962C8B-B14F-4D97-AF65-F5344CB8AC3E}">
        <p14:creationId xmlns:p14="http://schemas.microsoft.com/office/powerpoint/2010/main" val="949584002"/>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1530FDBC-681E-495A-8B36-C0FEAB53957F}"/>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4B3005C4-148D-4ECF-B6C0-638FFE119949}"/>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6363AAEE-185E-4ADF-BD14-5E8F15FE4CCA}"/>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Zakat and Income Department Certificate:</a:t>
            </a:r>
          </a:p>
        </p:txBody>
      </p:sp>
      <p:pic>
        <p:nvPicPr>
          <p:cNvPr id="2" name="Picture 1">
            <a:extLst>
              <a:ext uri="{FF2B5EF4-FFF2-40B4-BE49-F238E27FC236}">
                <a16:creationId xmlns:a16="http://schemas.microsoft.com/office/drawing/2014/main" id="{676BB42D-178A-8801-0460-9653E55527E7}"/>
              </a:ext>
            </a:extLst>
          </p:cNvPr>
          <p:cNvPicPr>
            <a:picLocks noChangeAspect="1"/>
          </p:cNvPicPr>
          <p:nvPr/>
        </p:nvPicPr>
        <p:blipFill>
          <a:blip r:embed="rId2"/>
          <a:stretch>
            <a:fillRect/>
          </a:stretch>
        </p:blipFill>
        <p:spPr>
          <a:xfrm>
            <a:off x="4184904" y="1103973"/>
            <a:ext cx="3822192" cy="5409872"/>
          </a:xfrm>
          <a:prstGeom prst="rect">
            <a:avLst/>
          </a:prstGeom>
          <a:solidFill>
            <a:schemeClr val="accent1"/>
          </a:solidFill>
          <a:ln w="19050">
            <a:solidFill>
              <a:schemeClr val="tx1"/>
            </a:solidFill>
          </a:ln>
        </p:spPr>
      </p:pic>
    </p:spTree>
    <p:extLst>
      <p:ext uri="{BB962C8B-B14F-4D97-AF65-F5344CB8AC3E}">
        <p14:creationId xmlns:p14="http://schemas.microsoft.com/office/powerpoint/2010/main" val="1463920193"/>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iangle 28">
            <a:extLst>
              <a:ext uri="{FF2B5EF4-FFF2-40B4-BE49-F238E27FC236}">
                <a16:creationId xmlns:a16="http://schemas.microsoft.com/office/drawing/2014/main" id="{28153C0A-F226-4A25-866D-6E5367BEDFCD}"/>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8" name="Rectangle 7">
            <a:extLst>
              <a:ext uri="{FF2B5EF4-FFF2-40B4-BE49-F238E27FC236}">
                <a16:creationId xmlns:a16="http://schemas.microsoft.com/office/drawing/2014/main" id="{9AA6ADB0-7DDF-4D8D-B6C6-C6D9EE8BF1D8}"/>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15C0A864-135E-446E-9DA0-303FEC3B22D4}"/>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Service Investment License:</a:t>
            </a:r>
          </a:p>
        </p:txBody>
      </p:sp>
      <p:pic>
        <p:nvPicPr>
          <p:cNvPr id="3" name="Picture 2">
            <a:extLst>
              <a:ext uri="{FF2B5EF4-FFF2-40B4-BE49-F238E27FC236}">
                <a16:creationId xmlns:a16="http://schemas.microsoft.com/office/drawing/2014/main" id="{973C966D-6BA7-5283-A165-6AA510BA5FFA}"/>
              </a:ext>
            </a:extLst>
          </p:cNvPr>
          <p:cNvPicPr>
            <a:picLocks noChangeAspect="1"/>
          </p:cNvPicPr>
          <p:nvPr/>
        </p:nvPicPr>
        <p:blipFill>
          <a:blip r:embed="rId2"/>
          <a:stretch>
            <a:fillRect/>
          </a:stretch>
        </p:blipFill>
        <p:spPr>
          <a:xfrm>
            <a:off x="2552700" y="1089015"/>
            <a:ext cx="7086600" cy="5000528"/>
          </a:xfrm>
          <a:prstGeom prst="rect">
            <a:avLst/>
          </a:prstGeom>
          <a:solidFill>
            <a:schemeClr val="accent1"/>
          </a:solidFill>
          <a:ln w="19050">
            <a:solidFill>
              <a:schemeClr val="tx1"/>
            </a:solidFill>
          </a:ln>
        </p:spPr>
      </p:pic>
    </p:spTree>
    <p:extLst>
      <p:ext uri="{BB962C8B-B14F-4D97-AF65-F5344CB8AC3E}">
        <p14:creationId xmlns:p14="http://schemas.microsoft.com/office/powerpoint/2010/main" val="409251037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iangle 28">
            <a:extLst>
              <a:ext uri="{FF2B5EF4-FFF2-40B4-BE49-F238E27FC236}">
                <a16:creationId xmlns:a16="http://schemas.microsoft.com/office/drawing/2014/main" id="{310D5204-5E3F-4EB0-A1DF-47105D0C1008}"/>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6" name="Rectangle 5">
            <a:extLst>
              <a:ext uri="{FF2B5EF4-FFF2-40B4-BE49-F238E27FC236}">
                <a16:creationId xmlns:a16="http://schemas.microsoft.com/office/drawing/2014/main" id="{033725B5-4A30-4835-AA87-9D8DEA2D8865}"/>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8" name="Title 1">
            <a:extLst>
              <a:ext uri="{FF2B5EF4-FFF2-40B4-BE49-F238E27FC236}">
                <a16:creationId xmlns:a16="http://schemas.microsoft.com/office/drawing/2014/main" id="{DE07897A-0ED8-4065-8FFA-0854659C1A33}"/>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Official Address</a:t>
            </a:r>
          </a:p>
        </p:txBody>
      </p:sp>
      <p:pic>
        <p:nvPicPr>
          <p:cNvPr id="3" name="Picture 2">
            <a:extLst>
              <a:ext uri="{FF2B5EF4-FFF2-40B4-BE49-F238E27FC236}">
                <a16:creationId xmlns:a16="http://schemas.microsoft.com/office/drawing/2014/main" id="{F346CC4E-41EA-5357-1F24-40237E16DEFF}"/>
              </a:ext>
            </a:extLst>
          </p:cNvPr>
          <p:cNvPicPr>
            <a:picLocks noChangeAspect="1"/>
          </p:cNvPicPr>
          <p:nvPr/>
        </p:nvPicPr>
        <p:blipFill>
          <a:blip r:embed="rId2"/>
          <a:stretch>
            <a:fillRect/>
          </a:stretch>
        </p:blipFill>
        <p:spPr>
          <a:xfrm>
            <a:off x="3993795" y="865714"/>
            <a:ext cx="4204411" cy="5701772"/>
          </a:xfrm>
          <a:prstGeom prst="rect">
            <a:avLst/>
          </a:prstGeom>
          <a:solidFill>
            <a:schemeClr val="accent1"/>
          </a:solidFill>
          <a:ln w="19050">
            <a:solidFill>
              <a:schemeClr val="tx1"/>
            </a:solidFill>
          </a:ln>
        </p:spPr>
      </p:pic>
    </p:spTree>
    <p:extLst>
      <p:ext uri="{BB962C8B-B14F-4D97-AF65-F5344CB8AC3E}">
        <p14:creationId xmlns:p14="http://schemas.microsoft.com/office/powerpoint/2010/main" val="609680953"/>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riangle 28">
            <a:extLst>
              <a:ext uri="{FF2B5EF4-FFF2-40B4-BE49-F238E27FC236}">
                <a16:creationId xmlns:a16="http://schemas.microsoft.com/office/drawing/2014/main" id="{310D5204-5E3F-4EB0-A1DF-47105D0C1008}"/>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6" name="Rectangle 5">
            <a:extLst>
              <a:ext uri="{FF2B5EF4-FFF2-40B4-BE49-F238E27FC236}">
                <a16:creationId xmlns:a16="http://schemas.microsoft.com/office/drawing/2014/main" id="{033725B5-4A30-4835-AA87-9D8DEA2D8865}"/>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
        <p:nvSpPr>
          <p:cNvPr id="4" name="Title 1">
            <a:extLst>
              <a:ext uri="{FF2B5EF4-FFF2-40B4-BE49-F238E27FC236}">
                <a16:creationId xmlns:a16="http://schemas.microsoft.com/office/drawing/2014/main" id="{BD740D85-9486-419F-B72E-BE08F8C582C1}"/>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mj-cs"/>
              </a:defRPr>
            </a:lvl1pPr>
          </a:lstStyle>
          <a:p>
            <a:pPr defTabSz="1208241"/>
            <a:r>
              <a:rPr lang="en-US" sz="2400" dirty="0"/>
              <a:t>Wage Protection Certificate:</a:t>
            </a:r>
          </a:p>
        </p:txBody>
      </p:sp>
      <p:pic>
        <p:nvPicPr>
          <p:cNvPr id="2" name="Picture 1">
            <a:extLst>
              <a:ext uri="{FF2B5EF4-FFF2-40B4-BE49-F238E27FC236}">
                <a16:creationId xmlns:a16="http://schemas.microsoft.com/office/drawing/2014/main" id="{BC39B999-5F97-5879-1DA5-E2BF7693850D}"/>
              </a:ext>
            </a:extLst>
          </p:cNvPr>
          <p:cNvPicPr>
            <a:picLocks noChangeAspect="1"/>
          </p:cNvPicPr>
          <p:nvPr/>
        </p:nvPicPr>
        <p:blipFill>
          <a:blip r:embed="rId2"/>
          <a:stretch>
            <a:fillRect/>
          </a:stretch>
        </p:blipFill>
        <p:spPr>
          <a:xfrm>
            <a:off x="3802517" y="1202948"/>
            <a:ext cx="3752169" cy="5274198"/>
          </a:xfrm>
          <a:prstGeom prst="rect">
            <a:avLst/>
          </a:prstGeom>
        </p:spPr>
      </p:pic>
    </p:spTree>
    <p:extLst>
      <p:ext uri="{BB962C8B-B14F-4D97-AF65-F5344CB8AC3E}">
        <p14:creationId xmlns:p14="http://schemas.microsoft.com/office/powerpoint/2010/main" val="1695660463"/>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8B9EB-C6FA-42FB-8C76-E2AB080C293A}"/>
              </a:ext>
            </a:extLst>
          </p:cNvPr>
          <p:cNvSpPr>
            <a:spLocks noGrp="1"/>
          </p:cNvSpPr>
          <p:nvPr>
            <p:ph type="title"/>
          </p:nvPr>
        </p:nvSpPr>
        <p:spPr>
          <a:xfrm>
            <a:off x="522373" y="430820"/>
            <a:ext cx="11147258" cy="330986"/>
          </a:xfrm>
        </p:spPr>
        <p:txBody>
          <a:bodyPr/>
          <a:lstStyle/>
          <a:p>
            <a:r>
              <a:rPr lang="en-US" sz="2400" dirty="0"/>
              <a:t>ISO Certificates</a:t>
            </a:r>
          </a:p>
        </p:txBody>
      </p:sp>
      <p:pic>
        <p:nvPicPr>
          <p:cNvPr id="6" name="Picture 5">
            <a:extLst>
              <a:ext uri="{FF2B5EF4-FFF2-40B4-BE49-F238E27FC236}">
                <a16:creationId xmlns:a16="http://schemas.microsoft.com/office/drawing/2014/main" id="{00D48AB7-D953-49B6-AA35-2BF33FCD4FE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679770" y="1043608"/>
            <a:ext cx="3586539" cy="5143611"/>
          </a:xfrm>
          <a:prstGeom prst="rect">
            <a:avLst/>
          </a:prstGeom>
          <a:ln>
            <a:solidFill>
              <a:schemeClr val="tx1"/>
            </a:solidFill>
          </a:ln>
        </p:spPr>
      </p:pic>
      <p:pic>
        <p:nvPicPr>
          <p:cNvPr id="7" name="Picture 6">
            <a:extLst>
              <a:ext uri="{FF2B5EF4-FFF2-40B4-BE49-F238E27FC236}">
                <a16:creationId xmlns:a16="http://schemas.microsoft.com/office/drawing/2014/main" id="{02BFF3AC-ACB3-4A10-9821-3BCBD69BA9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03099" y="1084099"/>
            <a:ext cx="3612924" cy="5131217"/>
          </a:xfrm>
          <a:prstGeom prst="rect">
            <a:avLst/>
          </a:prstGeom>
          <a:ln>
            <a:solidFill>
              <a:schemeClr val="tx1"/>
            </a:solidFill>
          </a:ln>
        </p:spPr>
      </p:pic>
      <p:sp>
        <p:nvSpPr>
          <p:cNvPr id="8" name="Triangle 28">
            <a:extLst>
              <a:ext uri="{FF2B5EF4-FFF2-40B4-BE49-F238E27FC236}">
                <a16:creationId xmlns:a16="http://schemas.microsoft.com/office/drawing/2014/main" id="{6BF0A239-8F96-41D0-BB76-B883F413BA6A}"/>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9" name="Rectangle 8">
            <a:extLst>
              <a:ext uri="{FF2B5EF4-FFF2-40B4-BE49-F238E27FC236}">
                <a16:creationId xmlns:a16="http://schemas.microsoft.com/office/drawing/2014/main" id="{5FA487DE-3A27-48B1-911B-5B6CB7D19389}"/>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123141888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6C4E28E-C86A-4656-A217-5C84247B9CDA}"/>
              </a:ext>
            </a:extLst>
          </p:cNvPr>
          <p:cNvSpPr txBox="1">
            <a:spLocks/>
          </p:cNvSpPr>
          <p:nvPr/>
        </p:nvSpPr>
        <p:spPr bwMode="gray">
          <a:xfrm>
            <a:off x="522377" y="460106"/>
            <a:ext cx="10321069" cy="1577552"/>
          </a:xfrm>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a:solidFill>
                  <a:schemeClr val="bg1"/>
                </a:solidFill>
                <a:latin typeface="+mj-lt"/>
                <a:ea typeface="Open Sans" panose="020B0606030504020204" pitchFamily="34" charset="0"/>
                <a:cs typeface="Open Sans" panose="020B0606030504020204" pitchFamily="34" charset="0"/>
              </a:defRPr>
            </a:lvl1pPr>
          </a:lstStyle>
          <a:p>
            <a:r>
              <a:rPr lang="en-US" sz="3815" b="0" dirty="0">
                <a:latin typeface="Calibri" panose="020F0502020204030204" pitchFamily="34" charset="0"/>
              </a:rPr>
              <a:t>General Business Terms and Conditions</a:t>
            </a:r>
          </a:p>
        </p:txBody>
      </p:sp>
    </p:spTree>
    <p:extLst>
      <p:ext uri="{BB962C8B-B14F-4D97-AF65-F5344CB8AC3E}">
        <p14:creationId xmlns:p14="http://schemas.microsoft.com/office/powerpoint/2010/main" val="1790624135"/>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1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4"/>
            <a:ext cx="10342039" cy="6067633"/>
          </a:xfrm>
          <a:prstGeom prst="rect">
            <a:avLst/>
          </a:prstGeom>
          <a:noFill/>
        </p:spPr>
        <p:txBody>
          <a:bodyPr wrap="square">
            <a:spAutoFit/>
          </a:bodyPr>
          <a:lstStyle/>
          <a:p>
            <a:pPr algn="just">
              <a:spcBef>
                <a:spcPts val="591"/>
              </a:spcBef>
            </a:pPr>
            <a:r>
              <a:rPr lang="en-US" sz="1041" b="1" dirty="0">
                <a:latin typeface="Calibri" panose="020F0502020204030204" pitchFamily="34" charset="0"/>
                <a:cs typeface="Calibri" panose="020F0502020204030204" pitchFamily="34" charset="0"/>
              </a:rPr>
              <a:t>Master General Business Terms and Conditions</a:t>
            </a:r>
          </a:p>
          <a:p>
            <a:pPr marL="362481" indent="-634342" algn="just">
              <a:spcBef>
                <a:spcPts val="591"/>
              </a:spcBef>
            </a:pPr>
            <a:endParaRPr lang="en-US" sz="1041" b="1" dirty="0">
              <a:latin typeface="Calibri" panose="020F0502020204030204" pitchFamily="34" charset="0"/>
              <a:cs typeface="Calibri" panose="020F0502020204030204" pitchFamily="34" charset="0"/>
            </a:endParaRPr>
          </a:p>
          <a:p>
            <a:pPr marL="362481" indent="-634342" algn="just">
              <a:spcBef>
                <a:spcPts val="591"/>
              </a:spcBef>
            </a:pPr>
            <a:r>
              <a:rPr lang="en-US" sz="1041" b="1" dirty="0">
                <a:latin typeface="Calibri" panose="020F0502020204030204" pitchFamily="34" charset="0"/>
                <a:cs typeface="Calibri" panose="020F0502020204030204" pitchFamily="34" charset="0"/>
              </a:rPr>
              <a:t>1	Terms of Reference. </a:t>
            </a:r>
          </a:p>
          <a:p>
            <a:pPr marL="362481" indent="-634342" algn="just">
              <a:spcBef>
                <a:spcPts val="591"/>
              </a:spcBef>
            </a:pPr>
            <a:r>
              <a:rPr lang="en-US" sz="1041" dirty="0">
                <a:latin typeface="Calibri" panose="020F0502020204030204" pitchFamily="34" charset="0"/>
                <a:cs typeface="Calibri" panose="020F0502020204030204" pitchFamily="34" charset="0"/>
              </a:rPr>
              <a:t>1.1	Deloitte hereby agrees to render Services to the Client, as set out in the General Business Terms and Conditions read together with the Proposal (hereinafter collectively referred to as the “Agreement”).  Deloitte accepts the appointment to render the Services to the Client on the terms and conditions set out in this General Business Terms and Conditions. All Services rendered by Deloitte for the Client will be in accordance with the agreed terms of reference for the Project as contained in this Agreement unless both Parties in writing agree upon a revision. </a:t>
            </a:r>
          </a:p>
          <a:p>
            <a:pPr marL="362481" indent="-634342" algn="just">
              <a:spcBef>
                <a:spcPts val="591"/>
              </a:spcBef>
            </a:pPr>
            <a:r>
              <a:rPr lang="en-US" sz="1041" dirty="0">
                <a:latin typeface="Calibri" panose="020F0502020204030204" pitchFamily="34" charset="0"/>
                <a:cs typeface="Calibri" panose="020F0502020204030204" pitchFamily="34" charset="0"/>
              </a:rPr>
              <a:t>	1.1.1	It is specifically recorded that a number of assumptions have been made by the Parties around the rendering of Services, and these are as described in the 	Proposal.</a:t>
            </a:r>
          </a:p>
          <a:p>
            <a:pPr marL="362481" indent="-634342" algn="just">
              <a:spcBef>
                <a:spcPts val="591"/>
              </a:spcBef>
            </a:pPr>
            <a:r>
              <a:rPr lang="en-US" sz="1041" dirty="0">
                <a:latin typeface="Calibri" panose="020F0502020204030204" pitchFamily="34" charset="0"/>
                <a:cs typeface="Calibri" panose="020F0502020204030204" pitchFamily="34" charset="0"/>
              </a:rPr>
              <a:t>	1.1.2	It is agreed that should any of these assumptions be proven to be incorrect (by either Party), this will be treated as a change of scope to the Agreement, and will be dealt with accordingly by the Parties. </a:t>
            </a:r>
          </a:p>
          <a:p>
            <a:pPr marL="362481" indent="-634342" algn="just">
              <a:spcBef>
                <a:spcPts val="591"/>
              </a:spcBef>
            </a:pPr>
            <a:r>
              <a:rPr lang="en-US" sz="1041" dirty="0">
                <a:latin typeface="Calibri" panose="020F0502020204030204" pitchFamily="34" charset="0"/>
                <a:cs typeface="Calibri" panose="020F0502020204030204" pitchFamily="34" charset="0"/>
              </a:rPr>
              <a:t>1.2	In the event of Services already being delivered, Client agrees that these terms shall apply to the Engagement retrospectively. In the event that any of the General Business Terms and Conditions in whole or in part are found to be illegal, void or unenforceable, the remainder of the terms shall not be impacted and will remain in force. </a:t>
            </a:r>
          </a:p>
          <a:p>
            <a:pPr marL="362481" indent="-634342" algn="just">
              <a:spcBef>
                <a:spcPts val="591"/>
              </a:spcBef>
            </a:pPr>
            <a:endParaRPr lang="en-US" sz="1041" dirty="0">
              <a:latin typeface="Calibri" panose="020F0502020204030204" pitchFamily="34" charset="0"/>
              <a:cs typeface="Calibri" panose="020F0502020204030204" pitchFamily="34" charset="0"/>
            </a:endParaRPr>
          </a:p>
          <a:p>
            <a:pPr marL="362481" indent="-634342" algn="just">
              <a:spcBef>
                <a:spcPts val="591"/>
              </a:spcBef>
            </a:pPr>
            <a:r>
              <a:rPr lang="en-US" sz="1041" b="1" dirty="0">
                <a:latin typeface="Calibri" panose="020F0502020204030204" pitchFamily="34" charset="0"/>
                <a:cs typeface="Calibri" panose="020F0502020204030204" pitchFamily="34" charset="0"/>
              </a:rPr>
              <a:t>2	Interpretation.</a:t>
            </a:r>
          </a:p>
          <a:p>
            <a:pPr marL="362481" indent="-634342" algn="just">
              <a:spcBef>
                <a:spcPts val="591"/>
              </a:spcBef>
            </a:pPr>
            <a:r>
              <a:rPr lang="en-US" sz="1041" dirty="0">
                <a:latin typeface="Calibri" panose="020F0502020204030204" pitchFamily="34" charset="0"/>
                <a:cs typeface="Calibri" panose="020F0502020204030204" pitchFamily="34" charset="0"/>
              </a:rPr>
              <a:t>2.1	The headings to the clauses in this Agreement are for convenient reference purposes only, shall not be used in the interpretation of this Agreement and shall not limit or extend the language of the clauses to which they refer.</a:t>
            </a:r>
          </a:p>
          <a:p>
            <a:pPr marL="362481" indent="-634342" algn="just">
              <a:spcBef>
                <a:spcPts val="591"/>
              </a:spcBef>
            </a:pPr>
            <a:r>
              <a:rPr lang="en-US" sz="1041" dirty="0">
                <a:latin typeface="Calibri" panose="020F0502020204030204" pitchFamily="34" charset="0"/>
                <a:cs typeface="Calibri" panose="020F0502020204030204" pitchFamily="34" charset="0"/>
              </a:rPr>
              <a:t>2.2	Unless the context otherwise requires:</a:t>
            </a:r>
          </a:p>
          <a:p>
            <a:pPr marL="362481" indent="-634342" algn="just">
              <a:spcBef>
                <a:spcPts val="591"/>
              </a:spcBef>
            </a:pPr>
            <a:r>
              <a:rPr lang="en-US" sz="1041" dirty="0">
                <a:latin typeface="Calibri" panose="020F0502020204030204" pitchFamily="34" charset="0"/>
                <a:cs typeface="Calibri" panose="020F0502020204030204" pitchFamily="34" charset="0"/>
              </a:rPr>
              <a:t>	2.2.1	The singular shall import and include the plural and vice versa;</a:t>
            </a:r>
          </a:p>
          <a:p>
            <a:pPr marL="362481" indent="-634342" algn="just">
              <a:spcBef>
                <a:spcPts val="591"/>
              </a:spcBef>
            </a:pPr>
            <a:r>
              <a:rPr lang="en-US" sz="1041" dirty="0">
                <a:latin typeface="Calibri" panose="020F0502020204030204" pitchFamily="34" charset="0"/>
                <a:cs typeface="Calibri" panose="020F0502020204030204" pitchFamily="34" charset="0"/>
              </a:rPr>
              <a:t>	2.2.2	Words indicating a gender shall import and include other genders;</a:t>
            </a:r>
          </a:p>
          <a:p>
            <a:pPr marL="362481" indent="-634342" algn="just">
              <a:spcBef>
                <a:spcPts val="591"/>
              </a:spcBef>
            </a:pPr>
            <a:r>
              <a:rPr lang="en-US" sz="1041" dirty="0">
                <a:latin typeface="Calibri" panose="020F0502020204030204" pitchFamily="34" charset="0"/>
                <a:cs typeface="Calibri" panose="020F0502020204030204" pitchFamily="34" charset="0"/>
              </a:rPr>
              <a:t>	2.2.3	Words indicating natural persons shall include juristic persons;</a:t>
            </a:r>
          </a:p>
          <a:p>
            <a:pPr marL="362481" indent="-634342" algn="just">
              <a:spcBef>
                <a:spcPts val="591"/>
              </a:spcBef>
            </a:pPr>
            <a:r>
              <a:rPr lang="en-US" sz="1041" dirty="0">
                <a:latin typeface="Calibri" panose="020F0502020204030204" pitchFamily="34" charset="0"/>
                <a:cs typeface="Calibri" panose="020F0502020204030204" pitchFamily="34" charset="0"/>
              </a:rPr>
              <a:t>2.3	The Gregorian calendar shall be the basis for any years, quarters, months or dates expressed in this Agreement; and</a:t>
            </a:r>
          </a:p>
          <a:p>
            <a:pPr marL="362481" indent="-634342" algn="just">
              <a:spcBef>
                <a:spcPts val="591"/>
              </a:spcBef>
            </a:pPr>
            <a:r>
              <a:rPr lang="en-US" sz="1041" dirty="0">
                <a:latin typeface="Calibri" panose="020F0502020204030204" pitchFamily="34" charset="0"/>
                <a:cs typeface="Calibri" panose="020F0502020204030204" pitchFamily="34" charset="0"/>
              </a:rPr>
              <a:t>2.4	References to clauses, parts and sections are, unless otherwise provided, references to clauses, parts and sections of this Agreement. </a:t>
            </a:r>
          </a:p>
          <a:p>
            <a:pPr marL="362481" indent="-634342" algn="just">
              <a:spcBef>
                <a:spcPts val="591"/>
              </a:spcBef>
            </a:pPr>
            <a:r>
              <a:rPr lang="en-US" sz="1041" dirty="0">
                <a:latin typeface="Calibri" panose="020F0502020204030204" pitchFamily="34" charset="0"/>
                <a:cs typeface="Calibri" panose="020F0502020204030204" pitchFamily="34" charset="0"/>
              </a:rPr>
              <a:t>2.5	Order of Precedence: </a:t>
            </a:r>
          </a:p>
          <a:p>
            <a:pPr marL="362481" indent="-634342" algn="just">
              <a:spcBef>
                <a:spcPts val="591"/>
              </a:spcBef>
            </a:pPr>
            <a:r>
              <a:rPr lang="en-US" sz="1041" dirty="0">
                <a:latin typeface="Calibri" panose="020F0502020204030204" pitchFamily="34" charset="0"/>
                <a:cs typeface="Calibri" panose="020F0502020204030204" pitchFamily="34" charset="0"/>
              </a:rPr>
              <a:t>	2.5.1	Proposal;</a:t>
            </a:r>
          </a:p>
          <a:p>
            <a:pPr marL="362481" indent="-634342" algn="just">
              <a:spcBef>
                <a:spcPts val="591"/>
              </a:spcBef>
            </a:pPr>
            <a:r>
              <a:rPr lang="en-US" sz="1041" dirty="0">
                <a:latin typeface="Calibri" panose="020F0502020204030204" pitchFamily="34" charset="0"/>
                <a:cs typeface="Calibri" panose="020F0502020204030204" pitchFamily="34" charset="0"/>
              </a:rPr>
              <a:t>	2.5.2	Letter of Engagement;  </a:t>
            </a:r>
          </a:p>
          <a:p>
            <a:pPr marL="362481" indent="-634342" algn="just">
              <a:spcBef>
                <a:spcPts val="591"/>
              </a:spcBef>
            </a:pPr>
            <a:r>
              <a:rPr lang="en-US" sz="1041" dirty="0">
                <a:latin typeface="Calibri" panose="020F0502020204030204" pitchFamily="34" charset="0"/>
                <a:cs typeface="Calibri" panose="020F0502020204030204" pitchFamily="34" charset="0"/>
              </a:rPr>
              <a:t>	2.5.3	Change Order (if applicable, the Change Order would supersede the Proposal and be followed by the General Business Terms and Conditions).</a:t>
            </a:r>
          </a:p>
        </p:txBody>
      </p:sp>
      <p:sp>
        <p:nvSpPr>
          <p:cNvPr id="6" name="Triangle 28">
            <a:extLst>
              <a:ext uri="{FF2B5EF4-FFF2-40B4-BE49-F238E27FC236}">
                <a16:creationId xmlns:a16="http://schemas.microsoft.com/office/drawing/2014/main" id="{A33113FF-E463-481B-A863-DF610CDB8FE9}"/>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892405B4-36DA-4F39-B225-5FF168929BC7}"/>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1187112588"/>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2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3"/>
            <a:ext cx="10342039" cy="5312990"/>
          </a:xfrm>
          <a:prstGeom prst="rect">
            <a:avLst/>
          </a:prstGeom>
          <a:noFill/>
        </p:spPr>
        <p:txBody>
          <a:bodyPr wrap="square">
            <a:spAutoFit/>
          </a:bodyPr>
          <a:lstStyle/>
          <a:p>
            <a:pPr marL="362481" indent="-634342" algn="just">
              <a:spcBef>
                <a:spcPts val="591"/>
              </a:spcBef>
            </a:pPr>
            <a:r>
              <a:rPr lang="en-US" sz="1041" b="1" dirty="0">
                <a:latin typeface="Calibri" panose="020F0502020204030204" pitchFamily="34" charset="0"/>
                <a:cs typeface="Calibri" panose="020F0502020204030204" pitchFamily="34" charset="0"/>
              </a:rPr>
              <a:t>3</a:t>
            </a:r>
            <a:r>
              <a:rPr lang="en-US" sz="1041" dirty="0">
                <a:latin typeface="Calibri" panose="020F0502020204030204" pitchFamily="34" charset="0"/>
                <a:cs typeface="Calibri" panose="020F0502020204030204" pitchFamily="34" charset="0"/>
              </a:rPr>
              <a:t>	</a:t>
            </a:r>
            <a:r>
              <a:rPr lang="en-US" sz="1041" b="1" dirty="0">
                <a:latin typeface="Calibri" panose="020F0502020204030204" pitchFamily="34" charset="0"/>
                <a:cs typeface="Calibri" panose="020F0502020204030204" pitchFamily="34" charset="0"/>
              </a:rPr>
              <a:t>Services. </a:t>
            </a:r>
          </a:p>
          <a:p>
            <a:pPr marL="362481" indent="-634342" algn="just">
              <a:spcBef>
                <a:spcPts val="591"/>
              </a:spcBef>
            </a:pPr>
            <a:r>
              <a:rPr lang="en-US" sz="1041" dirty="0">
                <a:latin typeface="Calibri" panose="020F0502020204030204" pitchFamily="34" charset="0"/>
                <a:cs typeface="Calibri" panose="020F0502020204030204" pitchFamily="34" charset="0"/>
              </a:rPr>
              <a:t>	Shall mean the Services to be rendered by Deloitte to the Client as described in the Proposal (“Services"). The Services could include the production and delivery of Deliverables (“Deliverables”), as described in the Proposal. It is understood and agreed that Deloitte’s Services may include advice and recommendations, but all decisions in connection with the Services of such advice and recommendations shall be the responsibility of, and made by the Client. In connection with its Services hereunder, Deloitte shall be entitled to unequivocally rely on all decisions and approvals of the Client. </a:t>
            </a:r>
          </a:p>
          <a:p>
            <a:pPr marL="362481" indent="-634342" algn="just">
              <a:spcBef>
                <a:spcPts val="591"/>
              </a:spcBef>
            </a:pPr>
            <a:endParaRPr lang="en-US" sz="1041" dirty="0">
              <a:latin typeface="Calibri" panose="020F0502020204030204" pitchFamily="34" charset="0"/>
              <a:cs typeface="Calibri" panose="020F0502020204030204" pitchFamily="34" charset="0"/>
            </a:endParaRPr>
          </a:p>
          <a:p>
            <a:pPr marL="362481" indent="-634342" algn="just">
              <a:spcBef>
                <a:spcPts val="591"/>
              </a:spcBef>
            </a:pPr>
            <a:r>
              <a:rPr lang="en-US" sz="1041" b="1" dirty="0">
                <a:latin typeface="Calibri" panose="020F0502020204030204" pitchFamily="34" charset="0"/>
                <a:cs typeface="Calibri" panose="020F0502020204030204" pitchFamily="34" charset="0"/>
              </a:rPr>
              <a:t>4	Change Order.</a:t>
            </a:r>
          </a:p>
          <a:p>
            <a:pPr marL="362481" indent="-634342" algn="just">
              <a:spcBef>
                <a:spcPts val="591"/>
              </a:spcBef>
            </a:pPr>
            <a:r>
              <a:rPr lang="en-US" sz="1041" dirty="0">
                <a:latin typeface="Calibri" panose="020F0502020204030204" pitchFamily="34" charset="0"/>
                <a:cs typeface="Calibri" panose="020F0502020204030204" pitchFamily="34" charset="0"/>
              </a:rPr>
              <a:t>4.1	If applicable, any amendments to this agreement, including but not limited to new or additional Services to be rendered by Deloitte to the Client outside of the scope of Services included in this Agreement shall be detailed in a (“Change Order”), signed by both parties. Except as expressly modified in the Change Order, all other terms and conditions of the Proposal and General Business Terms and Conditions remain unchanged. </a:t>
            </a:r>
          </a:p>
          <a:p>
            <a:pPr marL="362481" indent="-634342" algn="just">
              <a:spcBef>
                <a:spcPts val="591"/>
              </a:spcBef>
            </a:pPr>
            <a:r>
              <a:rPr lang="en-US" sz="1041" dirty="0">
                <a:latin typeface="Calibri" panose="020F0502020204030204" pitchFamily="34" charset="0"/>
                <a:cs typeface="Calibri" panose="020F0502020204030204" pitchFamily="34" charset="0"/>
              </a:rPr>
              <a:t>4.2	Unless stated otherwise in a Change Order, each Change Order, as read together with this Agreement, shall form the sole basis of the agreement between the Parties as to its subject matter.  Where there is a conflict between the terms of this Agreement and the terms of a Change Order, the Change Order will take precedence. </a:t>
            </a:r>
          </a:p>
          <a:p>
            <a:pPr marL="362481" indent="-634342" algn="just">
              <a:spcBef>
                <a:spcPts val="591"/>
              </a:spcBef>
            </a:pPr>
            <a:endParaRPr lang="en-US" sz="1041" dirty="0">
              <a:latin typeface="Calibri" panose="020F0502020204030204" pitchFamily="34" charset="0"/>
              <a:cs typeface="Calibri" panose="020F0502020204030204" pitchFamily="34" charset="0"/>
            </a:endParaRPr>
          </a:p>
          <a:p>
            <a:pPr marL="362481" indent="-634342" algn="just">
              <a:spcBef>
                <a:spcPts val="591"/>
              </a:spcBef>
            </a:pPr>
            <a:r>
              <a:rPr lang="en-US" sz="1041" b="1" dirty="0">
                <a:latin typeface="Calibri" panose="020F0502020204030204" pitchFamily="34" charset="0"/>
                <a:cs typeface="Calibri" panose="020F0502020204030204" pitchFamily="34" charset="0"/>
              </a:rPr>
              <a:t>5	Acceptance and Testing.</a:t>
            </a:r>
          </a:p>
          <a:p>
            <a:pPr marL="362481" indent="-634342" algn="just">
              <a:spcBef>
                <a:spcPts val="591"/>
              </a:spcBef>
            </a:pPr>
            <a:r>
              <a:rPr lang="en-US" sz="1041" dirty="0">
                <a:latin typeface="Calibri" panose="020F0502020204030204" pitchFamily="34" charset="0"/>
                <a:cs typeface="Calibri" panose="020F0502020204030204" pitchFamily="34" charset="0"/>
              </a:rPr>
              <a:t>5.1	“Acceptance” or “Accepted” or “Accept” means, in respect of any Service or Deliverable, confirmation in writing by the Client that the agreed Acceptance Testing criteria or agreed alternative acceptance formalities  have been satisfied in respect of the Service or Deliverable as commercially agreed between the Parties.</a:t>
            </a:r>
          </a:p>
          <a:p>
            <a:pPr marL="362481" indent="-634342" algn="just">
              <a:spcBef>
                <a:spcPts val="591"/>
              </a:spcBef>
            </a:pPr>
            <a:r>
              <a:rPr lang="en-US" sz="1041" dirty="0">
                <a:latin typeface="Calibri" panose="020F0502020204030204" pitchFamily="34" charset="0"/>
                <a:cs typeface="Calibri" panose="020F0502020204030204" pitchFamily="34" charset="0"/>
              </a:rPr>
              <a:t>5.2	Unless the Letter of Engagement specifies other arrangements, you agree that each Deliverable will be deemed accepted by you (and our Services, or the relevant part of them, completed) when it is in its final form or when you first make use of the Deliverable, whichever first occurs.</a:t>
            </a:r>
          </a:p>
          <a:p>
            <a:pPr marL="362481" indent="-634342" algn="just">
              <a:spcBef>
                <a:spcPts val="591"/>
              </a:spcBef>
            </a:pPr>
            <a:r>
              <a:rPr lang="en-US" sz="1041" dirty="0">
                <a:latin typeface="Calibri" panose="020F0502020204030204" pitchFamily="34" charset="0"/>
                <a:cs typeface="Calibri" panose="020F0502020204030204" pitchFamily="34" charset="0"/>
              </a:rPr>
              <a:t>5.3	“Deliverable/Service Defect” means:</a:t>
            </a:r>
          </a:p>
          <a:p>
            <a:pPr marL="362481" indent="-634342" algn="just">
              <a:spcBef>
                <a:spcPts val="591"/>
              </a:spcBef>
            </a:pPr>
            <a:r>
              <a:rPr lang="en-US" sz="1041" dirty="0">
                <a:latin typeface="Calibri" panose="020F0502020204030204" pitchFamily="34" charset="0"/>
                <a:cs typeface="Calibri" panose="020F0502020204030204" pitchFamily="34" charset="0"/>
              </a:rPr>
              <a:t>	5.3.1	A material deviation from the Specifications for a Deliverable or Service agreed to in writing between the Parties; and/or,</a:t>
            </a:r>
          </a:p>
          <a:p>
            <a:pPr marL="362481" indent="-634342" algn="just">
              <a:spcBef>
                <a:spcPts val="591"/>
              </a:spcBef>
            </a:pPr>
            <a:r>
              <a:rPr lang="en-US" sz="1041" dirty="0">
                <a:latin typeface="Calibri" panose="020F0502020204030204" pitchFamily="34" charset="0"/>
                <a:cs typeface="Calibri" panose="020F0502020204030204" pitchFamily="34" charset="0"/>
              </a:rPr>
              <a:t>	5.3.2	Non-compliance of a Deliverable or Service with the standards agreed to in writing between the Parties for such Deliverable or Service; and/or,</a:t>
            </a:r>
          </a:p>
          <a:p>
            <a:pPr marL="362481" indent="-634342" algn="just">
              <a:spcBef>
                <a:spcPts val="591"/>
              </a:spcBef>
            </a:pPr>
            <a:r>
              <a:rPr lang="en-US" sz="1041" dirty="0">
                <a:latin typeface="Calibri" panose="020F0502020204030204" pitchFamily="34" charset="0"/>
                <a:cs typeface="Calibri" panose="020F0502020204030204" pitchFamily="34" charset="0"/>
              </a:rPr>
              <a:t>	5.3.3	An error that materially impacts the Client’s ability to use any specific component of a Deliverable; and/or,</a:t>
            </a:r>
          </a:p>
          <a:p>
            <a:pPr marL="362481" indent="-634342" algn="just">
              <a:spcBef>
                <a:spcPts val="591"/>
              </a:spcBef>
            </a:pPr>
            <a:r>
              <a:rPr lang="en-US" sz="1041" dirty="0">
                <a:latin typeface="Calibri" panose="020F0502020204030204" pitchFamily="34" charset="0"/>
                <a:cs typeface="Calibri" panose="020F0502020204030204" pitchFamily="34" charset="0"/>
              </a:rPr>
              <a:t>	5.3.4	An error that materially reduces the effectiveness of a Service rendered; and/or,</a:t>
            </a:r>
          </a:p>
          <a:p>
            <a:pPr marL="362481" indent="-634342" algn="just">
              <a:spcBef>
                <a:spcPts val="591"/>
              </a:spcBef>
            </a:pPr>
            <a:r>
              <a:rPr lang="en-US" sz="1041" dirty="0">
                <a:latin typeface="Calibri" panose="020F0502020204030204" pitchFamily="34" charset="0"/>
                <a:cs typeface="Calibri" panose="020F0502020204030204" pitchFamily="34" charset="0"/>
              </a:rPr>
              <a:t>	5.3.5	An error in a Deliverable or Service that materially negatively impacts the technical performance of the Client’s systems; and/or,</a:t>
            </a:r>
          </a:p>
          <a:p>
            <a:pPr marL="362481" indent="-634342" algn="just">
              <a:spcBef>
                <a:spcPts val="591"/>
              </a:spcBef>
            </a:pPr>
            <a:r>
              <a:rPr lang="en-US" sz="1041" dirty="0">
                <a:latin typeface="Calibri" panose="020F0502020204030204" pitchFamily="34" charset="0"/>
                <a:cs typeface="Calibri" panose="020F0502020204030204" pitchFamily="34" charset="0"/>
              </a:rPr>
              <a:t>	5.3.6	Non-compliance with the scope of work as agreed for a Deliverable or Service, but excluding errors which are minor or cosmetic in nature.</a:t>
            </a:r>
          </a:p>
        </p:txBody>
      </p:sp>
      <p:sp>
        <p:nvSpPr>
          <p:cNvPr id="6" name="Triangle 28">
            <a:extLst>
              <a:ext uri="{FF2B5EF4-FFF2-40B4-BE49-F238E27FC236}">
                <a16:creationId xmlns:a16="http://schemas.microsoft.com/office/drawing/2014/main" id="{00F906D2-8B1F-4893-A417-809B4F10468A}"/>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D75EDB9B-41FE-463B-81CE-55484C2D92C8}"/>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481133017"/>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319E6FA-3550-4C30-80A3-0BAD170EF53F}"/>
              </a:ext>
            </a:extLst>
          </p:cNvPr>
          <p:cNvSpPr>
            <a:spLocks noGrp="1"/>
          </p:cNvSpPr>
          <p:nvPr>
            <p:ph type="title"/>
          </p:nvPr>
        </p:nvSpPr>
        <p:spPr>
          <a:xfrm>
            <a:off x="522373" y="430818"/>
            <a:ext cx="11147258" cy="330987"/>
          </a:xfrm>
        </p:spPr>
        <p:txBody>
          <a:bodyPr vert="horz" lIns="0" tIns="0" rIns="0" bIns="0" rtlCol="0" anchor="t" anchorCtr="0">
            <a:noAutofit/>
          </a:bodyPr>
          <a:lstStyle/>
          <a:p>
            <a:r>
              <a:rPr lang="en-US" sz="2382" dirty="0">
                <a:cs typeface="Calibri" panose="020F0502020204030204" pitchFamily="34" charset="0"/>
              </a:rPr>
              <a:t>General Business Terms and Conditions (3 of 18)</a:t>
            </a:r>
          </a:p>
        </p:txBody>
      </p:sp>
      <p:sp>
        <p:nvSpPr>
          <p:cNvPr id="30" name="TextBox 29">
            <a:extLst>
              <a:ext uri="{FF2B5EF4-FFF2-40B4-BE49-F238E27FC236}">
                <a16:creationId xmlns:a16="http://schemas.microsoft.com/office/drawing/2014/main" id="{0C6FD4B6-4BAB-4976-A4D1-C41C22E5E5BF}"/>
              </a:ext>
            </a:extLst>
          </p:cNvPr>
          <p:cNvSpPr txBox="1"/>
          <p:nvPr/>
        </p:nvSpPr>
        <p:spPr bwMode="gray">
          <a:xfrm>
            <a:off x="522377" y="761807"/>
            <a:ext cx="10342039" cy="4291554"/>
          </a:xfrm>
          <a:prstGeom prst="rect">
            <a:avLst/>
          </a:prstGeom>
          <a:noFill/>
        </p:spPr>
        <p:txBody>
          <a:bodyPr wrap="square">
            <a:spAutoFit/>
          </a:bodyPr>
          <a:lstStyle/>
          <a:p>
            <a:pPr marL="362481" indent="-634342" algn="just">
              <a:spcBef>
                <a:spcPts val="591"/>
              </a:spcBef>
            </a:pPr>
            <a:r>
              <a:rPr lang="en-US" sz="1041" dirty="0">
                <a:solidFill>
                  <a:srgbClr val="000000"/>
                </a:solidFill>
                <a:latin typeface="Calibri" panose="020F0502020204030204"/>
              </a:rPr>
              <a:t>5.4	“Specifications” means the technical or descriptive specifications of functional, operational, performance or other characteristics required of a Service or Deliverable, as agreed between the Parties from time to time;</a:t>
            </a:r>
          </a:p>
          <a:p>
            <a:pPr marL="362481" indent="-634342" algn="just">
              <a:spcBef>
                <a:spcPts val="591"/>
              </a:spcBef>
            </a:pPr>
            <a:r>
              <a:rPr lang="en-US" sz="1041" dirty="0">
                <a:solidFill>
                  <a:srgbClr val="000000"/>
                </a:solidFill>
                <a:latin typeface="Calibri" panose="020F0502020204030204"/>
              </a:rPr>
              <a:t>	5.4.1	It is specifically recorded that the Parties Intend for each Service and Deliverable to undergo Acceptance Testing relevant to such Service or Deliverable, based on 	Acceptance Testing criteria agreed (or to be agreed) in writing between the Parties, and based on the Acceptance Testing procedure for the Service or Deliverable 	agreed (or to be agreed) in writing between the Parties.</a:t>
            </a:r>
          </a:p>
          <a:p>
            <a:pPr marL="362481" indent="-634342" algn="just">
              <a:spcBef>
                <a:spcPts val="591"/>
              </a:spcBef>
            </a:pPr>
            <a:r>
              <a:rPr lang="en-US" sz="1041" dirty="0">
                <a:solidFill>
                  <a:srgbClr val="000000"/>
                </a:solidFill>
                <a:latin typeface="Calibri" panose="020F0502020204030204"/>
              </a:rPr>
              <a:t>	5.4.2	Each Deliverable shall be considered Accepted by the Client when the Acceptance Testing procedure agreed in writing between the relevant Parties for such a 	Deliverable, if 	any, have been completed for such Deliverable.  </a:t>
            </a:r>
          </a:p>
          <a:p>
            <a:pPr marL="362481" indent="-634342" algn="just">
              <a:spcBef>
                <a:spcPts val="591"/>
              </a:spcBef>
            </a:pPr>
            <a:r>
              <a:rPr lang="en-US" sz="1041" dirty="0">
                <a:solidFill>
                  <a:srgbClr val="000000"/>
                </a:solidFill>
                <a:latin typeface="Calibri" panose="020F0502020204030204"/>
              </a:rPr>
              <a:t>	5.4.3	Acceptance constitutes an acknowledgment, in writing, that the Agreement’s requirements in respect of the tested Service and/or Deliverable have been satisfied as 	at the date of Acceptance.</a:t>
            </a:r>
          </a:p>
          <a:p>
            <a:pPr marL="362481" indent="-634342" algn="just">
              <a:spcBef>
                <a:spcPts val="591"/>
              </a:spcBef>
            </a:pPr>
            <a:r>
              <a:rPr lang="en-US" sz="1041" dirty="0">
                <a:solidFill>
                  <a:srgbClr val="000000"/>
                </a:solidFill>
                <a:latin typeface="Calibri" panose="020F0502020204030204"/>
              </a:rPr>
              <a:t>	5.4.4	The Acceptance Testing procedures for the Services and Deliverables will be described in the Proposal or in the relevant Change Order.</a:t>
            </a:r>
          </a:p>
          <a:p>
            <a:pPr marL="362481" indent="-634342" algn="just">
              <a:spcBef>
                <a:spcPts val="591"/>
              </a:spcBef>
            </a:pPr>
            <a:r>
              <a:rPr lang="en-US" sz="1041" dirty="0">
                <a:solidFill>
                  <a:srgbClr val="000000"/>
                </a:solidFill>
                <a:latin typeface="Calibri" panose="020F0502020204030204"/>
              </a:rPr>
              <a:t>5.5	Disputes related to Acceptance.</a:t>
            </a:r>
          </a:p>
          <a:p>
            <a:pPr marL="362481" indent="-634342" algn="just">
              <a:spcBef>
                <a:spcPts val="591"/>
              </a:spcBef>
            </a:pPr>
            <a:r>
              <a:rPr lang="en-US" sz="1041" dirty="0">
                <a:solidFill>
                  <a:srgbClr val="000000"/>
                </a:solidFill>
                <a:latin typeface="Calibri" panose="020F0502020204030204"/>
              </a:rPr>
              <a:t>	5.5.1	In the event that Deloitte considers a Deliverable or Service ready to be Accepted by the Client, and the Client unreasonably withholds or delays such Acceptance, 	Deloitte shall be entitled to initiate a Dispute. </a:t>
            </a:r>
          </a:p>
          <a:p>
            <a:pPr marL="362481" indent="-634342" algn="just">
              <a:spcBef>
                <a:spcPts val="591"/>
              </a:spcBef>
            </a:pPr>
            <a:r>
              <a:rPr lang="en-US" sz="1041" dirty="0">
                <a:solidFill>
                  <a:srgbClr val="000000"/>
                </a:solidFill>
                <a:latin typeface="Calibri" panose="020F0502020204030204"/>
              </a:rPr>
              <a:t>	5.5.2	Test Procedures:</a:t>
            </a:r>
          </a:p>
          <a:p>
            <a:pPr marL="362481" indent="-634342" algn="just">
              <a:spcBef>
                <a:spcPts val="591"/>
              </a:spcBef>
            </a:pPr>
            <a:r>
              <a:rPr lang="en-US" sz="1041" dirty="0">
                <a:solidFill>
                  <a:srgbClr val="000000"/>
                </a:solidFill>
                <a:latin typeface="Calibri" panose="020F0502020204030204"/>
              </a:rPr>
              <a:t>		5.5.2.1	The Parties will conduct the Acceptance Testing, and discharge their respective responsibilities, in the manner specified. </a:t>
            </a:r>
          </a:p>
          <a:p>
            <a:pPr marL="362481" indent="-634342" algn="just">
              <a:spcBef>
                <a:spcPts val="591"/>
              </a:spcBef>
            </a:pPr>
            <a:r>
              <a:rPr lang="en-US" sz="1041" dirty="0">
                <a:solidFill>
                  <a:srgbClr val="000000"/>
                </a:solidFill>
                <a:latin typeface="Calibri" panose="020F0502020204030204"/>
              </a:rPr>
              <a:t>		5.5.2.2	The Client may appoint any third party, at its sole expense and risk, to assist them with, or to conduct on behalf of the Client, any Acceptance 		Testing and quality assurance activities, as specified. </a:t>
            </a:r>
          </a:p>
          <a:p>
            <a:pPr marL="362481" indent="-634342" algn="just">
              <a:spcBef>
                <a:spcPts val="591"/>
              </a:spcBef>
            </a:pPr>
            <a:r>
              <a:rPr lang="en-US" sz="1041" dirty="0">
                <a:solidFill>
                  <a:srgbClr val="000000"/>
                </a:solidFill>
                <a:latin typeface="Calibri" panose="020F0502020204030204"/>
              </a:rPr>
              <a:t>	5.5.3	Failure of Acceptance Testing:</a:t>
            </a:r>
          </a:p>
          <a:p>
            <a:pPr marL="362481" indent="-634342" algn="just">
              <a:spcBef>
                <a:spcPts val="591"/>
              </a:spcBef>
            </a:pPr>
            <a:r>
              <a:rPr lang="en-US" sz="1041" dirty="0">
                <a:solidFill>
                  <a:srgbClr val="000000"/>
                </a:solidFill>
                <a:latin typeface="Calibri" panose="020F0502020204030204"/>
              </a:rPr>
              <a:t>		Following the completion of the Acceptance Testing, or within the 5 (Five) Business Days of formal submission by Deloitte, if the Client considers a Service and/or 	Deliverable to have failed an Acceptance Test, or considers the Service or Deliverable to contain a Deliverable and/or Service Defect, the Client must set out the basis 	of this conclusion in writing to Deloitte with the acceptable reasonable period of remedy.</a:t>
            </a:r>
          </a:p>
        </p:txBody>
      </p:sp>
      <p:sp>
        <p:nvSpPr>
          <p:cNvPr id="6" name="Triangle 28">
            <a:extLst>
              <a:ext uri="{FF2B5EF4-FFF2-40B4-BE49-F238E27FC236}">
                <a16:creationId xmlns:a16="http://schemas.microsoft.com/office/drawing/2014/main" id="{F86293D8-CAB6-4B05-B606-5B787400022F}"/>
              </a:ext>
            </a:extLst>
          </p:cNvPr>
          <p:cNvSpPr/>
          <p:nvPr/>
        </p:nvSpPr>
        <p:spPr>
          <a:xfrm rot="16200000">
            <a:off x="11070138" y="6161832"/>
            <a:ext cx="264966" cy="228419"/>
          </a:xfrm>
          <a:prstGeom prst="triangle">
            <a:avLst/>
          </a:prstGeom>
          <a:solidFill>
            <a:srgbClr val="343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73" dirty="0">
              <a:latin typeface="Calibri" panose="020F0502020204030204" pitchFamily="34" charset="0"/>
            </a:endParaRPr>
          </a:p>
        </p:txBody>
      </p:sp>
      <p:sp>
        <p:nvSpPr>
          <p:cNvPr id="7" name="Rectangle 6">
            <a:extLst>
              <a:ext uri="{FF2B5EF4-FFF2-40B4-BE49-F238E27FC236}">
                <a16:creationId xmlns:a16="http://schemas.microsoft.com/office/drawing/2014/main" id="{474A53BC-B153-4234-9C4B-51FC1E3BC12F}"/>
              </a:ext>
            </a:extLst>
          </p:cNvPr>
          <p:cNvSpPr/>
          <p:nvPr/>
        </p:nvSpPr>
        <p:spPr bwMode="gray">
          <a:xfrm>
            <a:off x="1" y="0"/>
            <a:ext cx="165462" cy="6858000"/>
          </a:xfrm>
          <a:prstGeom prst="rect">
            <a:avLst/>
          </a:prstGeom>
          <a:solidFill>
            <a:srgbClr val="343434"/>
          </a:solidFill>
          <a:ln w="19050" algn="ctr">
            <a:noFill/>
            <a:miter lim="800000"/>
            <a:headEnd/>
            <a:tailEnd/>
          </a:ln>
        </p:spPr>
        <p:txBody>
          <a:bodyPr wrap="square" lIns="88900" tIns="88900" rIns="88900" bIns="88900" rtlCol="0" anchor="b"/>
          <a:lstStyle/>
          <a:p>
            <a:pPr algn="ctr">
              <a:lnSpc>
                <a:spcPct val="106000"/>
              </a:lnSpc>
              <a:buFont typeface="Wingdings 2" pitchFamily="18" charset="2"/>
              <a:buNone/>
            </a:pPr>
            <a:endParaRPr lang="en-US" sz="9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132599129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D109D2C4AE90A4A855E9C30BEFE608F" ma:contentTypeVersion="2" ma:contentTypeDescription="Create a new document." ma:contentTypeScope="" ma:versionID="e57181cf36acc7b741273c3b333c3471">
  <xsd:schema xmlns:xsd="http://www.w3.org/2001/XMLSchema" xmlns:xs="http://www.w3.org/2001/XMLSchema" xmlns:p="http://schemas.microsoft.com/office/2006/metadata/properties" xmlns:ns2="cc3777c7-2fd7-40f2-a236-d56cf02cfa12" targetNamespace="http://schemas.microsoft.com/office/2006/metadata/properties" ma:root="true" ma:fieldsID="d23717d0c07dd841b509820754189739" ns2:_="">
    <xsd:import namespace="cc3777c7-2fd7-40f2-a236-d56cf02cfa1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3777c7-2fd7-40f2-a236-d56cf02cfa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187BE8C-20D2-4673-B667-DA8F4BC46217}">
  <ds:schemaRefs>
    <ds:schemaRef ds:uri="http://schemas.microsoft.com/sharepoint/v3/contenttype/forms"/>
  </ds:schemaRefs>
</ds:datastoreItem>
</file>

<file path=customXml/itemProps2.xml><?xml version="1.0" encoding="utf-8"?>
<ds:datastoreItem xmlns:ds="http://schemas.openxmlformats.org/officeDocument/2006/customXml" ds:itemID="{EFCDBB5B-3601-48CD-977B-905199C43F0A}">
  <ds:schemaRefs>
    <ds:schemaRef ds:uri="cc3777c7-2fd7-40f2-a236-d56cf02cfa1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B51F7BE-4CC9-4BF2-B1B2-21317F5D2C31}">
  <ds:schemaRefs>
    <ds:schemaRef ds:uri="http://purl.org/dc/terms/"/>
    <ds:schemaRef ds:uri="http://schemas.microsoft.com/office/2006/metadata/properties"/>
    <ds:schemaRef ds:uri="http://www.w3.org/XML/1998/namespace"/>
    <ds:schemaRef ds:uri="cc3777c7-2fd7-40f2-a236-d56cf02cfa12"/>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1803</TotalTime>
  <Words>33118</Words>
  <Application>Microsoft Office PowerPoint</Application>
  <PresentationFormat>Widescreen</PresentationFormat>
  <Paragraphs>2032</Paragraphs>
  <Slides>115</Slides>
  <Notes>1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115</vt:i4>
      </vt:variant>
    </vt:vector>
  </HeadingPairs>
  <TitlesOfParts>
    <vt:vector size="129" baseType="lpstr">
      <vt:lpstr>Arial</vt:lpstr>
      <vt:lpstr>Calibri</vt:lpstr>
      <vt:lpstr>Calibri </vt:lpstr>
      <vt:lpstr>Calibri Light</vt:lpstr>
      <vt:lpstr>Courier New</vt:lpstr>
      <vt:lpstr>Open Sans Light</vt:lpstr>
      <vt:lpstr>Sakkal Majalla</vt:lpstr>
      <vt:lpstr>Times New Roman</vt:lpstr>
      <vt:lpstr>Verdana</vt:lpstr>
      <vt:lpstr>Wingdings</vt:lpstr>
      <vt:lpstr>Wingdings 2</vt:lpstr>
      <vt:lpstr>1_Deloitte_US_Onscreen</vt:lpstr>
      <vt:lpstr>think-cell Slide</vt:lpstr>
      <vt:lpstr>Bitmap Image</vt:lpstr>
      <vt:lpstr>PowerPoint Presentation</vt:lpstr>
      <vt:lpstr>PowerPoint Presentation</vt:lpstr>
      <vt:lpstr>Executive Summary</vt:lpstr>
      <vt:lpstr>Executive Summary</vt:lpstr>
      <vt:lpstr>Executive Summary</vt:lpstr>
      <vt:lpstr>Executive Summary</vt:lpstr>
      <vt:lpstr>Executive Summary</vt:lpstr>
      <vt:lpstr>Executive Summary</vt:lpstr>
      <vt:lpstr>Executive Summary</vt:lpstr>
      <vt:lpstr>PowerPoint Presentation</vt:lpstr>
      <vt:lpstr>Our Capabilities</vt:lpstr>
      <vt:lpstr>Our Capabilities</vt:lpstr>
      <vt:lpstr>Our Capabilities</vt:lpstr>
      <vt:lpstr>Our Capabilities</vt:lpstr>
      <vt:lpstr>Our Capabilities</vt:lpstr>
      <vt:lpstr>Our Capabilities</vt:lpstr>
      <vt:lpstr>Our Capabilities</vt:lpstr>
      <vt:lpstr>Approach &amp; Methodology</vt:lpstr>
      <vt:lpstr>PowerPoint Presentation</vt:lpstr>
      <vt:lpstr>PowerPoint Presentation</vt:lpstr>
      <vt:lpstr>Approach &amp; Methodology</vt:lpstr>
      <vt:lpstr>Approach &amp; Methodology </vt:lpstr>
      <vt:lpstr>Approach &amp; Methodology</vt:lpstr>
      <vt:lpstr>Approach &amp; Methodology</vt:lpstr>
      <vt:lpstr>Approach &amp; Methodology</vt:lpstr>
      <vt:lpstr>Approach &amp; Methodology</vt:lpstr>
      <vt:lpstr>Approach &amp; Methodology</vt:lpstr>
      <vt:lpstr>Approach &amp; Methodology</vt:lpstr>
      <vt:lpstr>Approach &amp; Methodology</vt:lpstr>
      <vt:lpstr>Approach &amp; Methodology</vt:lpstr>
      <vt:lpstr>Approach &amp; Methodology</vt:lpstr>
      <vt:lpstr>Approach &amp; Methodology</vt:lpstr>
      <vt:lpstr>Approach &amp; Methodology</vt:lpstr>
      <vt:lpstr>Timeline and Assumptions</vt:lpstr>
      <vt:lpstr>Project Timeline</vt:lpstr>
      <vt:lpstr>Project Timeline</vt:lpstr>
      <vt:lpstr>Project Timeline</vt:lpstr>
      <vt:lpstr>Project Assumptions</vt:lpstr>
      <vt:lpstr>Project Assumptions</vt:lpstr>
      <vt:lpstr>Project Assumptions</vt:lpstr>
      <vt:lpstr>Project Assumptions</vt:lpstr>
      <vt:lpstr>Project Assumptions</vt:lpstr>
      <vt:lpstr>Project Assumptions</vt:lpstr>
      <vt:lpstr>Our Team</vt:lpstr>
      <vt:lpstr>Our Te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ces</vt:lpstr>
      <vt:lpstr>Why Deloit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redentials</vt:lpstr>
      <vt:lpstr>Our Credentials</vt:lpstr>
      <vt:lpstr>Our Credentials</vt:lpstr>
      <vt:lpstr>Our Credentials</vt:lpstr>
      <vt:lpstr>Our Credentials</vt:lpstr>
      <vt:lpstr>Our Credentials</vt:lpstr>
      <vt:lpstr>Our Credentials</vt:lpstr>
      <vt:lpstr>Our Credenti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SO Certificates</vt:lpstr>
      <vt:lpstr>PowerPoint Presentation</vt:lpstr>
      <vt:lpstr>General Business Terms and Conditions (1 of 18)</vt:lpstr>
      <vt:lpstr>General Business Terms and Conditions (2 of 18)</vt:lpstr>
      <vt:lpstr>General Business Terms and Conditions (3 of 18)</vt:lpstr>
      <vt:lpstr>General Business Terms and Conditions (4 of 18)</vt:lpstr>
      <vt:lpstr>General Business Terms and Conditions (5 of 18)</vt:lpstr>
      <vt:lpstr>General Business Terms and Conditions (6 of 18)</vt:lpstr>
      <vt:lpstr>General Business Terms and Conditions (7 of 18)</vt:lpstr>
      <vt:lpstr>General Business Terms and Conditions (8 of 18)</vt:lpstr>
      <vt:lpstr>General Business Terms and Conditions (9 of 18)</vt:lpstr>
      <vt:lpstr>General Business Terms and Conditions (10 of 18)</vt:lpstr>
      <vt:lpstr>General Business Terms and Conditions (11 of 18)</vt:lpstr>
      <vt:lpstr>General Business Terms and Conditions (12 of 18)</vt:lpstr>
      <vt:lpstr>General Business Terms and Conditions (13 of 18)</vt:lpstr>
      <vt:lpstr>General Business Terms and Conditions (14 of 18)</vt:lpstr>
      <vt:lpstr>General Business Terms and Conditions (15 of 18)</vt:lpstr>
      <vt:lpstr>General Business Terms and Conditions (16 of 18)</vt:lpstr>
      <vt:lpstr>General Business Terms and Conditions (17 of 18)</vt:lpstr>
      <vt:lpstr>General Business Terms and Conditions (18 of 18)</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usuf, Arsalan</dc:creator>
  <cp:lastModifiedBy>Yousuf, Arsalan</cp:lastModifiedBy>
  <cp:revision>5</cp:revision>
  <dcterms:created xsi:type="dcterms:W3CDTF">2022-08-01T10:22:37Z</dcterms:created>
  <dcterms:modified xsi:type="dcterms:W3CDTF">2023-12-30T18:0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8-01T10:22: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caf6daa-22ae-4023-9d9b-c2d2a93abfac</vt:lpwstr>
  </property>
  <property fmtid="{D5CDD505-2E9C-101B-9397-08002B2CF9AE}" pid="8" name="MSIP_Label_ea60d57e-af5b-4752-ac57-3e4f28ca11dc_ContentBits">
    <vt:lpwstr>0</vt:lpwstr>
  </property>
  <property fmtid="{D5CDD505-2E9C-101B-9397-08002B2CF9AE}" pid="9" name="ContentTypeId">
    <vt:lpwstr>0x010100AD109D2C4AE90A4A855E9C30BEFE608F</vt:lpwstr>
  </property>
</Properties>
</file>